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rels" ContentType="application/vnd.openxmlformats-package.relationships+xml"/>
  <Default Extension="gif" ContentType="image/gif"/>
  <Default Extension="png" ContentType="image/png"/>
  <Default Extension="wmf" ContentType="image/x-wm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slides/slide73.xml" ContentType="application/vnd.openxmlformats-officedocument.presentationml.slide+xml"/>
  <Override PartName="/ppt/slides/slide74.xml" ContentType="application/vnd.openxmlformats-officedocument.presentationml.slide+xml"/>
  <Override PartName="/ppt/slides/slide75.xml" ContentType="application/vnd.openxmlformats-officedocument.presentationml.slide+xml"/>
  <Override PartName="/ppt/slides/slide76.xml" ContentType="application/vnd.openxmlformats-officedocument.presentationml.slide+xml"/>
  <Override PartName="/ppt/slides/slide77.xml" ContentType="application/vnd.openxmlformats-officedocument.presentationml.slide+xml"/>
  <Override PartName="/ppt/slides/slide78.xml" ContentType="application/vnd.openxmlformats-officedocument.presentationml.slide+xml"/>
  <Override PartName="/ppt/slides/slide79.xml" ContentType="application/vnd.openxmlformats-officedocument.presentationml.slide+xml"/>
  <Override PartName="/ppt/slides/slide80.xml" ContentType="application/vnd.openxmlformats-officedocument.presentationml.slide+xml"/>
  <Override PartName="/ppt/slides/slide81.xml" ContentType="application/vnd.openxmlformats-officedocument.presentationml.slide+xml"/>
  <Override PartName="/ppt/slides/slide82.xml" ContentType="application/vnd.openxmlformats-officedocument.presentationml.slide+xml"/>
  <Override PartName="/ppt/slides/slide83.xml" ContentType="application/vnd.openxmlformats-officedocument.presentationml.slide+xml"/>
  <Override PartName="/ppt/slides/slide84.xml" ContentType="application/vnd.openxmlformats-officedocument.presentationml.slide+xml"/>
  <Override PartName="/ppt/slides/slide85.xml" ContentType="application/vnd.openxmlformats-officedocument.presentationml.slide+xml"/>
  <Override PartName="/ppt/slides/slide86.xml" ContentType="application/vnd.openxmlformats-officedocument.presentationml.slide+xml"/>
  <Override PartName="/ppt/slides/slide87.xml" ContentType="application/vnd.openxmlformats-officedocument.presentationml.slide+xml"/>
  <Override PartName="/ppt/slides/slide88.xml" ContentType="application/vnd.openxmlformats-officedocument.presentationml.slide+xml"/>
  <Override PartName="/ppt/slides/slide89.xml" ContentType="application/vnd.openxmlformats-officedocument.presentationml.slide+xml"/>
  <Override PartName="/ppt/slides/slide90.xml" ContentType="application/vnd.openxmlformats-officedocument.presentationml.slide+xml"/>
  <Override PartName="/ppt/slides/slide91.xml" ContentType="application/vnd.openxmlformats-officedocument.presentationml.slide+xml"/>
  <Override PartName="/ppt/slides/slide92.xml" ContentType="application/vnd.openxmlformats-officedocument.presentationml.slide+xml"/>
  <Override PartName="/ppt/slides/slide93.xml" ContentType="application/vnd.openxmlformats-officedocument.presentationml.slide+xml"/>
  <Override PartName="/ppt/slides/slide94.xml" ContentType="application/vnd.openxmlformats-officedocument.presentationml.slide+xml"/>
  <Override PartName="/ppt/slides/slide95.xml" ContentType="application/vnd.openxmlformats-officedocument.presentationml.slide+xml"/>
  <Override PartName="/ppt/slides/slide96.xml" ContentType="application/vnd.openxmlformats-officedocument.presentationml.slide+xml"/>
  <Override PartName="/ppt/slides/slide9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4.xml" ContentType="application/vnd.openxmlformats-officedocument.theme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5.xml" ContentType="application/vnd.openxmlformats-officedocument.theme+xml"/>
  <Override PartName="/ppt/slideLayouts/slideLayout34.xml" ContentType="application/vnd.openxmlformats-officedocument.presentationml.slideLayout+xml"/>
  <Override PartName="/ppt/theme/theme6.xml" ContentType="application/vnd.openxmlformats-officedocument.theme+xml"/>
  <Override PartName="/ppt/slideLayouts/slideLayout35.xml" ContentType="application/vnd.openxmlformats-officedocument.presentationml.slideLayout+xml"/>
  <Override PartName="/ppt/theme/theme7.xml" ContentType="application/vnd.openxmlformats-officedocument.theme+xml"/>
  <Override PartName="/ppt/slideLayouts/slideLayout36.xml" ContentType="application/vnd.openxmlformats-officedocument.presentationml.slideLayout+xml"/>
  <Override PartName="/ppt/theme/theme8.xml" ContentType="application/vnd.openxmlformats-officedocument.theme+xml"/>
  <Override PartName="/ppt/slideLayouts/slideLayout37.xml" ContentType="application/vnd.openxmlformats-officedocument.presentationml.slideLayout+xml"/>
  <Override PartName="/ppt/theme/theme9.xml" ContentType="application/vnd.openxmlformats-officedocument.theme+xml"/>
  <Override PartName="/ppt/slideLayouts/slideLayout38.xml" ContentType="application/vnd.openxmlformats-officedocument.presentationml.slideLayout+xml"/>
  <Override PartName="/ppt/theme/theme10.xml" ContentType="application/vnd.openxmlformats-officedocument.theme+xml"/>
  <Override PartName="/ppt/slideLayouts/slideLayout39.xml" ContentType="application/vnd.openxmlformats-officedocument.presentationml.slideLayout+xml"/>
  <Override PartName="/ppt/theme/theme11.xml" ContentType="application/vnd.openxmlformats-officedocument.theme+xml"/>
  <Override PartName="/ppt/slideLayouts/slideLayout40.xml" ContentType="application/vnd.openxmlformats-officedocument.presentationml.slideLayout+xml"/>
  <Override PartName="/ppt/theme/theme12.xml" ContentType="application/vnd.openxmlformats-officedocument.theme+xml"/>
  <Override PartName="/ppt/slideLayouts/slideLayout41.xml" ContentType="application/vnd.openxmlformats-officedocument.presentationml.slideLayout+xml"/>
  <Override PartName="/ppt/theme/theme13.xml" ContentType="application/vnd.openxmlformats-officedocument.theme+xml"/>
  <Override PartName="/ppt/slideLayouts/slideLayout42.xml" ContentType="application/vnd.openxmlformats-officedocument.presentationml.slideLayout+xml"/>
  <Override PartName="/ppt/theme/theme14.xml" ContentType="application/vnd.openxmlformats-officedocument.theme+xml"/>
  <Override PartName="/ppt/slideLayouts/slideLayout43.xml" ContentType="application/vnd.openxmlformats-officedocument.presentationml.slideLayout+xml"/>
  <Override PartName="/ppt/theme/theme15.xml" ContentType="application/vnd.openxmlformats-officedocument.theme+xml"/>
  <Override PartName="/ppt/slideLayouts/slideLayout44.xml" ContentType="application/vnd.openxmlformats-officedocument.presentationml.slideLayout+xml"/>
  <Override PartName="/ppt/theme/theme16.xml" ContentType="application/vnd.openxmlformats-officedocument.theme+xml"/>
  <Override PartName="/ppt/slideLayouts/slideLayout45.xml" ContentType="application/vnd.openxmlformats-officedocument.presentationml.slideLayout+xml"/>
  <Override PartName="/ppt/theme/theme17.xml" ContentType="application/vnd.openxmlformats-officedocument.theme+xml"/>
  <Override PartName="/ppt/slideLayouts/slideLayout46.xml" ContentType="application/vnd.openxmlformats-officedocument.presentationml.slideLayout+xml"/>
  <Override PartName="/ppt/theme/theme18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19.xml" ContentType="application/vnd.openxmlformats-officedocument.theme+xml"/>
  <Override PartName="/ppt/slideLayouts/slideLayout51.xml" ContentType="application/vnd.openxmlformats-officedocument.presentationml.slideLayout+xml"/>
  <Override PartName="/ppt/theme/theme20.xml" ContentType="application/vnd.openxmlformats-officedocument.theme+xml"/>
  <Override PartName="/ppt/theme/theme21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5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6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7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8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29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0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3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15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7" r:id="rId3"/>
    <p:sldMasterId id="2147483680" r:id="rId4"/>
    <p:sldMasterId id="2147483683" r:id="rId5"/>
    <p:sldMasterId id="2147483686" r:id="rId6"/>
    <p:sldMasterId id="2147483688" r:id="rId7"/>
    <p:sldMasterId id="2147483690" r:id="rId8"/>
    <p:sldMasterId id="2147483692" r:id="rId9"/>
    <p:sldMasterId id="2147483694" r:id="rId10"/>
    <p:sldMasterId id="2147483696" r:id="rId11"/>
    <p:sldMasterId id="2147483698" r:id="rId12"/>
    <p:sldMasterId id="2147483700" r:id="rId13"/>
    <p:sldMasterId id="2147483702" r:id="rId14"/>
    <p:sldMasterId id="2147483704" r:id="rId15"/>
    <p:sldMasterId id="2147483706" r:id="rId16"/>
    <p:sldMasterId id="2147483708" r:id="rId17"/>
    <p:sldMasterId id="2147483710" r:id="rId18"/>
    <p:sldMasterId id="2147483713" r:id="rId19"/>
    <p:sldMasterId id="2147483718" r:id="rId20"/>
    <p:sldMasterId id="2147483724" r:id="rId21"/>
    <p:sldMasterId id="2147483727" r:id="rId22"/>
    <p:sldMasterId id="2147483729" r:id="rId23"/>
    <p:sldMasterId id="2147483731" r:id="rId24"/>
    <p:sldMasterId id="2147483733" r:id="rId25"/>
    <p:sldMasterId id="2147483735" r:id="rId26"/>
    <p:sldMasterId id="2147483737" r:id="rId27"/>
    <p:sldMasterId id="2147483739" r:id="rId28"/>
    <p:sldMasterId id="2147483741" r:id="rId29"/>
    <p:sldMasterId id="2147483743" r:id="rId30"/>
  </p:sldMasterIdLst>
  <p:notesMasterIdLst>
    <p:notesMasterId r:id="rId128"/>
  </p:notesMasterIdLst>
  <p:sldIdLst>
    <p:sldId id="256" r:id="rId31"/>
    <p:sldId id="257" r:id="rId32"/>
    <p:sldId id="455" r:id="rId33"/>
    <p:sldId id="456" r:id="rId34"/>
    <p:sldId id="458" r:id="rId35"/>
    <p:sldId id="459" r:id="rId36"/>
    <p:sldId id="470" r:id="rId37"/>
    <p:sldId id="258" r:id="rId38"/>
    <p:sldId id="259" r:id="rId39"/>
    <p:sldId id="260" r:id="rId40"/>
    <p:sldId id="261" r:id="rId41"/>
    <p:sldId id="262" r:id="rId42"/>
    <p:sldId id="263" r:id="rId43"/>
    <p:sldId id="264" r:id="rId44"/>
    <p:sldId id="265" r:id="rId45"/>
    <p:sldId id="266" r:id="rId46"/>
    <p:sldId id="267" r:id="rId47"/>
    <p:sldId id="268" r:id="rId48"/>
    <p:sldId id="269" r:id="rId49"/>
    <p:sldId id="270" r:id="rId50"/>
    <p:sldId id="271" r:id="rId51"/>
    <p:sldId id="272" r:id="rId52"/>
    <p:sldId id="273" r:id="rId53"/>
    <p:sldId id="274" r:id="rId54"/>
    <p:sldId id="275" r:id="rId55"/>
    <p:sldId id="276" r:id="rId56"/>
    <p:sldId id="277" r:id="rId57"/>
    <p:sldId id="278" r:id="rId58"/>
    <p:sldId id="279" r:id="rId59"/>
    <p:sldId id="353" r:id="rId60"/>
    <p:sldId id="472" r:id="rId61"/>
    <p:sldId id="281" r:id="rId62"/>
    <p:sldId id="282" r:id="rId63"/>
    <p:sldId id="283" r:id="rId64"/>
    <p:sldId id="284" r:id="rId65"/>
    <p:sldId id="285" r:id="rId66"/>
    <p:sldId id="286" r:id="rId67"/>
    <p:sldId id="287" r:id="rId68"/>
    <p:sldId id="288" r:id="rId69"/>
    <p:sldId id="289" r:id="rId70"/>
    <p:sldId id="290" r:id="rId71"/>
    <p:sldId id="291" r:id="rId72"/>
    <p:sldId id="292" r:id="rId73"/>
    <p:sldId id="293" r:id="rId74"/>
    <p:sldId id="294" r:id="rId75"/>
    <p:sldId id="295" r:id="rId76"/>
    <p:sldId id="296" r:id="rId77"/>
    <p:sldId id="297" r:id="rId78"/>
    <p:sldId id="352" r:id="rId79"/>
    <p:sldId id="473" r:id="rId80"/>
    <p:sldId id="299" r:id="rId81"/>
    <p:sldId id="300" r:id="rId82"/>
    <p:sldId id="301" r:id="rId83"/>
    <p:sldId id="302" r:id="rId84"/>
    <p:sldId id="303" r:id="rId85"/>
    <p:sldId id="304" r:id="rId86"/>
    <p:sldId id="305" r:id="rId87"/>
    <p:sldId id="306" r:id="rId88"/>
    <p:sldId id="307" r:id="rId89"/>
    <p:sldId id="308" r:id="rId90"/>
    <p:sldId id="309" r:id="rId91"/>
    <p:sldId id="311" r:id="rId92"/>
    <p:sldId id="354" r:id="rId93"/>
    <p:sldId id="474" r:id="rId94"/>
    <p:sldId id="312" r:id="rId95"/>
    <p:sldId id="313" r:id="rId96"/>
    <p:sldId id="314" r:id="rId97"/>
    <p:sldId id="315" r:id="rId98"/>
    <p:sldId id="316" r:id="rId99"/>
    <p:sldId id="317" r:id="rId100"/>
    <p:sldId id="318" r:id="rId101"/>
    <p:sldId id="319" r:id="rId102"/>
    <p:sldId id="320" r:id="rId103"/>
    <p:sldId id="321" r:id="rId104"/>
    <p:sldId id="322" r:id="rId105"/>
    <p:sldId id="323" r:id="rId106"/>
    <p:sldId id="324" r:id="rId107"/>
    <p:sldId id="325" r:id="rId108"/>
    <p:sldId id="475" r:id="rId109"/>
    <p:sldId id="327" r:id="rId110"/>
    <p:sldId id="328" r:id="rId111"/>
    <p:sldId id="329" r:id="rId112"/>
    <p:sldId id="330" r:id="rId113"/>
    <p:sldId id="331" r:id="rId114"/>
    <p:sldId id="332" r:id="rId115"/>
    <p:sldId id="333" r:id="rId116"/>
    <p:sldId id="334" r:id="rId117"/>
    <p:sldId id="335" r:id="rId118"/>
    <p:sldId id="336" r:id="rId119"/>
    <p:sldId id="337" r:id="rId120"/>
    <p:sldId id="338" r:id="rId121"/>
    <p:sldId id="339" r:id="rId122"/>
    <p:sldId id="340" r:id="rId123"/>
    <p:sldId id="341" r:id="rId124"/>
    <p:sldId id="342" r:id="rId125"/>
    <p:sldId id="343" r:id="rId126"/>
    <p:sldId id="355" r:id="rId127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172" autoAdjust="0"/>
    <p:restoredTop sz="94747" autoAdjust="0"/>
  </p:normalViewPr>
  <p:slideViewPr>
    <p:cSldViewPr>
      <p:cViewPr>
        <p:scale>
          <a:sx n="80" d="100"/>
          <a:sy n="80" d="100"/>
        </p:scale>
        <p:origin x="2824" y="30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53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016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0" Type="http://schemas.openxmlformats.org/officeDocument/2006/relationships/slideMaster" Target="slideMasters/slideMaster10.xml"/><Relationship Id="rId11" Type="http://schemas.openxmlformats.org/officeDocument/2006/relationships/slideMaster" Target="slideMasters/slideMaster11.xml"/><Relationship Id="rId12" Type="http://schemas.openxmlformats.org/officeDocument/2006/relationships/slideMaster" Target="slideMasters/slideMaster12.xml"/><Relationship Id="rId13" Type="http://schemas.openxmlformats.org/officeDocument/2006/relationships/slideMaster" Target="slideMasters/slideMaster13.xml"/><Relationship Id="rId14" Type="http://schemas.openxmlformats.org/officeDocument/2006/relationships/slideMaster" Target="slideMasters/slideMaster14.xml"/><Relationship Id="rId15" Type="http://schemas.openxmlformats.org/officeDocument/2006/relationships/slideMaster" Target="slideMasters/slideMaster15.xml"/><Relationship Id="rId16" Type="http://schemas.openxmlformats.org/officeDocument/2006/relationships/slideMaster" Target="slideMasters/slideMaster16.xml"/><Relationship Id="rId17" Type="http://schemas.openxmlformats.org/officeDocument/2006/relationships/slideMaster" Target="slideMasters/slideMaster17.xml"/><Relationship Id="rId18" Type="http://schemas.openxmlformats.org/officeDocument/2006/relationships/slideMaster" Target="slideMasters/slideMaster18.xml"/><Relationship Id="rId19" Type="http://schemas.openxmlformats.org/officeDocument/2006/relationships/slideMaster" Target="slideMasters/slideMaster19.xml"/><Relationship Id="rId60" Type="http://schemas.openxmlformats.org/officeDocument/2006/relationships/slide" Target="slides/slide30.xml"/><Relationship Id="rId61" Type="http://schemas.openxmlformats.org/officeDocument/2006/relationships/slide" Target="slides/slide31.xml"/><Relationship Id="rId62" Type="http://schemas.openxmlformats.org/officeDocument/2006/relationships/slide" Target="slides/slide32.xml"/><Relationship Id="rId63" Type="http://schemas.openxmlformats.org/officeDocument/2006/relationships/slide" Target="slides/slide33.xml"/><Relationship Id="rId64" Type="http://schemas.openxmlformats.org/officeDocument/2006/relationships/slide" Target="slides/slide34.xml"/><Relationship Id="rId65" Type="http://schemas.openxmlformats.org/officeDocument/2006/relationships/slide" Target="slides/slide35.xml"/><Relationship Id="rId66" Type="http://schemas.openxmlformats.org/officeDocument/2006/relationships/slide" Target="slides/slide36.xml"/><Relationship Id="rId67" Type="http://schemas.openxmlformats.org/officeDocument/2006/relationships/slide" Target="slides/slide37.xml"/><Relationship Id="rId68" Type="http://schemas.openxmlformats.org/officeDocument/2006/relationships/slide" Target="slides/slide38.xml"/><Relationship Id="rId69" Type="http://schemas.openxmlformats.org/officeDocument/2006/relationships/slide" Target="slides/slide39.xml"/><Relationship Id="rId120" Type="http://schemas.openxmlformats.org/officeDocument/2006/relationships/slide" Target="slides/slide90.xml"/><Relationship Id="rId121" Type="http://schemas.openxmlformats.org/officeDocument/2006/relationships/slide" Target="slides/slide91.xml"/><Relationship Id="rId122" Type="http://schemas.openxmlformats.org/officeDocument/2006/relationships/slide" Target="slides/slide92.xml"/><Relationship Id="rId123" Type="http://schemas.openxmlformats.org/officeDocument/2006/relationships/slide" Target="slides/slide93.xml"/><Relationship Id="rId124" Type="http://schemas.openxmlformats.org/officeDocument/2006/relationships/slide" Target="slides/slide94.xml"/><Relationship Id="rId125" Type="http://schemas.openxmlformats.org/officeDocument/2006/relationships/slide" Target="slides/slide95.xml"/><Relationship Id="rId126" Type="http://schemas.openxmlformats.org/officeDocument/2006/relationships/slide" Target="slides/slide96.xml"/><Relationship Id="rId127" Type="http://schemas.openxmlformats.org/officeDocument/2006/relationships/slide" Target="slides/slide97.xml"/><Relationship Id="rId128" Type="http://schemas.openxmlformats.org/officeDocument/2006/relationships/notesMaster" Target="notesMasters/notesMaster1.xml"/><Relationship Id="rId129" Type="http://schemas.openxmlformats.org/officeDocument/2006/relationships/presProps" Target="presProps.xml"/><Relationship Id="rId40" Type="http://schemas.openxmlformats.org/officeDocument/2006/relationships/slide" Target="slides/slide10.xml"/><Relationship Id="rId41" Type="http://schemas.openxmlformats.org/officeDocument/2006/relationships/slide" Target="slides/slide11.xml"/><Relationship Id="rId42" Type="http://schemas.openxmlformats.org/officeDocument/2006/relationships/slide" Target="slides/slide12.xml"/><Relationship Id="rId90" Type="http://schemas.openxmlformats.org/officeDocument/2006/relationships/slide" Target="slides/slide60.xml"/><Relationship Id="rId91" Type="http://schemas.openxmlformats.org/officeDocument/2006/relationships/slide" Target="slides/slide61.xml"/><Relationship Id="rId92" Type="http://schemas.openxmlformats.org/officeDocument/2006/relationships/slide" Target="slides/slide62.xml"/><Relationship Id="rId93" Type="http://schemas.openxmlformats.org/officeDocument/2006/relationships/slide" Target="slides/slide63.xml"/><Relationship Id="rId94" Type="http://schemas.openxmlformats.org/officeDocument/2006/relationships/slide" Target="slides/slide64.xml"/><Relationship Id="rId95" Type="http://schemas.openxmlformats.org/officeDocument/2006/relationships/slide" Target="slides/slide65.xml"/><Relationship Id="rId96" Type="http://schemas.openxmlformats.org/officeDocument/2006/relationships/slide" Target="slides/slide66.xml"/><Relationship Id="rId101" Type="http://schemas.openxmlformats.org/officeDocument/2006/relationships/slide" Target="slides/slide71.xml"/><Relationship Id="rId102" Type="http://schemas.openxmlformats.org/officeDocument/2006/relationships/slide" Target="slides/slide72.xml"/><Relationship Id="rId103" Type="http://schemas.openxmlformats.org/officeDocument/2006/relationships/slide" Target="slides/slide73.xml"/><Relationship Id="rId104" Type="http://schemas.openxmlformats.org/officeDocument/2006/relationships/slide" Target="slides/slide74.xml"/><Relationship Id="rId105" Type="http://schemas.openxmlformats.org/officeDocument/2006/relationships/slide" Target="slides/slide75.xml"/><Relationship Id="rId106" Type="http://schemas.openxmlformats.org/officeDocument/2006/relationships/slide" Target="slides/slide76.xml"/><Relationship Id="rId107" Type="http://schemas.openxmlformats.org/officeDocument/2006/relationships/slide" Target="slides/slide77.xml"/><Relationship Id="rId108" Type="http://schemas.openxmlformats.org/officeDocument/2006/relationships/slide" Target="slides/slide78.xml"/><Relationship Id="rId109" Type="http://schemas.openxmlformats.org/officeDocument/2006/relationships/slide" Target="slides/slide79.xml"/><Relationship Id="rId97" Type="http://schemas.openxmlformats.org/officeDocument/2006/relationships/slide" Target="slides/slide67.xml"/><Relationship Id="rId98" Type="http://schemas.openxmlformats.org/officeDocument/2006/relationships/slide" Target="slides/slide68.xml"/><Relationship Id="rId99" Type="http://schemas.openxmlformats.org/officeDocument/2006/relationships/slide" Target="slides/slide69.xml"/><Relationship Id="rId43" Type="http://schemas.openxmlformats.org/officeDocument/2006/relationships/slide" Target="slides/slide13.xml"/><Relationship Id="rId44" Type="http://schemas.openxmlformats.org/officeDocument/2006/relationships/slide" Target="slides/slide14.xml"/><Relationship Id="rId45" Type="http://schemas.openxmlformats.org/officeDocument/2006/relationships/slide" Target="slides/slide15.xml"/><Relationship Id="rId46" Type="http://schemas.openxmlformats.org/officeDocument/2006/relationships/slide" Target="slides/slide16.xml"/><Relationship Id="rId47" Type="http://schemas.openxmlformats.org/officeDocument/2006/relationships/slide" Target="slides/slide17.xml"/><Relationship Id="rId48" Type="http://schemas.openxmlformats.org/officeDocument/2006/relationships/slide" Target="slides/slide18.xml"/><Relationship Id="rId49" Type="http://schemas.openxmlformats.org/officeDocument/2006/relationships/slide" Target="slides/slide19.xml"/><Relationship Id="rId100" Type="http://schemas.openxmlformats.org/officeDocument/2006/relationships/slide" Target="slides/slide70.xml"/><Relationship Id="rId20" Type="http://schemas.openxmlformats.org/officeDocument/2006/relationships/slideMaster" Target="slideMasters/slideMaster20.xml"/><Relationship Id="rId21" Type="http://schemas.openxmlformats.org/officeDocument/2006/relationships/slideMaster" Target="slideMasters/slideMaster21.xml"/><Relationship Id="rId22" Type="http://schemas.openxmlformats.org/officeDocument/2006/relationships/slideMaster" Target="slideMasters/slideMaster22.xml"/><Relationship Id="rId70" Type="http://schemas.openxmlformats.org/officeDocument/2006/relationships/slide" Target="slides/slide40.xml"/><Relationship Id="rId71" Type="http://schemas.openxmlformats.org/officeDocument/2006/relationships/slide" Target="slides/slide41.xml"/><Relationship Id="rId72" Type="http://schemas.openxmlformats.org/officeDocument/2006/relationships/slide" Target="slides/slide42.xml"/><Relationship Id="rId73" Type="http://schemas.openxmlformats.org/officeDocument/2006/relationships/slide" Target="slides/slide43.xml"/><Relationship Id="rId74" Type="http://schemas.openxmlformats.org/officeDocument/2006/relationships/slide" Target="slides/slide44.xml"/><Relationship Id="rId75" Type="http://schemas.openxmlformats.org/officeDocument/2006/relationships/slide" Target="slides/slide45.xml"/><Relationship Id="rId76" Type="http://schemas.openxmlformats.org/officeDocument/2006/relationships/slide" Target="slides/slide46.xml"/><Relationship Id="rId77" Type="http://schemas.openxmlformats.org/officeDocument/2006/relationships/slide" Target="slides/slide47.xml"/><Relationship Id="rId78" Type="http://schemas.openxmlformats.org/officeDocument/2006/relationships/slide" Target="slides/slide48.xml"/><Relationship Id="rId79" Type="http://schemas.openxmlformats.org/officeDocument/2006/relationships/slide" Target="slides/slide49.xml"/><Relationship Id="rId23" Type="http://schemas.openxmlformats.org/officeDocument/2006/relationships/slideMaster" Target="slideMasters/slideMaster23.xml"/><Relationship Id="rId24" Type="http://schemas.openxmlformats.org/officeDocument/2006/relationships/slideMaster" Target="slideMasters/slideMaster24.xml"/><Relationship Id="rId25" Type="http://schemas.openxmlformats.org/officeDocument/2006/relationships/slideMaster" Target="slideMasters/slideMaster25.xml"/><Relationship Id="rId26" Type="http://schemas.openxmlformats.org/officeDocument/2006/relationships/slideMaster" Target="slideMasters/slideMaster26.xml"/><Relationship Id="rId27" Type="http://schemas.openxmlformats.org/officeDocument/2006/relationships/slideMaster" Target="slideMasters/slideMaster27.xml"/><Relationship Id="rId28" Type="http://schemas.openxmlformats.org/officeDocument/2006/relationships/slideMaster" Target="slideMasters/slideMaster28.xml"/><Relationship Id="rId29" Type="http://schemas.openxmlformats.org/officeDocument/2006/relationships/slideMaster" Target="slideMasters/slideMaster29.xml"/><Relationship Id="rId130" Type="http://schemas.openxmlformats.org/officeDocument/2006/relationships/viewProps" Target="viewProps.xml"/><Relationship Id="rId131" Type="http://schemas.openxmlformats.org/officeDocument/2006/relationships/theme" Target="theme/theme1.xml"/><Relationship Id="rId132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Relationship Id="rId9" Type="http://schemas.openxmlformats.org/officeDocument/2006/relationships/slideMaster" Target="slideMasters/slideMaster9.xml"/><Relationship Id="rId50" Type="http://schemas.openxmlformats.org/officeDocument/2006/relationships/slide" Target="slides/slide20.xml"/><Relationship Id="rId51" Type="http://schemas.openxmlformats.org/officeDocument/2006/relationships/slide" Target="slides/slide21.xml"/><Relationship Id="rId52" Type="http://schemas.openxmlformats.org/officeDocument/2006/relationships/slide" Target="slides/slide22.xml"/><Relationship Id="rId53" Type="http://schemas.openxmlformats.org/officeDocument/2006/relationships/slide" Target="slides/slide23.xml"/><Relationship Id="rId54" Type="http://schemas.openxmlformats.org/officeDocument/2006/relationships/slide" Target="slides/slide24.xml"/><Relationship Id="rId55" Type="http://schemas.openxmlformats.org/officeDocument/2006/relationships/slide" Target="slides/slide25.xml"/><Relationship Id="rId56" Type="http://schemas.openxmlformats.org/officeDocument/2006/relationships/slide" Target="slides/slide26.xml"/><Relationship Id="rId57" Type="http://schemas.openxmlformats.org/officeDocument/2006/relationships/slide" Target="slides/slide27.xml"/><Relationship Id="rId58" Type="http://schemas.openxmlformats.org/officeDocument/2006/relationships/slide" Target="slides/slide28.xml"/><Relationship Id="rId59" Type="http://schemas.openxmlformats.org/officeDocument/2006/relationships/slide" Target="slides/slide29.xml"/><Relationship Id="rId110" Type="http://schemas.openxmlformats.org/officeDocument/2006/relationships/slide" Target="slides/slide80.xml"/><Relationship Id="rId111" Type="http://schemas.openxmlformats.org/officeDocument/2006/relationships/slide" Target="slides/slide81.xml"/><Relationship Id="rId112" Type="http://schemas.openxmlformats.org/officeDocument/2006/relationships/slide" Target="slides/slide82.xml"/><Relationship Id="rId113" Type="http://schemas.openxmlformats.org/officeDocument/2006/relationships/slide" Target="slides/slide83.xml"/><Relationship Id="rId114" Type="http://schemas.openxmlformats.org/officeDocument/2006/relationships/slide" Target="slides/slide84.xml"/><Relationship Id="rId115" Type="http://schemas.openxmlformats.org/officeDocument/2006/relationships/slide" Target="slides/slide85.xml"/><Relationship Id="rId116" Type="http://schemas.openxmlformats.org/officeDocument/2006/relationships/slide" Target="slides/slide86.xml"/><Relationship Id="rId117" Type="http://schemas.openxmlformats.org/officeDocument/2006/relationships/slide" Target="slides/slide87.xml"/><Relationship Id="rId118" Type="http://schemas.openxmlformats.org/officeDocument/2006/relationships/slide" Target="slides/slide88.xml"/><Relationship Id="rId119" Type="http://schemas.openxmlformats.org/officeDocument/2006/relationships/slide" Target="slides/slide89.xml"/><Relationship Id="rId30" Type="http://schemas.openxmlformats.org/officeDocument/2006/relationships/slideMaster" Target="slideMasters/slideMaster30.xml"/><Relationship Id="rId31" Type="http://schemas.openxmlformats.org/officeDocument/2006/relationships/slide" Target="slides/slide1.xml"/><Relationship Id="rId32" Type="http://schemas.openxmlformats.org/officeDocument/2006/relationships/slide" Target="slides/slide2.xml"/><Relationship Id="rId33" Type="http://schemas.openxmlformats.org/officeDocument/2006/relationships/slide" Target="slides/slide3.xml"/><Relationship Id="rId34" Type="http://schemas.openxmlformats.org/officeDocument/2006/relationships/slide" Target="slides/slide4.xml"/><Relationship Id="rId35" Type="http://schemas.openxmlformats.org/officeDocument/2006/relationships/slide" Target="slides/slide5.xml"/><Relationship Id="rId36" Type="http://schemas.openxmlformats.org/officeDocument/2006/relationships/slide" Target="slides/slide6.xml"/><Relationship Id="rId37" Type="http://schemas.openxmlformats.org/officeDocument/2006/relationships/slide" Target="slides/slide7.xml"/><Relationship Id="rId38" Type="http://schemas.openxmlformats.org/officeDocument/2006/relationships/slide" Target="slides/slide8.xml"/><Relationship Id="rId39" Type="http://schemas.openxmlformats.org/officeDocument/2006/relationships/slide" Target="slides/slide9.xml"/><Relationship Id="rId80" Type="http://schemas.openxmlformats.org/officeDocument/2006/relationships/slide" Target="slides/slide50.xml"/><Relationship Id="rId81" Type="http://schemas.openxmlformats.org/officeDocument/2006/relationships/slide" Target="slides/slide51.xml"/><Relationship Id="rId82" Type="http://schemas.openxmlformats.org/officeDocument/2006/relationships/slide" Target="slides/slide52.xml"/><Relationship Id="rId83" Type="http://schemas.openxmlformats.org/officeDocument/2006/relationships/slide" Target="slides/slide53.xml"/><Relationship Id="rId84" Type="http://schemas.openxmlformats.org/officeDocument/2006/relationships/slide" Target="slides/slide54.xml"/><Relationship Id="rId85" Type="http://schemas.openxmlformats.org/officeDocument/2006/relationships/slide" Target="slides/slide55.xml"/><Relationship Id="rId86" Type="http://schemas.openxmlformats.org/officeDocument/2006/relationships/slide" Target="slides/slide56.xml"/><Relationship Id="rId87" Type="http://schemas.openxmlformats.org/officeDocument/2006/relationships/slide" Target="slides/slide57.xml"/><Relationship Id="rId88" Type="http://schemas.openxmlformats.org/officeDocument/2006/relationships/slide" Target="slides/slide58.xml"/><Relationship Id="rId89" Type="http://schemas.openxmlformats.org/officeDocument/2006/relationships/slide" Target="slides/slide59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oleObject" Target="file:///\\cslnet\users\vfazlic\EU%20Projects\Food%20Integrity\WP1\FoodIntegrity%20Network%20Spreadsheets\FI%20Network%20members%20list%2029%20Mar%2016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pivotSource>
    <c:name>[FI Network members list 29 Mar 16.xlsx]Organisation Type!PivotTable2</c:name>
    <c:fmtId val="-1"/>
  </c:pivotSource>
  <c:chart>
    <c:autoTitleDeleted val="1"/>
    <c:pivotFmts>
      <c:pivotFmt>
        <c:idx val="0"/>
        <c:dLbl>
          <c:idx val="0"/>
          <c:showLegendKey val="0"/>
          <c:showVal val="0"/>
          <c:showCatName val="1"/>
          <c:showSerName val="0"/>
          <c:showPercent val="1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"/>
        <c:dLbl>
          <c:idx val="0"/>
          <c:layout>
            <c:manualLayout>
              <c:x val="-0.163914518881861"/>
              <c:y val="0.15764311483133"/>
            </c:manualLayout>
          </c:layout>
          <c:showLegendKey val="0"/>
          <c:showVal val="0"/>
          <c:showCatName val="1"/>
          <c:showSerName val="0"/>
          <c:showPercent val="1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2"/>
        <c:dLbl>
          <c:idx val="0"/>
          <c:layout>
            <c:manualLayout>
              <c:x val="-0.0746948926466159"/>
              <c:y val="-0.192369977985097"/>
            </c:manualLayout>
          </c:layout>
          <c:showLegendKey val="0"/>
          <c:showVal val="0"/>
          <c:showCatName val="1"/>
          <c:showSerName val="0"/>
          <c:showPercent val="1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3"/>
        <c:dLbl>
          <c:idx val="0"/>
          <c:layout>
            <c:manualLayout>
              <c:x val="-0.00278748762962007"/>
              <c:y val="-0.0377895186758751"/>
            </c:manualLayout>
          </c:layout>
          <c:showLegendKey val="0"/>
          <c:showVal val="0"/>
          <c:showCatName val="1"/>
          <c:showSerName val="0"/>
          <c:showPercent val="1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4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en-US"/>
            </a:p>
          </c:txPr>
          <c:showLegendKey val="0"/>
          <c:showVal val="0"/>
          <c:showCatName val="1"/>
          <c:showSerName val="0"/>
          <c:showPercent val="1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5"/>
        <c:dLbl>
          <c:idx val="0"/>
          <c:layout>
            <c:manualLayout>
              <c:x val="-0.163914518881861"/>
              <c:y val="0.15764311483133"/>
            </c:manualLayout>
          </c:layout>
          <c:showLegendKey val="0"/>
          <c:showVal val="0"/>
          <c:showCatName val="1"/>
          <c:showSerName val="0"/>
          <c:showPercent val="1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6"/>
        <c:dLbl>
          <c:idx val="0"/>
          <c:layout>
            <c:manualLayout>
              <c:x val="-0.0746948926466159"/>
              <c:y val="-0.192369977985097"/>
            </c:manualLayout>
          </c:layout>
          <c:showLegendKey val="0"/>
          <c:showVal val="0"/>
          <c:showCatName val="1"/>
          <c:showSerName val="0"/>
          <c:showPercent val="1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7"/>
        <c:dLbl>
          <c:idx val="0"/>
          <c:layout>
            <c:manualLayout>
              <c:x val="-0.00278748762962007"/>
              <c:y val="-0.0377895186758751"/>
            </c:manualLayout>
          </c:layout>
          <c:showLegendKey val="0"/>
          <c:showVal val="0"/>
          <c:showCatName val="1"/>
          <c:showSerName val="0"/>
          <c:showPercent val="1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8"/>
        <c:marker>
          <c:symbol val="none"/>
        </c:marker>
        <c:dLbl>
          <c:idx val="0"/>
          <c:spPr/>
          <c:txPr>
            <a:bodyPr/>
            <a:lstStyle/>
            <a:p>
              <a:pPr>
                <a:defRPr/>
              </a:pPr>
              <a:endParaRPr lang="en-US"/>
            </a:p>
          </c:txPr>
          <c:showLegendKey val="0"/>
          <c:showVal val="0"/>
          <c:showCatName val="1"/>
          <c:showSerName val="0"/>
          <c:showPercent val="1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9"/>
        <c:dLbl>
          <c:idx val="0"/>
          <c:layout>
            <c:manualLayout>
              <c:x val="-0.163914518881861"/>
              <c:y val="0.15764311483133"/>
            </c:manualLayout>
          </c:layout>
          <c:showLegendKey val="0"/>
          <c:showVal val="0"/>
          <c:showCatName val="1"/>
          <c:showSerName val="0"/>
          <c:showPercent val="1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0"/>
        <c:dLbl>
          <c:idx val="0"/>
          <c:layout>
            <c:manualLayout>
              <c:x val="-0.0746948926466159"/>
              <c:y val="-0.192369977985097"/>
            </c:manualLayout>
          </c:layout>
          <c:showLegendKey val="0"/>
          <c:showVal val="0"/>
          <c:showCatName val="1"/>
          <c:showSerName val="0"/>
          <c:showPercent val="1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  <c:pivotFmt>
        <c:idx val="11"/>
        <c:dLbl>
          <c:idx val="0"/>
          <c:layout>
            <c:manualLayout>
              <c:x val="-0.00278748762962007"/>
              <c:y val="-0.0377895186758751"/>
            </c:manualLayout>
          </c:layout>
          <c:showLegendKey val="0"/>
          <c:showVal val="0"/>
          <c:showCatName val="1"/>
          <c:showSerName val="0"/>
          <c:showPercent val="1"/>
          <c:showBubbleSize val="0"/>
          <c:extLst xmlns:c16r2="http://schemas.microsoft.com/office/drawing/2015/06/chart">
            <c:ext xmlns:c15="http://schemas.microsoft.com/office/drawing/2012/chart" uri="{CE6537A1-D6FC-4f65-9D91-7224C49458BB}"/>
          </c:extLst>
        </c:dLbl>
      </c:pivotFmt>
    </c:pivotFmts>
    <c:plotArea>
      <c:layout/>
      <c:pieChart>
        <c:varyColors val="1"/>
        <c:ser>
          <c:idx val="0"/>
          <c:order val="0"/>
          <c:tx>
            <c:strRef>
              <c:f>'Organisation Type'!$B$3</c:f>
              <c:strCache>
                <c:ptCount val="1"/>
                <c:pt idx="0">
                  <c:v>Total</c:v>
                </c:pt>
              </c:strCache>
            </c:strRef>
          </c:tx>
          <c:dLbls>
            <c:dLbl>
              <c:idx val="0"/>
              <c:layout>
                <c:manualLayout>
                  <c:x val="-0.229060388053194"/>
                  <c:y val="0.191131131571045"/>
                </c:manualLayout>
              </c:layout>
              <c:tx>
                <c:rich>
                  <a:bodyPr/>
                  <a:lstStyle/>
                  <a:p>
                    <a:r>
                      <a:rPr lang="en-US" sz="1000" dirty="0"/>
                      <a:t>Academic / research </a:t>
                    </a:r>
                    <a:r>
                      <a:rPr lang="en-US" sz="1000" dirty="0" err="1"/>
                      <a:t>organisation</a:t>
                    </a:r>
                    <a:r>
                      <a:rPr lang="en-US" sz="1000" dirty="0"/>
                      <a:t> 
30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B5A3-460B-A8D2-60364639801B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0.0974959925108042"/>
                  <c:y val="-0.240741245321438"/>
                </c:manualLayout>
              </c:layout>
              <c:tx>
                <c:rich>
                  <a:bodyPr/>
                  <a:lstStyle/>
                  <a:p>
                    <a:r>
                      <a:rPr lang="en-US" sz="1000" dirty="0"/>
                      <a:t>Industry
31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B5A3-460B-A8D2-60364639801B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0.0476366714115339"/>
                  <c:y val="-0.00787888110044167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Multinational</a:t>
                    </a:r>
                    <a:r>
                      <a:rPr lang="en-US" dirty="0" smtClean="0"/>
                      <a:t>/ global </a:t>
                    </a:r>
                    <a:r>
                      <a:rPr lang="en-US" dirty="0" err="1"/>
                      <a:t>organisation</a:t>
                    </a:r>
                    <a:r>
                      <a:rPr lang="en-US" dirty="0"/>
                      <a:t> 
3%</a:t>
                    </a:r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B5A3-460B-A8D2-60364639801B}"/>
                </c:ex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-0.00114017463219718"/>
                  <c:y val="-0.057807069055819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B5A3-460B-A8D2-60364639801B}"/>
                </c:ext>
                <c:ext xmlns:c15="http://schemas.microsoft.com/office/drawing/2012/chart" uri="{CE6537A1-D6FC-4f65-9D91-7224C49458BB}"/>
              </c:extLst>
            </c:dLbl>
            <c:dLbl>
              <c:idx val="4"/>
              <c:layout>
                <c:manualLayout>
                  <c:x val="0.153566344785134"/>
                  <c:y val="-0.0256289232166531"/>
                </c:manualLayout>
              </c:layout>
              <c:spPr/>
              <c:txPr>
                <a:bodyPr/>
                <a:lstStyle/>
                <a:p>
                  <a:pPr>
                    <a:defRPr sz="1000"/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B5A3-460B-A8D2-60364639801B}"/>
                </c:ext>
                <c:ext xmlns:c15="http://schemas.microsoft.com/office/drawing/2012/chart" uri="{CE6537A1-D6FC-4f65-9D91-7224C49458BB}"/>
              </c:extLst>
            </c:dLbl>
            <c:dLbl>
              <c:idx val="6"/>
              <c:layout>
                <c:manualLayout>
                  <c:x val="0.150019348132693"/>
                  <c:y val="0.158370441832994"/>
                </c:manualLayout>
              </c:layout>
              <c:spPr/>
              <c:txPr>
                <a:bodyPr/>
                <a:lstStyle/>
                <a:p>
                  <a:pPr>
                    <a:defRPr sz="1000"/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B5A3-460B-A8D2-60364639801B}"/>
                </c:ext>
                <c:ext xmlns:c15="http://schemas.microsoft.com/office/drawing/2012/chart" uri="{CE6537A1-D6FC-4f65-9D91-7224C49458BB}"/>
              </c:extLst>
            </c:dLbl>
            <c:dLbl>
              <c:idx val="8"/>
              <c:layout>
                <c:manualLayout>
                  <c:x val="-0.00278748762962007"/>
                  <c:y val="-0.0377895186758751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B5A3-460B-A8D2-60364639801B}"/>
                </c:ext>
                <c:ext xmlns:c15="http://schemas.microsoft.com/office/drawing/2012/chart" uri="{CE6537A1-D6FC-4f65-9D91-7224C49458BB}"/>
              </c:extLst>
            </c:dLbl>
            <c:dLbl>
              <c:idx val="9"/>
              <c:layout>
                <c:manualLayout>
                  <c:x val="0.053754215878634"/>
                  <c:y val="-0.00993034344854864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7-B5A3-460B-A8D2-60364639801B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700"/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Organisation Type'!$A$4:$A$15</c:f>
              <c:strCache>
                <c:ptCount val="11"/>
                <c:pt idx="0">
                  <c:v>Academic / research organisation </c:v>
                </c:pt>
                <c:pt idx="1">
                  <c:v>Industry</c:v>
                </c:pt>
                <c:pt idx="2">
                  <c:v>Multinational/global organisation </c:v>
                </c:pt>
                <c:pt idx="3">
                  <c:v>Non-governmental organisation (NGO)  </c:v>
                </c:pt>
                <c:pt idx="4">
                  <c:v>Other</c:v>
                </c:pt>
                <c:pt idx="5">
                  <c:v>Policy maker </c:v>
                </c:pt>
                <c:pt idx="6">
                  <c:v>Regulatory agency </c:v>
                </c:pt>
                <c:pt idx="7">
                  <c:v>Retail</c:v>
                </c:pt>
                <c:pt idx="8">
                  <c:v>Safety authority/agency</c:v>
                </c:pt>
                <c:pt idx="9">
                  <c:v>Trade association </c:v>
                </c:pt>
                <c:pt idx="10">
                  <c:v>(blank)</c:v>
                </c:pt>
              </c:strCache>
            </c:strRef>
          </c:cat>
          <c:val>
            <c:numRef>
              <c:f>'Organisation Type'!$B$4:$B$15</c:f>
              <c:numCache>
                <c:formatCode>General</c:formatCode>
                <c:ptCount val="11"/>
                <c:pt idx="0">
                  <c:v>58.0</c:v>
                </c:pt>
                <c:pt idx="1">
                  <c:v>60.0</c:v>
                </c:pt>
                <c:pt idx="2">
                  <c:v>6.0</c:v>
                </c:pt>
                <c:pt idx="3">
                  <c:v>3.0</c:v>
                </c:pt>
                <c:pt idx="4">
                  <c:v>26.0</c:v>
                </c:pt>
                <c:pt idx="5">
                  <c:v>4.0</c:v>
                </c:pt>
                <c:pt idx="6">
                  <c:v>19.0</c:v>
                </c:pt>
                <c:pt idx="7">
                  <c:v>2.0</c:v>
                </c:pt>
                <c:pt idx="8">
                  <c:v>11.0</c:v>
                </c:pt>
                <c:pt idx="9">
                  <c:v>4.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B5A3-460B-A8D2-60364639801B}"/>
            </c:ext>
          </c:extLst>
        </c:ser>
        <c:dLbls>
          <c:showLegendKey val="0"/>
          <c:showVal val="0"/>
          <c:showCatName val="1"/>
          <c:showSerName val="0"/>
          <c:showPercent val="1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externalData r:id="rId2">
    <c:autoUpdate val="0"/>
  </c:externalData>
  <c:extLst xmlns:c16r2="http://schemas.microsoft.com/office/drawing/2015/06/chart">
    <c:ext xmlns:c14="http://schemas.microsoft.com/office/drawing/2007/8/2/chart" uri="{781A3756-C4B2-4CAC-9D66-4F8BD8637D16}">
      <c14:pivotOptions>
        <c14:dropZoneFilter val="1"/>
        <c14:dropZoneData val="1"/>
        <c14:dropZoneSeries val="1"/>
        <c14:dropZonesVisible val="1"/>
      </c14:pivotOptions>
    </c:ext>
  </c:extLst>
</c:chartSpace>
</file>

<file path=ppt/diagrams/_rels/data3.xml.rels><?xml version="1.0" encoding="UTF-8" standalone="yes"?>
<Relationships xmlns="http://schemas.openxmlformats.org/package/2006/relationships"><Relationship Id="rId1" Type="http://schemas.openxmlformats.org/officeDocument/2006/relationships/image" Target="../media/image290.jpg"/><Relationship Id="rId2" Type="http://schemas.openxmlformats.org/officeDocument/2006/relationships/image" Target="../media/image291.jpg"/><Relationship Id="rId3" Type="http://schemas.openxmlformats.org/officeDocument/2006/relationships/image" Target="../media/image292.jpg"/></Relationships>
</file>

<file path=ppt/diagrams/_rels/drawing3.xml.rels><?xml version="1.0" encoding="UTF-8" standalone="yes"?>
<Relationships xmlns="http://schemas.openxmlformats.org/package/2006/relationships"><Relationship Id="rId1" Type="http://schemas.openxmlformats.org/officeDocument/2006/relationships/image" Target="../media/image290.jpg"/><Relationship Id="rId2" Type="http://schemas.openxmlformats.org/officeDocument/2006/relationships/image" Target="../media/image291.jpg"/><Relationship Id="rId3" Type="http://schemas.openxmlformats.org/officeDocument/2006/relationships/image" Target="../media/image292.jp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4">
  <dgm:title val=""/>
  <dgm:desc val=""/>
  <dgm:catLst>
    <dgm:cat type="accent3" pri="11400"/>
  </dgm:catLst>
  <dgm:styleLbl name="node0">
    <dgm:fillClrLst meth="cycle">
      <a:schemeClr val="accent3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3">
        <a:shade val="50000"/>
      </a:schemeClr>
      <a:schemeClr val="accent3">
        <a:tint val="55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3">
        <a:shade val="80000"/>
        <a:alpha val="50000"/>
      </a:schemeClr>
      <a:schemeClr val="accent3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55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8377B40-D57D-4EB0-B66E-27231AFFC2A3}" type="doc">
      <dgm:prSet loTypeId="urn:microsoft.com/office/officeart/2005/8/layout/pyramid1" loCatId="pyramid" qsTypeId="urn:microsoft.com/office/officeart/2005/8/quickstyle/simple1" qsCatId="simple" csTypeId="urn:microsoft.com/office/officeart/2005/8/colors/accent1_2" csCatId="accent1" phldr="1"/>
      <dgm:spPr/>
    </dgm:pt>
    <dgm:pt modelId="{D8AEFB19-CF79-48EA-A3A1-5CBC99DFC03F}">
      <dgm:prSet phldrT="[Text]" custT="1"/>
      <dgm:spPr>
        <a:solidFill>
          <a:schemeClr val="accent3"/>
        </a:solidFill>
      </dgm:spPr>
      <dgm:t>
        <a:bodyPr/>
        <a:lstStyle/>
        <a:p>
          <a:endParaRPr lang="en-GB" sz="2000" dirty="0" smtClean="0"/>
        </a:p>
      </dgm:t>
    </dgm:pt>
    <dgm:pt modelId="{A00BC84D-920E-46B1-AA27-CD66B2A5A854}" type="parTrans" cxnId="{F4EDDB4A-723E-4028-91A5-D62756447EB7}">
      <dgm:prSet/>
      <dgm:spPr/>
      <dgm:t>
        <a:bodyPr/>
        <a:lstStyle/>
        <a:p>
          <a:endParaRPr lang="en-GB"/>
        </a:p>
      </dgm:t>
    </dgm:pt>
    <dgm:pt modelId="{D93620AA-9AEA-4787-B917-68F61C10505D}" type="sibTrans" cxnId="{F4EDDB4A-723E-4028-91A5-D62756447EB7}">
      <dgm:prSet/>
      <dgm:spPr/>
      <dgm:t>
        <a:bodyPr/>
        <a:lstStyle/>
        <a:p>
          <a:endParaRPr lang="en-GB"/>
        </a:p>
      </dgm:t>
    </dgm:pt>
    <dgm:pt modelId="{CD71CD82-340A-4300-91ED-85835F789127}">
      <dgm:prSet phldrT="[Text]" custT="1"/>
      <dgm:spPr>
        <a:solidFill>
          <a:schemeClr val="tx2">
            <a:lumMod val="75000"/>
            <a:alpha val="60000"/>
          </a:schemeClr>
        </a:solidFill>
      </dgm:spPr>
      <dgm:t>
        <a:bodyPr/>
        <a:lstStyle/>
        <a:p>
          <a:endParaRPr lang="en-GB" sz="1800" b="1" dirty="0">
            <a:solidFill>
              <a:schemeClr val="bg1"/>
            </a:solidFill>
            <a:latin typeface="Calibri" panose="020F0502020204030204" pitchFamily="34" charset="0"/>
          </a:endParaRPr>
        </a:p>
      </dgm:t>
    </dgm:pt>
    <dgm:pt modelId="{E8F8A7C8-6147-44A2-9005-FC07755F7B7E}" type="parTrans" cxnId="{D0B020DA-FB06-4C94-A2BA-4A8C67668371}">
      <dgm:prSet/>
      <dgm:spPr/>
      <dgm:t>
        <a:bodyPr/>
        <a:lstStyle/>
        <a:p>
          <a:endParaRPr lang="en-GB"/>
        </a:p>
      </dgm:t>
    </dgm:pt>
    <dgm:pt modelId="{7B95D30B-8326-4B9E-83A7-5AE34ABC22ED}" type="sibTrans" cxnId="{D0B020DA-FB06-4C94-A2BA-4A8C67668371}">
      <dgm:prSet/>
      <dgm:spPr/>
      <dgm:t>
        <a:bodyPr/>
        <a:lstStyle/>
        <a:p>
          <a:endParaRPr lang="en-GB"/>
        </a:p>
      </dgm:t>
    </dgm:pt>
    <dgm:pt modelId="{27F00272-D3CA-424F-B604-D06B5D6B8052}">
      <dgm:prSet phldrT="[Text]" custT="1"/>
      <dgm:spPr>
        <a:solidFill>
          <a:schemeClr val="accent3">
            <a:alpha val="60000"/>
          </a:schemeClr>
        </a:solidFill>
      </dgm:spPr>
      <dgm:t>
        <a:bodyPr/>
        <a:lstStyle/>
        <a:p>
          <a:endParaRPr lang="en-GB" sz="1800" b="1" dirty="0">
            <a:solidFill>
              <a:schemeClr val="bg1"/>
            </a:solidFill>
            <a:latin typeface="Calibri" panose="020F0502020204030204" pitchFamily="34" charset="0"/>
          </a:endParaRPr>
        </a:p>
      </dgm:t>
    </dgm:pt>
    <dgm:pt modelId="{9B01C251-1F0A-4789-87F6-9DEACE909163}" type="parTrans" cxnId="{5AACD356-C1C7-4B8E-8294-74E10E29D1D6}">
      <dgm:prSet/>
      <dgm:spPr/>
      <dgm:t>
        <a:bodyPr/>
        <a:lstStyle/>
        <a:p>
          <a:endParaRPr lang="en-GB"/>
        </a:p>
      </dgm:t>
    </dgm:pt>
    <dgm:pt modelId="{392BCD3C-FF0D-42E6-A6C2-93EC016E147F}" type="sibTrans" cxnId="{5AACD356-C1C7-4B8E-8294-74E10E29D1D6}">
      <dgm:prSet/>
      <dgm:spPr/>
      <dgm:t>
        <a:bodyPr/>
        <a:lstStyle/>
        <a:p>
          <a:endParaRPr lang="en-GB"/>
        </a:p>
      </dgm:t>
    </dgm:pt>
    <dgm:pt modelId="{38A32846-55F7-4448-9885-646244EABA84}">
      <dgm:prSet phldrT="[Text]" custT="1"/>
      <dgm:spPr>
        <a:solidFill>
          <a:schemeClr val="accent3"/>
        </a:solidFill>
        <a:ln>
          <a:noFill/>
        </a:ln>
      </dgm:spPr>
      <dgm:t>
        <a:bodyPr/>
        <a:lstStyle/>
        <a:p>
          <a:r>
            <a:rPr lang="en-GB" sz="1800" b="1" dirty="0" smtClean="0">
              <a:solidFill>
                <a:schemeClr val="bg1"/>
              </a:solidFill>
              <a:latin typeface="Calibri" panose="020F0502020204030204" pitchFamily="34" charset="0"/>
            </a:rPr>
            <a:t>  </a:t>
          </a:r>
          <a:endParaRPr lang="en-GB" sz="1800" b="1" dirty="0">
            <a:solidFill>
              <a:schemeClr val="bg1"/>
            </a:solidFill>
            <a:latin typeface="Calibri" panose="020F0502020204030204" pitchFamily="34" charset="0"/>
          </a:endParaRPr>
        </a:p>
      </dgm:t>
    </dgm:pt>
    <dgm:pt modelId="{3F548647-6B32-4539-AA92-650FD5813287}" type="sibTrans" cxnId="{ABF8F675-727E-4456-A64E-1F50F2709786}">
      <dgm:prSet/>
      <dgm:spPr/>
      <dgm:t>
        <a:bodyPr/>
        <a:lstStyle/>
        <a:p>
          <a:endParaRPr lang="en-GB"/>
        </a:p>
      </dgm:t>
    </dgm:pt>
    <dgm:pt modelId="{C2AD2E1A-6F21-4FD9-AC05-91F1D50C8E36}" type="parTrans" cxnId="{ABF8F675-727E-4456-A64E-1F50F2709786}">
      <dgm:prSet/>
      <dgm:spPr/>
      <dgm:t>
        <a:bodyPr/>
        <a:lstStyle/>
        <a:p>
          <a:endParaRPr lang="en-GB"/>
        </a:p>
      </dgm:t>
    </dgm:pt>
    <dgm:pt modelId="{DD882C73-1726-4F25-87C4-CBD119FBC946}" type="pres">
      <dgm:prSet presAssocID="{88377B40-D57D-4EB0-B66E-27231AFFC2A3}" presName="Name0" presStyleCnt="0">
        <dgm:presLayoutVars>
          <dgm:dir/>
          <dgm:animLvl val="lvl"/>
          <dgm:resizeHandles val="exact"/>
        </dgm:presLayoutVars>
      </dgm:prSet>
      <dgm:spPr/>
    </dgm:pt>
    <dgm:pt modelId="{31E8841B-7C68-44DB-8E48-146E0DF9BCFB}" type="pres">
      <dgm:prSet presAssocID="{D8AEFB19-CF79-48EA-A3A1-5CBC99DFC03F}" presName="Name8" presStyleCnt="0"/>
      <dgm:spPr/>
    </dgm:pt>
    <dgm:pt modelId="{32886C06-439F-46C3-B83C-8325D3F351D1}" type="pres">
      <dgm:prSet presAssocID="{D8AEFB19-CF79-48EA-A3A1-5CBC99DFC03F}" presName="level" presStyleLbl="node1" presStyleIdx="0" presStyleCnt="4" custScaleY="85338" custLinFactNeighborY="-3976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1916C20E-65B1-4A57-BEFE-62CFD17D82DF}" type="pres">
      <dgm:prSet presAssocID="{D8AEFB19-CF79-48EA-A3A1-5CBC99DFC03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13D5958-9E79-4ED7-B406-918C9A6147D8}" type="pres">
      <dgm:prSet presAssocID="{38A32846-55F7-4448-9885-646244EABA84}" presName="Name8" presStyleCnt="0"/>
      <dgm:spPr/>
    </dgm:pt>
    <dgm:pt modelId="{9EB1A3D2-15B9-4826-9D56-AD5650F81BD4}" type="pres">
      <dgm:prSet presAssocID="{38A32846-55F7-4448-9885-646244EABA84}" presName="level" presStyleLbl="node1" presStyleIdx="1" presStyleCnt="4" custScaleX="97157" custScaleY="186299" custLinFactNeighborX="-550" custLinFactNeighborY="5874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D3F64BE1-8E99-44F6-BEDB-E4A777080BF2}" type="pres">
      <dgm:prSet presAssocID="{38A32846-55F7-4448-9885-646244EABA84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382DAE72-E07A-4E65-A045-F33B5D0C91FE}" type="pres">
      <dgm:prSet presAssocID="{CD71CD82-340A-4300-91ED-85835F789127}" presName="Name8" presStyleCnt="0"/>
      <dgm:spPr/>
    </dgm:pt>
    <dgm:pt modelId="{B846AC74-76B8-4EF9-A8B6-49109D6E07C8}" type="pres">
      <dgm:prSet presAssocID="{CD71CD82-340A-4300-91ED-85835F789127}" presName="level" presStyleLbl="node1" presStyleIdx="2" presStyleCnt="4" custScaleY="231057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F23B7027-602F-4A82-8AAD-1CD1E3EE45DA}" type="pres">
      <dgm:prSet presAssocID="{CD71CD82-340A-4300-91ED-85835F789127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9750761B-E1AC-4AFB-B7E1-44210568ABE5}" type="pres">
      <dgm:prSet presAssocID="{27F00272-D3CA-424F-B604-D06B5D6B8052}" presName="Name8" presStyleCnt="0"/>
      <dgm:spPr/>
    </dgm:pt>
    <dgm:pt modelId="{D36BC627-13B0-472C-9621-3618B19809DF}" type="pres">
      <dgm:prSet presAssocID="{27F00272-D3CA-424F-B604-D06B5D6B8052}" presName="level" presStyleLbl="node1" presStyleIdx="3" presStyleCnt="4" custScaleY="458170" custLinFactNeighborX="289" custLinFactNeighborY="-790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FCC4643E-15A2-414C-909E-0DFA64B91220}" type="pres">
      <dgm:prSet presAssocID="{27F00272-D3CA-424F-B604-D06B5D6B8052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</dgm:ptLst>
  <dgm:cxnLst>
    <dgm:cxn modelId="{2D892A1A-A5A2-4B4D-92FF-D12721CFEBCF}" type="presOf" srcId="{27F00272-D3CA-424F-B604-D06B5D6B8052}" destId="{D36BC627-13B0-472C-9621-3618B19809DF}" srcOrd="0" destOrd="0" presId="urn:microsoft.com/office/officeart/2005/8/layout/pyramid1"/>
    <dgm:cxn modelId="{41D80918-E97D-4BF0-982E-8C9E7B2F6DAC}" type="presOf" srcId="{CD71CD82-340A-4300-91ED-85835F789127}" destId="{F23B7027-602F-4A82-8AAD-1CD1E3EE45DA}" srcOrd="1" destOrd="0" presId="urn:microsoft.com/office/officeart/2005/8/layout/pyramid1"/>
    <dgm:cxn modelId="{9118C482-FC9B-41E0-8A81-683346927081}" type="presOf" srcId="{38A32846-55F7-4448-9885-646244EABA84}" destId="{D3F64BE1-8E99-44F6-BEDB-E4A777080BF2}" srcOrd="1" destOrd="0" presId="urn:microsoft.com/office/officeart/2005/8/layout/pyramid1"/>
    <dgm:cxn modelId="{F4EDDB4A-723E-4028-91A5-D62756447EB7}" srcId="{88377B40-D57D-4EB0-B66E-27231AFFC2A3}" destId="{D8AEFB19-CF79-48EA-A3A1-5CBC99DFC03F}" srcOrd="0" destOrd="0" parTransId="{A00BC84D-920E-46B1-AA27-CD66B2A5A854}" sibTransId="{D93620AA-9AEA-4787-B917-68F61C10505D}"/>
    <dgm:cxn modelId="{EAB7946F-DED4-4E83-A0D3-F9FD5743537D}" type="presOf" srcId="{38A32846-55F7-4448-9885-646244EABA84}" destId="{9EB1A3D2-15B9-4826-9D56-AD5650F81BD4}" srcOrd="0" destOrd="0" presId="urn:microsoft.com/office/officeart/2005/8/layout/pyramid1"/>
    <dgm:cxn modelId="{EBF5313F-6F25-4209-B508-D10AB9FA7337}" type="presOf" srcId="{D8AEFB19-CF79-48EA-A3A1-5CBC99DFC03F}" destId="{32886C06-439F-46C3-B83C-8325D3F351D1}" srcOrd="0" destOrd="0" presId="urn:microsoft.com/office/officeart/2005/8/layout/pyramid1"/>
    <dgm:cxn modelId="{D0B020DA-FB06-4C94-A2BA-4A8C67668371}" srcId="{88377B40-D57D-4EB0-B66E-27231AFFC2A3}" destId="{CD71CD82-340A-4300-91ED-85835F789127}" srcOrd="2" destOrd="0" parTransId="{E8F8A7C8-6147-44A2-9005-FC07755F7B7E}" sibTransId="{7B95D30B-8326-4B9E-83A7-5AE34ABC22ED}"/>
    <dgm:cxn modelId="{63AA567C-110E-40B4-82CE-D25980ECA35C}" type="presOf" srcId="{27F00272-D3CA-424F-B604-D06B5D6B8052}" destId="{FCC4643E-15A2-414C-909E-0DFA64B91220}" srcOrd="1" destOrd="0" presId="urn:microsoft.com/office/officeart/2005/8/layout/pyramid1"/>
    <dgm:cxn modelId="{7C772454-231A-47FD-ACF2-A0171727976C}" type="presOf" srcId="{CD71CD82-340A-4300-91ED-85835F789127}" destId="{B846AC74-76B8-4EF9-A8B6-49109D6E07C8}" srcOrd="0" destOrd="0" presId="urn:microsoft.com/office/officeart/2005/8/layout/pyramid1"/>
    <dgm:cxn modelId="{5AACD356-C1C7-4B8E-8294-74E10E29D1D6}" srcId="{88377B40-D57D-4EB0-B66E-27231AFFC2A3}" destId="{27F00272-D3CA-424F-B604-D06B5D6B8052}" srcOrd="3" destOrd="0" parTransId="{9B01C251-1F0A-4789-87F6-9DEACE909163}" sibTransId="{392BCD3C-FF0D-42E6-A6C2-93EC016E147F}"/>
    <dgm:cxn modelId="{24289A1B-7E36-4DDB-B3C6-D54AE6E69BC9}" type="presOf" srcId="{D8AEFB19-CF79-48EA-A3A1-5CBC99DFC03F}" destId="{1916C20E-65B1-4A57-BEFE-62CFD17D82DF}" srcOrd="1" destOrd="0" presId="urn:microsoft.com/office/officeart/2005/8/layout/pyramid1"/>
    <dgm:cxn modelId="{ABF8F675-727E-4456-A64E-1F50F2709786}" srcId="{88377B40-D57D-4EB0-B66E-27231AFFC2A3}" destId="{38A32846-55F7-4448-9885-646244EABA84}" srcOrd="1" destOrd="0" parTransId="{C2AD2E1A-6F21-4FD9-AC05-91F1D50C8E36}" sibTransId="{3F548647-6B32-4539-AA92-650FD5813287}"/>
    <dgm:cxn modelId="{1E697E3C-FF6F-4D16-AB1A-915A2D850D5C}" type="presOf" srcId="{88377B40-D57D-4EB0-B66E-27231AFFC2A3}" destId="{DD882C73-1726-4F25-87C4-CBD119FBC946}" srcOrd="0" destOrd="0" presId="urn:microsoft.com/office/officeart/2005/8/layout/pyramid1"/>
    <dgm:cxn modelId="{94F17A0C-AA73-4C75-A1EF-B7FEF9FE116A}" type="presParOf" srcId="{DD882C73-1726-4F25-87C4-CBD119FBC946}" destId="{31E8841B-7C68-44DB-8E48-146E0DF9BCFB}" srcOrd="0" destOrd="0" presId="urn:microsoft.com/office/officeart/2005/8/layout/pyramid1"/>
    <dgm:cxn modelId="{BB1F4BD2-0284-4DEA-B841-7E409B584858}" type="presParOf" srcId="{31E8841B-7C68-44DB-8E48-146E0DF9BCFB}" destId="{32886C06-439F-46C3-B83C-8325D3F351D1}" srcOrd="0" destOrd="0" presId="urn:microsoft.com/office/officeart/2005/8/layout/pyramid1"/>
    <dgm:cxn modelId="{DEEFED85-CB5C-4AB9-AA57-B6908E554CC2}" type="presParOf" srcId="{31E8841B-7C68-44DB-8E48-146E0DF9BCFB}" destId="{1916C20E-65B1-4A57-BEFE-62CFD17D82DF}" srcOrd="1" destOrd="0" presId="urn:microsoft.com/office/officeart/2005/8/layout/pyramid1"/>
    <dgm:cxn modelId="{4DEC565D-8905-411E-A4B4-3CAAE12C87E7}" type="presParOf" srcId="{DD882C73-1726-4F25-87C4-CBD119FBC946}" destId="{613D5958-9E79-4ED7-B406-918C9A6147D8}" srcOrd="1" destOrd="0" presId="urn:microsoft.com/office/officeart/2005/8/layout/pyramid1"/>
    <dgm:cxn modelId="{9FFE0BD1-D9E9-4BF0-B5DC-598F2C9C7654}" type="presParOf" srcId="{613D5958-9E79-4ED7-B406-918C9A6147D8}" destId="{9EB1A3D2-15B9-4826-9D56-AD5650F81BD4}" srcOrd="0" destOrd="0" presId="urn:microsoft.com/office/officeart/2005/8/layout/pyramid1"/>
    <dgm:cxn modelId="{46469A76-1C6A-44C7-9DD5-A2D697D12AC3}" type="presParOf" srcId="{613D5958-9E79-4ED7-B406-918C9A6147D8}" destId="{D3F64BE1-8E99-44F6-BEDB-E4A777080BF2}" srcOrd="1" destOrd="0" presId="urn:microsoft.com/office/officeart/2005/8/layout/pyramid1"/>
    <dgm:cxn modelId="{E4D38676-C77B-4651-8C56-933229B18BA9}" type="presParOf" srcId="{DD882C73-1726-4F25-87C4-CBD119FBC946}" destId="{382DAE72-E07A-4E65-A045-F33B5D0C91FE}" srcOrd="2" destOrd="0" presId="urn:microsoft.com/office/officeart/2005/8/layout/pyramid1"/>
    <dgm:cxn modelId="{16537864-0515-4932-8D02-76DCE932D7FE}" type="presParOf" srcId="{382DAE72-E07A-4E65-A045-F33B5D0C91FE}" destId="{B846AC74-76B8-4EF9-A8B6-49109D6E07C8}" srcOrd="0" destOrd="0" presId="urn:microsoft.com/office/officeart/2005/8/layout/pyramid1"/>
    <dgm:cxn modelId="{3D1925EC-974F-4FF4-AFC3-F8DAE62A6300}" type="presParOf" srcId="{382DAE72-E07A-4E65-A045-F33B5D0C91FE}" destId="{F23B7027-602F-4A82-8AAD-1CD1E3EE45DA}" srcOrd="1" destOrd="0" presId="urn:microsoft.com/office/officeart/2005/8/layout/pyramid1"/>
    <dgm:cxn modelId="{CC1C9414-8D4A-4037-9BE4-9B6346E0D9C6}" type="presParOf" srcId="{DD882C73-1726-4F25-87C4-CBD119FBC946}" destId="{9750761B-E1AC-4AFB-B7E1-44210568ABE5}" srcOrd="3" destOrd="0" presId="urn:microsoft.com/office/officeart/2005/8/layout/pyramid1"/>
    <dgm:cxn modelId="{CE5650B3-6C45-421E-BE06-06DBD5912C74}" type="presParOf" srcId="{9750761B-E1AC-4AFB-B7E1-44210568ABE5}" destId="{D36BC627-13B0-472C-9621-3618B19809DF}" srcOrd="0" destOrd="0" presId="urn:microsoft.com/office/officeart/2005/8/layout/pyramid1"/>
    <dgm:cxn modelId="{065B2369-8832-4F89-8015-A1DE90B7EADA}" type="presParOf" srcId="{9750761B-E1AC-4AFB-B7E1-44210568ABE5}" destId="{FCC4643E-15A2-414C-909E-0DFA64B91220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0C52A56-4A3C-45EC-B82A-4969526CD69C}" type="doc">
      <dgm:prSet loTypeId="urn:microsoft.com/office/officeart/2005/8/layout/cycle1" loCatId="cycle" qsTypeId="urn:microsoft.com/office/officeart/2005/8/quickstyle/simple1" qsCatId="simple" csTypeId="urn:microsoft.com/office/officeart/2005/8/colors/accent3_4" csCatId="accent3" phldr="1"/>
      <dgm:spPr/>
      <dgm:t>
        <a:bodyPr/>
        <a:lstStyle/>
        <a:p>
          <a:endParaRPr lang="en-GB"/>
        </a:p>
      </dgm:t>
    </dgm:pt>
    <dgm:pt modelId="{33CFC6FE-6CEE-4DD9-8AD7-3FB0A3BEC3E9}">
      <dgm:prSet phldrT="[Text]" custT="1"/>
      <dgm:spPr>
        <a:noFill/>
        <a:ln>
          <a:noFill/>
        </a:ln>
      </dgm:spPr>
      <dgm:t>
        <a:bodyPr/>
        <a:lstStyle/>
        <a:p>
          <a:r>
            <a:rPr lang="en-GB" sz="1800" b="1" dirty="0" smtClean="0">
              <a:solidFill>
                <a:schemeClr val="tx1"/>
              </a:solidFill>
              <a:latin typeface="Calibri" panose="020F0502020204030204" pitchFamily="34" charset="0"/>
            </a:rPr>
            <a:t>STRATEGIC</a:t>
          </a:r>
          <a:r>
            <a:rPr lang="en-GB" sz="1800" b="1" dirty="0" smtClean="0">
              <a:solidFill>
                <a:srgbClr val="7030A0"/>
              </a:solidFill>
              <a:latin typeface="Calibri" panose="020F0502020204030204" pitchFamily="34" charset="0"/>
            </a:rPr>
            <a:t> </a:t>
          </a:r>
          <a:r>
            <a:rPr lang="en-GB" sz="1800" b="1" dirty="0" smtClean="0">
              <a:solidFill>
                <a:schemeClr val="tx1"/>
              </a:solidFill>
              <a:latin typeface="Calibri" panose="020F0502020204030204" pitchFamily="34" charset="0"/>
            </a:rPr>
            <a:t>KNOWLEDGE</a:t>
          </a:r>
        </a:p>
      </dgm:t>
    </dgm:pt>
    <dgm:pt modelId="{01A2850D-CBDD-4DDC-AA9F-B1E2D9F4BA0D}" type="parTrans" cxnId="{659AF5AF-2BB7-425C-8C78-B9F065B63821}">
      <dgm:prSet/>
      <dgm:spPr/>
      <dgm:t>
        <a:bodyPr/>
        <a:lstStyle/>
        <a:p>
          <a:endParaRPr lang="en-GB" sz="1600"/>
        </a:p>
      </dgm:t>
    </dgm:pt>
    <dgm:pt modelId="{D1F43E50-834E-454A-9B05-F12EDA2ACF7F}" type="sibTrans" cxnId="{659AF5AF-2BB7-425C-8C78-B9F065B63821}">
      <dgm:prSet/>
      <dgm:spPr>
        <a:solidFill>
          <a:srgbClr val="7030A0"/>
        </a:solidFill>
        <a:ln w="25400">
          <a:noFill/>
        </a:ln>
      </dgm:spPr>
      <dgm:t>
        <a:bodyPr/>
        <a:lstStyle/>
        <a:p>
          <a:endParaRPr lang="en-GB" sz="1600"/>
        </a:p>
      </dgm:t>
    </dgm:pt>
    <dgm:pt modelId="{21D688A2-BBA6-4EA9-AAA1-6292B9CE6783}">
      <dgm:prSet phldrT="[Text]" custT="1"/>
      <dgm:spPr>
        <a:noFill/>
        <a:ln>
          <a:noFill/>
        </a:ln>
      </dgm:spPr>
      <dgm:t>
        <a:bodyPr/>
        <a:lstStyle/>
        <a:p>
          <a:r>
            <a:rPr lang="en-GB" sz="1800" b="1" dirty="0" smtClean="0">
              <a:solidFill>
                <a:schemeClr val="tx1"/>
              </a:solidFill>
              <a:latin typeface="Calibri" panose="020F0502020204030204" pitchFamily="34" charset="0"/>
            </a:rPr>
            <a:t>TARGET DISCOVERY</a:t>
          </a:r>
          <a:endParaRPr lang="en-GB" sz="1800" b="1" dirty="0">
            <a:solidFill>
              <a:schemeClr val="tx1"/>
            </a:solidFill>
            <a:latin typeface="Calibri" panose="020F0502020204030204" pitchFamily="34" charset="0"/>
          </a:endParaRPr>
        </a:p>
      </dgm:t>
    </dgm:pt>
    <dgm:pt modelId="{58BF997D-B095-480E-94EE-1673199E6466}" type="parTrans" cxnId="{BA252501-3616-48A5-A676-057DC0DB4841}">
      <dgm:prSet/>
      <dgm:spPr/>
      <dgm:t>
        <a:bodyPr/>
        <a:lstStyle/>
        <a:p>
          <a:endParaRPr lang="en-GB" sz="1600"/>
        </a:p>
      </dgm:t>
    </dgm:pt>
    <dgm:pt modelId="{6A21A9D2-A890-49D7-BD68-FD65B5A0EC78}" type="sibTrans" cxnId="{BA252501-3616-48A5-A676-057DC0DB4841}">
      <dgm:prSet/>
      <dgm:spPr>
        <a:solidFill>
          <a:srgbClr val="7030A0"/>
        </a:solidFill>
        <a:ln w="25400">
          <a:noFill/>
        </a:ln>
      </dgm:spPr>
      <dgm:t>
        <a:bodyPr/>
        <a:lstStyle/>
        <a:p>
          <a:endParaRPr lang="en-GB" sz="1600"/>
        </a:p>
      </dgm:t>
    </dgm:pt>
    <dgm:pt modelId="{F9E5030E-A43E-4495-95C7-BD932728F5A5}">
      <dgm:prSet phldrT="[Text]" custT="1"/>
      <dgm:spPr>
        <a:noFill/>
        <a:ln>
          <a:noFill/>
        </a:ln>
      </dgm:spPr>
      <dgm:t>
        <a:bodyPr/>
        <a:lstStyle/>
        <a:p>
          <a:r>
            <a:rPr lang="en-GB" sz="1800" b="1" dirty="0" smtClean="0">
              <a:solidFill>
                <a:schemeClr val="tx1"/>
              </a:solidFill>
              <a:latin typeface="Calibri" panose="020F0502020204030204" pitchFamily="34" charset="0"/>
            </a:rPr>
            <a:t>CASE DEVELOPMENT</a:t>
          </a:r>
          <a:endParaRPr lang="en-GB" sz="1800" b="1" dirty="0">
            <a:solidFill>
              <a:schemeClr val="tx1"/>
            </a:solidFill>
            <a:latin typeface="Calibri" panose="020F0502020204030204" pitchFamily="34" charset="0"/>
          </a:endParaRPr>
        </a:p>
      </dgm:t>
    </dgm:pt>
    <dgm:pt modelId="{5A47ADAE-8E52-4B41-9227-151E39A2AAE1}" type="parTrans" cxnId="{C50072EE-47FB-495C-AFCE-080677631869}">
      <dgm:prSet/>
      <dgm:spPr/>
      <dgm:t>
        <a:bodyPr/>
        <a:lstStyle/>
        <a:p>
          <a:endParaRPr lang="en-GB" sz="1600"/>
        </a:p>
      </dgm:t>
    </dgm:pt>
    <dgm:pt modelId="{88E24AE8-7264-47B1-83E9-DBEB498EAAA9}" type="sibTrans" cxnId="{C50072EE-47FB-495C-AFCE-080677631869}">
      <dgm:prSet/>
      <dgm:spPr>
        <a:solidFill>
          <a:srgbClr val="7030A0"/>
        </a:solidFill>
        <a:ln w="28575">
          <a:noFill/>
        </a:ln>
      </dgm:spPr>
      <dgm:t>
        <a:bodyPr/>
        <a:lstStyle/>
        <a:p>
          <a:endParaRPr lang="en-GB" sz="1600"/>
        </a:p>
      </dgm:t>
    </dgm:pt>
    <dgm:pt modelId="{1F50F3A5-A4B3-4287-90FA-1FE991D334EF}">
      <dgm:prSet phldrT="[Text]" custT="1"/>
      <dgm:spPr>
        <a:noFill/>
        <a:ln>
          <a:noFill/>
        </a:ln>
      </dgm:spPr>
      <dgm:t>
        <a:bodyPr/>
        <a:lstStyle/>
        <a:p>
          <a:r>
            <a:rPr lang="en-GB" sz="1800" b="1" dirty="0" smtClean="0">
              <a:solidFill>
                <a:schemeClr val="tx1"/>
              </a:solidFill>
              <a:latin typeface="Calibri" panose="020F0502020204030204" pitchFamily="34" charset="0"/>
            </a:rPr>
            <a:t>INTERVENTION</a:t>
          </a:r>
          <a:endParaRPr lang="en-GB" sz="1800" b="1" dirty="0">
            <a:solidFill>
              <a:schemeClr val="tx1"/>
            </a:solidFill>
            <a:latin typeface="Calibri" panose="020F0502020204030204" pitchFamily="34" charset="0"/>
          </a:endParaRPr>
        </a:p>
      </dgm:t>
    </dgm:pt>
    <dgm:pt modelId="{E7F67B7A-DA6F-48EC-87C7-1049EBAC301A}" type="parTrans" cxnId="{414368C4-6CFB-4248-8121-1A2687A0CAB7}">
      <dgm:prSet/>
      <dgm:spPr/>
      <dgm:t>
        <a:bodyPr/>
        <a:lstStyle/>
        <a:p>
          <a:endParaRPr lang="en-GB" sz="1600"/>
        </a:p>
      </dgm:t>
    </dgm:pt>
    <dgm:pt modelId="{9739DB72-0783-47DE-A0BF-5A08E3671BD8}" type="sibTrans" cxnId="{414368C4-6CFB-4248-8121-1A2687A0CAB7}">
      <dgm:prSet/>
      <dgm:spPr>
        <a:solidFill>
          <a:srgbClr val="7030A0"/>
        </a:solidFill>
        <a:ln w="25400">
          <a:noFill/>
        </a:ln>
      </dgm:spPr>
      <dgm:t>
        <a:bodyPr/>
        <a:lstStyle/>
        <a:p>
          <a:endParaRPr lang="en-GB" sz="1600"/>
        </a:p>
      </dgm:t>
    </dgm:pt>
    <dgm:pt modelId="{99E112D1-8960-48A8-A083-592A25B93860}">
      <dgm:prSet phldrT="[Text]" custT="1"/>
      <dgm:spPr>
        <a:noFill/>
        <a:ln>
          <a:noFill/>
        </a:ln>
      </dgm:spPr>
      <dgm:t>
        <a:bodyPr/>
        <a:lstStyle/>
        <a:p>
          <a:r>
            <a:rPr lang="en-GB" sz="1800" b="1" dirty="0" smtClean="0">
              <a:solidFill>
                <a:schemeClr val="tx1"/>
              </a:solidFill>
              <a:latin typeface="Calibri" panose="020F0502020204030204" pitchFamily="34" charset="0"/>
            </a:rPr>
            <a:t>LEARNING</a:t>
          </a:r>
          <a:endParaRPr lang="en-GB" sz="1800" b="1" dirty="0">
            <a:solidFill>
              <a:schemeClr val="tx1"/>
            </a:solidFill>
            <a:latin typeface="Calibri" panose="020F0502020204030204" pitchFamily="34" charset="0"/>
          </a:endParaRPr>
        </a:p>
      </dgm:t>
    </dgm:pt>
    <dgm:pt modelId="{B290855D-7448-4E3B-AD33-75E11C596C7B}" type="sibTrans" cxnId="{9885C780-5B3E-4BCB-8E1D-C60B0689D901}">
      <dgm:prSet/>
      <dgm:spPr>
        <a:solidFill>
          <a:srgbClr val="612A8A"/>
        </a:solidFill>
        <a:ln w="25400">
          <a:noFill/>
        </a:ln>
      </dgm:spPr>
      <dgm:t>
        <a:bodyPr/>
        <a:lstStyle/>
        <a:p>
          <a:endParaRPr lang="en-GB" sz="1600"/>
        </a:p>
      </dgm:t>
    </dgm:pt>
    <dgm:pt modelId="{E8386A40-6754-419D-91C3-73C6CCD2D2A6}" type="parTrans" cxnId="{9885C780-5B3E-4BCB-8E1D-C60B0689D901}">
      <dgm:prSet/>
      <dgm:spPr/>
      <dgm:t>
        <a:bodyPr/>
        <a:lstStyle/>
        <a:p>
          <a:endParaRPr lang="en-GB" sz="1600"/>
        </a:p>
      </dgm:t>
    </dgm:pt>
    <dgm:pt modelId="{142E185F-F4CA-4C69-A687-E2ABAC92C2EF}" type="pres">
      <dgm:prSet presAssocID="{90C52A56-4A3C-45EC-B82A-4969526CD69C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GB"/>
        </a:p>
      </dgm:t>
    </dgm:pt>
    <dgm:pt modelId="{2EDDAD03-529E-434E-9434-172BEF62158E}" type="pres">
      <dgm:prSet presAssocID="{33CFC6FE-6CEE-4DD9-8AD7-3FB0A3BEC3E9}" presName="dummy" presStyleCnt="0"/>
      <dgm:spPr/>
    </dgm:pt>
    <dgm:pt modelId="{F9FDBE33-A384-4217-A126-686E962E0AFA}" type="pres">
      <dgm:prSet presAssocID="{33CFC6FE-6CEE-4DD9-8AD7-3FB0A3BEC3E9}" presName="node" presStyleLbl="revTx" presStyleIdx="0" presStyleCnt="5" custScaleX="12718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31D71C8E-A936-4F91-B12D-E82C06E73AD3}" type="pres">
      <dgm:prSet presAssocID="{D1F43E50-834E-454A-9B05-F12EDA2ACF7F}" presName="sibTrans" presStyleLbl="node1" presStyleIdx="0" presStyleCnt="5"/>
      <dgm:spPr/>
      <dgm:t>
        <a:bodyPr/>
        <a:lstStyle/>
        <a:p>
          <a:endParaRPr lang="en-GB"/>
        </a:p>
      </dgm:t>
    </dgm:pt>
    <dgm:pt modelId="{A0A092F8-AE42-42B5-B8D7-3189E564DFA2}" type="pres">
      <dgm:prSet presAssocID="{21D688A2-BBA6-4EA9-AAA1-6292B9CE6783}" presName="dummy" presStyleCnt="0"/>
      <dgm:spPr/>
    </dgm:pt>
    <dgm:pt modelId="{3548D9A2-CC82-43E5-A36B-AC4CE6C8F9A3}" type="pres">
      <dgm:prSet presAssocID="{21D688A2-BBA6-4EA9-AAA1-6292B9CE6783}" presName="node" presStyleLbl="revTx" presStyleIdx="1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3FFE8726-3595-498E-AFEE-78462A883DCA}" type="pres">
      <dgm:prSet presAssocID="{6A21A9D2-A890-49D7-BD68-FD65B5A0EC78}" presName="sibTrans" presStyleLbl="node1" presStyleIdx="1" presStyleCnt="5"/>
      <dgm:spPr/>
      <dgm:t>
        <a:bodyPr/>
        <a:lstStyle/>
        <a:p>
          <a:endParaRPr lang="en-GB"/>
        </a:p>
      </dgm:t>
    </dgm:pt>
    <dgm:pt modelId="{9D2D3494-548D-47B1-9DBE-453ADDDA679B}" type="pres">
      <dgm:prSet presAssocID="{F9E5030E-A43E-4495-95C7-BD932728F5A5}" presName="dummy" presStyleCnt="0"/>
      <dgm:spPr/>
    </dgm:pt>
    <dgm:pt modelId="{CE3CC202-41A7-44D6-A50C-EBEA64D06308}" type="pres">
      <dgm:prSet presAssocID="{F9E5030E-A43E-4495-95C7-BD932728F5A5}" presName="node" presStyleLbl="revTx" presStyleIdx="2" presStyleCnt="5" custScaleX="12357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4EF07391-2248-4841-B7FD-A686FC799007}" type="pres">
      <dgm:prSet presAssocID="{88E24AE8-7264-47B1-83E9-DBEB498EAAA9}" presName="sibTrans" presStyleLbl="node1" presStyleIdx="2" presStyleCnt="5"/>
      <dgm:spPr/>
      <dgm:t>
        <a:bodyPr/>
        <a:lstStyle/>
        <a:p>
          <a:endParaRPr lang="en-GB"/>
        </a:p>
      </dgm:t>
    </dgm:pt>
    <dgm:pt modelId="{2E173398-51E7-4DB6-B3E0-257350268FA7}" type="pres">
      <dgm:prSet presAssocID="{1F50F3A5-A4B3-4287-90FA-1FE991D334EF}" presName="dummy" presStyleCnt="0"/>
      <dgm:spPr/>
    </dgm:pt>
    <dgm:pt modelId="{8E2CB393-3DA0-486F-ACCA-0A1578941405}" type="pres">
      <dgm:prSet presAssocID="{1F50F3A5-A4B3-4287-90FA-1FE991D334EF}" presName="node" presStyleLbl="revTx" presStyleIdx="3" presStyleCnt="5" custScaleX="139911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4949F3CA-74D1-4912-B686-9C585B73EE05}" type="pres">
      <dgm:prSet presAssocID="{9739DB72-0783-47DE-A0BF-5A08E3671BD8}" presName="sibTrans" presStyleLbl="node1" presStyleIdx="3" presStyleCnt="5"/>
      <dgm:spPr/>
      <dgm:t>
        <a:bodyPr/>
        <a:lstStyle/>
        <a:p>
          <a:endParaRPr lang="en-GB"/>
        </a:p>
      </dgm:t>
    </dgm:pt>
    <dgm:pt modelId="{7A8CE908-6871-4C1E-81C8-E9FE5BF94F65}" type="pres">
      <dgm:prSet presAssocID="{99E112D1-8960-48A8-A083-592A25B93860}" presName="dummy" presStyleCnt="0"/>
      <dgm:spPr/>
    </dgm:pt>
    <dgm:pt modelId="{CFB7BAFA-9575-4307-8E66-3A71C33518E0}" type="pres">
      <dgm:prSet presAssocID="{99E112D1-8960-48A8-A083-592A25B93860}" presName="node" presStyleLbl="revTx" presStyleIdx="4" presStyleCnt="5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EAD4235-00E6-4EDD-BC4F-5E6188AFB19F}" type="pres">
      <dgm:prSet presAssocID="{B290855D-7448-4E3B-AD33-75E11C596C7B}" presName="sibTrans" presStyleLbl="node1" presStyleIdx="4" presStyleCnt="5" custScaleX="100211" custScaleY="94379"/>
      <dgm:spPr/>
      <dgm:t>
        <a:bodyPr/>
        <a:lstStyle/>
        <a:p>
          <a:endParaRPr lang="en-GB"/>
        </a:p>
      </dgm:t>
    </dgm:pt>
  </dgm:ptLst>
  <dgm:cxnLst>
    <dgm:cxn modelId="{CB0BBCEE-FD1E-4F62-9B84-D896D007967C}" type="presOf" srcId="{F9E5030E-A43E-4495-95C7-BD932728F5A5}" destId="{CE3CC202-41A7-44D6-A50C-EBEA64D06308}" srcOrd="0" destOrd="0" presId="urn:microsoft.com/office/officeart/2005/8/layout/cycle1"/>
    <dgm:cxn modelId="{0BECE523-D8BD-40D1-9E98-B481839676DB}" type="presOf" srcId="{D1F43E50-834E-454A-9B05-F12EDA2ACF7F}" destId="{31D71C8E-A936-4F91-B12D-E82C06E73AD3}" srcOrd="0" destOrd="0" presId="urn:microsoft.com/office/officeart/2005/8/layout/cycle1"/>
    <dgm:cxn modelId="{B19DA1A8-9A77-43DD-8F28-C43064556DBF}" type="presOf" srcId="{90C52A56-4A3C-45EC-B82A-4969526CD69C}" destId="{142E185F-F4CA-4C69-A687-E2ABAC92C2EF}" srcOrd="0" destOrd="0" presId="urn:microsoft.com/office/officeart/2005/8/layout/cycle1"/>
    <dgm:cxn modelId="{BA252501-3616-48A5-A676-057DC0DB4841}" srcId="{90C52A56-4A3C-45EC-B82A-4969526CD69C}" destId="{21D688A2-BBA6-4EA9-AAA1-6292B9CE6783}" srcOrd="1" destOrd="0" parTransId="{58BF997D-B095-480E-94EE-1673199E6466}" sibTransId="{6A21A9D2-A890-49D7-BD68-FD65B5A0EC78}"/>
    <dgm:cxn modelId="{659AF5AF-2BB7-425C-8C78-B9F065B63821}" srcId="{90C52A56-4A3C-45EC-B82A-4969526CD69C}" destId="{33CFC6FE-6CEE-4DD9-8AD7-3FB0A3BEC3E9}" srcOrd="0" destOrd="0" parTransId="{01A2850D-CBDD-4DDC-AA9F-B1E2D9F4BA0D}" sibTransId="{D1F43E50-834E-454A-9B05-F12EDA2ACF7F}"/>
    <dgm:cxn modelId="{74B30E4D-B7A3-4BB0-B74F-F593259F05BD}" type="presOf" srcId="{9739DB72-0783-47DE-A0BF-5A08E3671BD8}" destId="{4949F3CA-74D1-4912-B686-9C585B73EE05}" srcOrd="0" destOrd="0" presId="urn:microsoft.com/office/officeart/2005/8/layout/cycle1"/>
    <dgm:cxn modelId="{0E28F7CD-A1C2-427C-9BF1-58BA3940362D}" type="presOf" srcId="{33CFC6FE-6CEE-4DD9-8AD7-3FB0A3BEC3E9}" destId="{F9FDBE33-A384-4217-A126-686E962E0AFA}" srcOrd="0" destOrd="0" presId="urn:microsoft.com/office/officeart/2005/8/layout/cycle1"/>
    <dgm:cxn modelId="{EE66970B-EE2A-4CE3-9867-0CCF42BCD5F6}" type="presOf" srcId="{99E112D1-8960-48A8-A083-592A25B93860}" destId="{CFB7BAFA-9575-4307-8E66-3A71C33518E0}" srcOrd="0" destOrd="0" presId="urn:microsoft.com/office/officeart/2005/8/layout/cycle1"/>
    <dgm:cxn modelId="{C50072EE-47FB-495C-AFCE-080677631869}" srcId="{90C52A56-4A3C-45EC-B82A-4969526CD69C}" destId="{F9E5030E-A43E-4495-95C7-BD932728F5A5}" srcOrd="2" destOrd="0" parTransId="{5A47ADAE-8E52-4B41-9227-151E39A2AAE1}" sibTransId="{88E24AE8-7264-47B1-83E9-DBEB498EAAA9}"/>
    <dgm:cxn modelId="{802572B7-10E5-4ECC-8834-E5800716061C}" type="presOf" srcId="{1F50F3A5-A4B3-4287-90FA-1FE991D334EF}" destId="{8E2CB393-3DA0-486F-ACCA-0A1578941405}" srcOrd="0" destOrd="0" presId="urn:microsoft.com/office/officeart/2005/8/layout/cycle1"/>
    <dgm:cxn modelId="{BB0A93B9-CB55-4F9C-BC6E-F0D9720F79F3}" type="presOf" srcId="{B290855D-7448-4E3B-AD33-75E11C596C7B}" destId="{6EAD4235-00E6-4EDD-BC4F-5E6188AFB19F}" srcOrd="0" destOrd="0" presId="urn:microsoft.com/office/officeart/2005/8/layout/cycle1"/>
    <dgm:cxn modelId="{6E328D32-7983-4C2E-B5D5-164ACA77F566}" type="presOf" srcId="{21D688A2-BBA6-4EA9-AAA1-6292B9CE6783}" destId="{3548D9A2-CC82-43E5-A36B-AC4CE6C8F9A3}" srcOrd="0" destOrd="0" presId="urn:microsoft.com/office/officeart/2005/8/layout/cycle1"/>
    <dgm:cxn modelId="{9885C780-5B3E-4BCB-8E1D-C60B0689D901}" srcId="{90C52A56-4A3C-45EC-B82A-4969526CD69C}" destId="{99E112D1-8960-48A8-A083-592A25B93860}" srcOrd="4" destOrd="0" parTransId="{E8386A40-6754-419D-91C3-73C6CCD2D2A6}" sibTransId="{B290855D-7448-4E3B-AD33-75E11C596C7B}"/>
    <dgm:cxn modelId="{0500C6D5-CD5F-4A54-B6B9-8F535389CE5B}" type="presOf" srcId="{88E24AE8-7264-47B1-83E9-DBEB498EAAA9}" destId="{4EF07391-2248-4841-B7FD-A686FC799007}" srcOrd="0" destOrd="0" presId="urn:microsoft.com/office/officeart/2005/8/layout/cycle1"/>
    <dgm:cxn modelId="{414368C4-6CFB-4248-8121-1A2687A0CAB7}" srcId="{90C52A56-4A3C-45EC-B82A-4969526CD69C}" destId="{1F50F3A5-A4B3-4287-90FA-1FE991D334EF}" srcOrd="3" destOrd="0" parTransId="{E7F67B7A-DA6F-48EC-87C7-1049EBAC301A}" sibTransId="{9739DB72-0783-47DE-A0BF-5A08E3671BD8}"/>
    <dgm:cxn modelId="{4507A4CD-A367-4232-BEB5-6F7536C36585}" type="presOf" srcId="{6A21A9D2-A890-49D7-BD68-FD65B5A0EC78}" destId="{3FFE8726-3595-498E-AFEE-78462A883DCA}" srcOrd="0" destOrd="0" presId="urn:microsoft.com/office/officeart/2005/8/layout/cycle1"/>
    <dgm:cxn modelId="{A07DE10A-5528-4DFF-8993-F9F45CE6FD3E}" type="presParOf" srcId="{142E185F-F4CA-4C69-A687-E2ABAC92C2EF}" destId="{2EDDAD03-529E-434E-9434-172BEF62158E}" srcOrd="0" destOrd="0" presId="urn:microsoft.com/office/officeart/2005/8/layout/cycle1"/>
    <dgm:cxn modelId="{972F1EB0-4E76-4010-A122-DBA6334E6116}" type="presParOf" srcId="{142E185F-F4CA-4C69-A687-E2ABAC92C2EF}" destId="{F9FDBE33-A384-4217-A126-686E962E0AFA}" srcOrd="1" destOrd="0" presId="urn:microsoft.com/office/officeart/2005/8/layout/cycle1"/>
    <dgm:cxn modelId="{BE086A64-0449-4C2A-B381-FA7B0BD958AC}" type="presParOf" srcId="{142E185F-F4CA-4C69-A687-E2ABAC92C2EF}" destId="{31D71C8E-A936-4F91-B12D-E82C06E73AD3}" srcOrd="2" destOrd="0" presId="urn:microsoft.com/office/officeart/2005/8/layout/cycle1"/>
    <dgm:cxn modelId="{490139FB-033F-41FE-850A-C606ACBD5424}" type="presParOf" srcId="{142E185F-F4CA-4C69-A687-E2ABAC92C2EF}" destId="{A0A092F8-AE42-42B5-B8D7-3189E564DFA2}" srcOrd="3" destOrd="0" presId="urn:microsoft.com/office/officeart/2005/8/layout/cycle1"/>
    <dgm:cxn modelId="{E7B53A17-6C8F-4E98-B98F-A66B3F8C2EAE}" type="presParOf" srcId="{142E185F-F4CA-4C69-A687-E2ABAC92C2EF}" destId="{3548D9A2-CC82-43E5-A36B-AC4CE6C8F9A3}" srcOrd="4" destOrd="0" presId="urn:microsoft.com/office/officeart/2005/8/layout/cycle1"/>
    <dgm:cxn modelId="{6F1D8226-2DE0-480E-9EB9-BEB08372B072}" type="presParOf" srcId="{142E185F-F4CA-4C69-A687-E2ABAC92C2EF}" destId="{3FFE8726-3595-498E-AFEE-78462A883DCA}" srcOrd="5" destOrd="0" presId="urn:microsoft.com/office/officeart/2005/8/layout/cycle1"/>
    <dgm:cxn modelId="{7F61AFB4-FEDE-4D59-A538-90CE9497EA49}" type="presParOf" srcId="{142E185F-F4CA-4C69-A687-E2ABAC92C2EF}" destId="{9D2D3494-548D-47B1-9DBE-453ADDDA679B}" srcOrd="6" destOrd="0" presId="urn:microsoft.com/office/officeart/2005/8/layout/cycle1"/>
    <dgm:cxn modelId="{DE75B7EE-DE2A-44A6-BDA5-8AF6F49F7A59}" type="presParOf" srcId="{142E185F-F4CA-4C69-A687-E2ABAC92C2EF}" destId="{CE3CC202-41A7-44D6-A50C-EBEA64D06308}" srcOrd="7" destOrd="0" presId="urn:microsoft.com/office/officeart/2005/8/layout/cycle1"/>
    <dgm:cxn modelId="{9619A75D-E68A-4C02-9EE5-0F2A9F096C99}" type="presParOf" srcId="{142E185F-F4CA-4C69-A687-E2ABAC92C2EF}" destId="{4EF07391-2248-4841-B7FD-A686FC799007}" srcOrd="8" destOrd="0" presId="urn:microsoft.com/office/officeart/2005/8/layout/cycle1"/>
    <dgm:cxn modelId="{DEABD918-B913-4AFF-ADD1-0478EB85D8CE}" type="presParOf" srcId="{142E185F-F4CA-4C69-A687-E2ABAC92C2EF}" destId="{2E173398-51E7-4DB6-B3E0-257350268FA7}" srcOrd="9" destOrd="0" presId="urn:microsoft.com/office/officeart/2005/8/layout/cycle1"/>
    <dgm:cxn modelId="{FE87C981-3CF5-48C7-975A-B1A517ED652C}" type="presParOf" srcId="{142E185F-F4CA-4C69-A687-E2ABAC92C2EF}" destId="{8E2CB393-3DA0-486F-ACCA-0A1578941405}" srcOrd="10" destOrd="0" presId="urn:microsoft.com/office/officeart/2005/8/layout/cycle1"/>
    <dgm:cxn modelId="{E9D22C3B-0210-4D3C-954D-83D23AE7E78B}" type="presParOf" srcId="{142E185F-F4CA-4C69-A687-E2ABAC92C2EF}" destId="{4949F3CA-74D1-4912-B686-9C585B73EE05}" srcOrd="11" destOrd="0" presId="urn:microsoft.com/office/officeart/2005/8/layout/cycle1"/>
    <dgm:cxn modelId="{A96BA21B-B50D-4737-B398-B4BD4CDE3F98}" type="presParOf" srcId="{142E185F-F4CA-4C69-A687-E2ABAC92C2EF}" destId="{7A8CE908-6871-4C1E-81C8-E9FE5BF94F65}" srcOrd="12" destOrd="0" presId="urn:microsoft.com/office/officeart/2005/8/layout/cycle1"/>
    <dgm:cxn modelId="{D0DCC2C2-6500-4151-A30C-994A2329A0ED}" type="presParOf" srcId="{142E185F-F4CA-4C69-A687-E2ABAC92C2EF}" destId="{CFB7BAFA-9575-4307-8E66-3A71C33518E0}" srcOrd="13" destOrd="0" presId="urn:microsoft.com/office/officeart/2005/8/layout/cycle1"/>
    <dgm:cxn modelId="{1B3D5612-2FD4-4FA0-B2F3-F32E1B6D2D2D}" type="presParOf" srcId="{142E185F-F4CA-4C69-A687-E2ABAC92C2EF}" destId="{6EAD4235-00E6-4EDD-BC4F-5E6188AFB19F}" srcOrd="14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121F38A-2717-480D-AB5F-74FF636E7300}" type="doc">
      <dgm:prSet loTypeId="urn:microsoft.com/office/officeart/2005/8/layout/hList7" loCatId="list" qsTypeId="urn:microsoft.com/office/officeart/2005/8/quickstyle/simple1" qsCatId="simple" csTypeId="urn:microsoft.com/office/officeart/2005/8/colors/colorful2" csCatId="colorful" phldr="1"/>
      <dgm:spPr/>
    </dgm:pt>
    <dgm:pt modelId="{7FF8A071-05FE-4067-B4D2-CC9623219737}">
      <dgm:prSet phldrT="[Text]" custT="1"/>
      <dgm:spPr>
        <a:solidFill>
          <a:srgbClr val="6F3505"/>
        </a:solidFill>
      </dgm:spPr>
      <dgm:t>
        <a:bodyPr lIns="108000" tIns="108000" rIns="108000" bIns="108000" anchor="t" anchorCtr="0"/>
        <a:lstStyle/>
        <a:p>
          <a:r>
            <a:rPr lang="en-GB" altLang="en-US" sz="1800" dirty="0" smtClean="0"/>
            <a:t>To provide Europe with a state of the art and </a:t>
          </a:r>
          <a:r>
            <a:rPr lang="en-GB" altLang="en-US" sz="1800" b="1" i="1" dirty="0" smtClean="0"/>
            <a:t>integrated</a:t>
          </a:r>
          <a:r>
            <a:rPr lang="en-GB" altLang="en-US" sz="1800" dirty="0" smtClean="0"/>
            <a:t> capability for detecting fraud and </a:t>
          </a:r>
          <a:r>
            <a:rPr lang="en-GB" altLang="en-US" sz="1800" b="1" i="1" dirty="0" smtClean="0"/>
            <a:t>assuring</a:t>
          </a:r>
          <a:r>
            <a:rPr lang="en-GB" altLang="en-US" sz="1800" dirty="0" smtClean="0"/>
            <a:t> the integrity of the food chain</a:t>
          </a:r>
          <a:endParaRPr lang="en-GB" sz="1800" dirty="0"/>
        </a:p>
      </dgm:t>
    </dgm:pt>
    <dgm:pt modelId="{E95AA367-66AE-4A1F-8D6B-70C70EA15608}" type="parTrans" cxnId="{B60F178D-5654-4877-AAF8-206CAC1348D9}">
      <dgm:prSet/>
      <dgm:spPr/>
      <dgm:t>
        <a:bodyPr/>
        <a:lstStyle/>
        <a:p>
          <a:endParaRPr lang="en-GB" sz="1800"/>
        </a:p>
      </dgm:t>
    </dgm:pt>
    <dgm:pt modelId="{7A50F706-F55E-4634-ADE8-393244EA6D89}" type="sibTrans" cxnId="{B60F178D-5654-4877-AAF8-206CAC1348D9}">
      <dgm:prSet/>
      <dgm:spPr/>
      <dgm:t>
        <a:bodyPr/>
        <a:lstStyle/>
        <a:p>
          <a:endParaRPr lang="en-GB" sz="1800"/>
        </a:p>
      </dgm:t>
    </dgm:pt>
    <dgm:pt modelId="{A605029A-ED8E-48FB-A59B-ACB908975BB6}">
      <dgm:prSet custT="1"/>
      <dgm:spPr>
        <a:solidFill>
          <a:schemeClr val="tx1">
            <a:lumMod val="75000"/>
            <a:lumOff val="25000"/>
          </a:schemeClr>
        </a:solidFill>
      </dgm:spPr>
      <dgm:t>
        <a:bodyPr lIns="108000" tIns="108000" rIns="108000" bIns="108000" anchor="t" anchorCtr="0"/>
        <a:lstStyle/>
        <a:p>
          <a:r>
            <a:rPr lang="en-GB" altLang="en-US" sz="1800" dirty="0" smtClean="0"/>
            <a:t>To provide a </a:t>
          </a:r>
          <a:r>
            <a:rPr lang="en-GB" altLang="en-US" sz="1800" b="1" i="1" dirty="0" smtClean="0"/>
            <a:t>sustainable</a:t>
          </a:r>
          <a:r>
            <a:rPr lang="en-GB" altLang="en-US" sz="1800" dirty="0" smtClean="0"/>
            <a:t> body of expertise that can inform high level stakeholder platforms on food fraud / authenticity issues and priorities</a:t>
          </a:r>
          <a:endParaRPr lang="en-GB" altLang="en-US" sz="1800" dirty="0"/>
        </a:p>
      </dgm:t>
    </dgm:pt>
    <dgm:pt modelId="{A0AA63D9-AED9-41A4-9819-AA26D4A96081}" type="parTrans" cxnId="{B3A94DB6-F9DC-4779-B7EA-F6C22040F259}">
      <dgm:prSet/>
      <dgm:spPr/>
      <dgm:t>
        <a:bodyPr/>
        <a:lstStyle/>
        <a:p>
          <a:endParaRPr lang="en-GB" sz="1800"/>
        </a:p>
      </dgm:t>
    </dgm:pt>
    <dgm:pt modelId="{43FE6C5D-F128-47B2-924B-79076F692D69}" type="sibTrans" cxnId="{B3A94DB6-F9DC-4779-B7EA-F6C22040F259}">
      <dgm:prSet/>
      <dgm:spPr/>
      <dgm:t>
        <a:bodyPr/>
        <a:lstStyle/>
        <a:p>
          <a:endParaRPr lang="en-GB" sz="1800"/>
        </a:p>
      </dgm:t>
    </dgm:pt>
    <dgm:pt modelId="{A6240F7B-2E04-4B23-B2CB-3A2A4DACED15}">
      <dgm:prSet custT="1"/>
      <dgm:spPr>
        <a:solidFill>
          <a:schemeClr val="bg2">
            <a:lumMod val="25000"/>
          </a:schemeClr>
        </a:solidFill>
      </dgm:spPr>
      <dgm:t>
        <a:bodyPr lIns="108000" tIns="108000" rIns="108000" bIns="108000" anchor="t" anchorCtr="0"/>
        <a:lstStyle/>
        <a:p>
          <a:r>
            <a:rPr lang="en-GB" altLang="en-US" sz="1800" dirty="0" smtClean="0"/>
            <a:t>To </a:t>
          </a:r>
          <a:r>
            <a:rPr lang="en-GB" altLang="en-US" sz="1800" b="1" i="1" dirty="0" smtClean="0"/>
            <a:t>bridge</a:t>
          </a:r>
          <a:r>
            <a:rPr lang="en-GB" altLang="en-US" sz="1800" dirty="0" smtClean="0"/>
            <a:t> previous research activities, assess capability gaps, commission research and inform EU future research needs</a:t>
          </a:r>
          <a:endParaRPr lang="en-GB" altLang="en-US" sz="1800" dirty="0"/>
        </a:p>
      </dgm:t>
    </dgm:pt>
    <dgm:pt modelId="{A2D92579-CDAF-43E1-88D2-7D9A4EA8936B}" type="parTrans" cxnId="{857E0977-C0DC-46CF-9FEF-591004174E2F}">
      <dgm:prSet/>
      <dgm:spPr/>
      <dgm:t>
        <a:bodyPr/>
        <a:lstStyle/>
        <a:p>
          <a:endParaRPr lang="en-GB" sz="1800"/>
        </a:p>
      </dgm:t>
    </dgm:pt>
    <dgm:pt modelId="{6FC60CA9-DD33-4C0A-B2D4-0152CDA911D1}" type="sibTrans" cxnId="{857E0977-C0DC-46CF-9FEF-591004174E2F}">
      <dgm:prSet/>
      <dgm:spPr/>
      <dgm:t>
        <a:bodyPr/>
        <a:lstStyle/>
        <a:p>
          <a:endParaRPr lang="en-GB" sz="1800"/>
        </a:p>
      </dgm:t>
    </dgm:pt>
    <dgm:pt modelId="{C81C70D5-32FC-48CA-8738-2EC20AD3E98D}" type="pres">
      <dgm:prSet presAssocID="{7121F38A-2717-480D-AB5F-74FF636E7300}" presName="Name0" presStyleCnt="0">
        <dgm:presLayoutVars>
          <dgm:dir/>
          <dgm:resizeHandles val="exact"/>
        </dgm:presLayoutVars>
      </dgm:prSet>
      <dgm:spPr/>
    </dgm:pt>
    <dgm:pt modelId="{07DD7832-A0AC-4577-8857-C249CDBCAA7A}" type="pres">
      <dgm:prSet presAssocID="{7121F38A-2717-480D-AB5F-74FF636E7300}" presName="fgShape" presStyleLbl="fgShp" presStyleIdx="0" presStyleCnt="1" custScaleY="174797" custLinFactNeighborY="-14227"/>
      <dgm:spPr>
        <a:solidFill>
          <a:schemeClr val="bg1">
            <a:alpha val="75000"/>
          </a:schemeClr>
        </a:solidFill>
        <a:ln>
          <a:noFill/>
        </a:ln>
      </dgm:spPr>
    </dgm:pt>
    <dgm:pt modelId="{ECCAB7EE-DB8B-4665-966D-BF0D6D8A25E4}" type="pres">
      <dgm:prSet presAssocID="{7121F38A-2717-480D-AB5F-74FF636E7300}" presName="linComp" presStyleCnt="0"/>
      <dgm:spPr/>
    </dgm:pt>
    <dgm:pt modelId="{06042E22-6170-4DB9-AEA4-5391D2FDE41B}" type="pres">
      <dgm:prSet presAssocID="{7FF8A071-05FE-4067-B4D2-CC9623219737}" presName="compNode" presStyleCnt="0"/>
      <dgm:spPr/>
    </dgm:pt>
    <dgm:pt modelId="{C80B0557-BD22-4759-9022-9985E347A19F}" type="pres">
      <dgm:prSet presAssocID="{7FF8A071-05FE-4067-B4D2-CC9623219737}" presName="bkgdShape" presStyleLbl="node1" presStyleIdx="0" presStyleCnt="3"/>
      <dgm:spPr/>
      <dgm:t>
        <a:bodyPr/>
        <a:lstStyle/>
        <a:p>
          <a:endParaRPr lang="en-GB"/>
        </a:p>
      </dgm:t>
    </dgm:pt>
    <dgm:pt modelId="{BD44B102-E747-4EB8-96FD-71EA40E85481}" type="pres">
      <dgm:prSet presAssocID="{7FF8A071-05FE-4067-B4D2-CC9623219737}" presName="nodeTx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EC52AE19-9571-4092-8946-FE78752B020F}" type="pres">
      <dgm:prSet presAssocID="{7FF8A071-05FE-4067-B4D2-CC9623219737}" presName="invisiNode" presStyleLbl="node1" presStyleIdx="0" presStyleCnt="3"/>
      <dgm:spPr/>
    </dgm:pt>
    <dgm:pt modelId="{1DB75939-5C3B-408D-BCD4-E2E7A0B50B44}" type="pres">
      <dgm:prSet presAssocID="{7FF8A071-05FE-4067-B4D2-CC9623219737}" presName="imagNode" presStyleLbl="fgImgPlace1" presStyleIdx="0" presStyleCnt="3" custScaleX="130994" custLinFactNeighborY="-9778"/>
      <dgm:spPr>
        <a:prstGeom prst="roundRect">
          <a:avLst/>
        </a:prstGeom>
        <a:blipFill dpi="0" rotWithShape="1">
          <a:blip xmlns:r="http://schemas.openxmlformats.org/officeDocument/2006/relationships" r:embed="rId1"/>
          <a:srcRect/>
          <a:stretch>
            <a:fillRect/>
          </a:stretch>
        </a:blipFill>
      </dgm:spPr>
    </dgm:pt>
    <dgm:pt modelId="{D4E95A73-63A5-4BEC-B3F4-FF84829FC407}" type="pres">
      <dgm:prSet presAssocID="{7A50F706-F55E-4634-ADE8-393244EA6D89}" presName="sibTrans" presStyleLbl="sibTrans2D1" presStyleIdx="0" presStyleCnt="0"/>
      <dgm:spPr/>
      <dgm:t>
        <a:bodyPr/>
        <a:lstStyle/>
        <a:p>
          <a:endParaRPr lang="en-GB"/>
        </a:p>
      </dgm:t>
    </dgm:pt>
    <dgm:pt modelId="{340D2043-071F-4D05-9B47-00FE75C948CA}" type="pres">
      <dgm:prSet presAssocID="{A605029A-ED8E-48FB-A59B-ACB908975BB6}" presName="compNode" presStyleCnt="0"/>
      <dgm:spPr/>
    </dgm:pt>
    <dgm:pt modelId="{E45075AF-4CEF-4419-80DE-374C8F652052}" type="pres">
      <dgm:prSet presAssocID="{A605029A-ED8E-48FB-A59B-ACB908975BB6}" presName="bkgdShape" presStyleLbl="node1" presStyleIdx="1" presStyleCnt="3"/>
      <dgm:spPr/>
      <dgm:t>
        <a:bodyPr/>
        <a:lstStyle/>
        <a:p>
          <a:endParaRPr lang="en-GB"/>
        </a:p>
      </dgm:t>
    </dgm:pt>
    <dgm:pt modelId="{EFAAE44A-3FE0-45EC-84F0-08715CFD3B1A}" type="pres">
      <dgm:prSet presAssocID="{A605029A-ED8E-48FB-A59B-ACB908975BB6}" presName="nodeTx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BB8A404F-F585-4924-B33C-5C235A83EC73}" type="pres">
      <dgm:prSet presAssocID="{A605029A-ED8E-48FB-A59B-ACB908975BB6}" presName="invisiNode" presStyleLbl="node1" presStyleIdx="1" presStyleCnt="3"/>
      <dgm:spPr/>
    </dgm:pt>
    <dgm:pt modelId="{7AD3C6F0-00DC-4245-8F5F-A79922C9B00B}" type="pres">
      <dgm:prSet presAssocID="{A605029A-ED8E-48FB-A59B-ACB908975BB6}" presName="imagNode" presStyleLbl="fgImgPlace1" presStyleIdx="1" presStyleCnt="3" custScaleX="130994" custLinFactNeighborY="-9778"/>
      <dgm:spPr>
        <a:prstGeom prst="roundRect">
          <a:avLst/>
        </a:prstGeom>
        <a:blipFill dpi="0" rotWithShape="1">
          <a:blip xmlns:r="http://schemas.openxmlformats.org/officeDocument/2006/relationships" r:embed="rId2"/>
          <a:srcRect/>
          <a:stretch>
            <a:fillRect r="-10000"/>
          </a:stretch>
        </a:blipFill>
      </dgm:spPr>
    </dgm:pt>
    <dgm:pt modelId="{95E7E62C-A9A9-485F-BCBA-252DDC520E85}" type="pres">
      <dgm:prSet presAssocID="{43FE6C5D-F128-47B2-924B-79076F692D69}" presName="sibTrans" presStyleLbl="sibTrans2D1" presStyleIdx="0" presStyleCnt="0"/>
      <dgm:spPr/>
      <dgm:t>
        <a:bodyPr/>
        <a:lstStyle/>
        <a:p>
          <a:endParaRPr lang="en-GB"/>
        </a:p>
      </dgm:t>
    </dgm:pt>
    <dgm:pt modelId="{1BFD0245-C1E0-4D8E-A11A-39A18B70D9E5}" type="pres">
      <dgm:prSet presAssocID="{A6240F7B-2E04-4B23-B2CB-3A2A4DACED15}" presName="compNode" presStyleCnt="0"/>
      <dgm:spPr/>
    </dgm:pt>
    <dgm:pt modelId="{9ACB5793-2888-4E7A-803F-4443CCFE90E6}" type="pres">
      <dgm:prSet presAssocID="{A6240F7B-2E04-4B23-B2CB-3A2A4DACED15}" presName="bkgdShape" presStyleLbl="node1" presStyleIdx="2" presStyleCnt="3"/>
      <dgm:spPr/>
      <dgm:t>
        <a:bodyPr/>
        <a:lstStyle/>
        <a:p>
          <a:endParaRPr lang="en-GB"/>
        </a:p>
      </dgm:t>
    </dgm:pt>
    <dgm:pt modelId="{05666059-3C09-4444-BB27-C7CA9443A342}" type="pres">
      <dgm:prSet presAssocID="{A6240F7B-2E04-4B23-B2CB-3A2A4DACED15}" presName="nodeTx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5294DB2D-F10A-45EF-8D95-A9A27F511B14}" type="pres">
      <dgm:prSet presAssocID="{A6240F7B-2E04-4B23-B2CB-3A2A4DACED15}" presName="invisiNode" presStyleLbl="node1" presStyleIdx="2" presStyleCnt="3"/>
      <dgm:spPr/>
    </dgm:pt>
    <dgm:pt modelId="{5B6BDE34-7BB2-4389-8B6D-7D6FE789941F}" type="pres">
      <dgm:prSet presAssocID="{A6240F7B-2E04-4B23-B2CB-3A2A4DACED15}" presName="imagNode" presStyleLbl="fgImgPlace1" presStyleIdx="2" presStyleCnt="3" custScaleX="130994" custLinFactNeighborY="-9778"/>
      <dgm:spPr>
        <a:prstGeom prst="roundRect">
          <a:avLst/>
        </a:prstGeom>
        <a:blipFill dpi="0" rotWithShape="1">
          <a:blip xmlns:r="http://schemas.openxmlformats.org/officeDocument/2006/relationships" r:embed="rId3"/>
          <a:srcRect/>
          <a:stretch>
            <a:fillRect/>
          </a:stretch>
        </a:blipFill>
      </dgm:spPr>
    </dgm:pt>
  </dgm:ptLst>
  <dgm:cxnLst>
    <dgm:cxn modelId="{8A2D6D70-06D2-41F2-ACC2-D20159E56A48}" type="presOf" srcId="{7121F38A-2717-480D-AB5F-74FF636E7300}" destId="{C81C70D5-32FC-48CA-8738-2EC20AD3E98D}" srcOrd="0" destOrd="0" presId="urn:microsoft.com/office/officeart/2005/8/layout/hList7"/>
    <dgm:cxn modelId="{B3A94DB6-F9DC-4779-B7EA-F6C22040F259}" srcId="{7121F38A-2717-480D-AB5F-74FF636E7300}" destId="{A605029A-ED8E-48FB-A59B-ACB908975BB6}" srcOrd="1" destOrd="0" parTransId="{A0AA63D9-AED9-41A4-9819-AA26D4A96081}" sibTransId="{43FE6C5D-F128-47B2-924B-79076F692D69}"/>
    <dgm:cxn modelId="{273BB234-38CE-4212-8031-C7B886ACDC80}" type="presOf" srcId="{A605029A-ED8E-48FB-A59B-ACB908975BB6}" destId="{E45075AF-4CEF-4419-80DE-374C8F652052}" srcOrd="0" destOrd="0" presId="urn:microsoft.com/office/officeart/2005/8/layout/hList7"/>
    <dgm:cxn modelId="{D4934D18-02E8-4FE2-8B08-10598C5DFB1D}" type="presOf" srcId="{A6240F7B-2E04-4B23-B2CB-3A2A4DACED15}" destId="{05666059-3C09-4444-BB27-C7CA9443A342}" srcOrd="1" destOrd="0" presId="urn:microsoft.com/office/officeart/2005/8/layout/hList7"/>
    <dgm:cxn modelId="{41489DAA-29C1-4128-8E4F-8E11C22A6F26}" type="presOf" srcId="{A605029A-ED8E-48FB-A59B-ACB908975BB6}" destId="{EFAAE44A-3FE0-45EC-84F0-08715CFD3B1A}" srcOrd="1" destOrd="0" presId="urn:microsoft.com/office/officeart/2005/8/layout/hList7"/>
    <dgm:cxn modelId="{857E0977-C0DC-46CF-9FEF-591004174E2F}" srcId="{7121F38A-2717-480D-AB5F-74FF636E7300}" destId="{A6240F7B-2E04-4B23-B2CB-3A2A4DACED15}" srcOrd="2" destOrd="0" parTransId="{A2D92579-CDAF-43E1-88D2-7D9A4EA8936B}" sibTransId="{6FC60CA9-DD33-4C0A-B2D4-0152CDA911D1}"/>
    <dgm:cxn modelId="{671306B3-7BCB-401B-B176-560A77DB231F}" type="presOf" srcId="{43FE6C5D-F128-47B2-924B-79076F692D69}" destId="{95E7E62C-A9A9-485F-BCBA-252DDC520E85}" srcOrd="0" destOrd="0" presId="urn:microsoft.com/office/officeart/2005/8/layout/hList7"/>
    <dgm:cxn modelId="{B60F178D-5654-4877-AAF8-206CAC1348D9}" srcId="{7121F38A-2717-480D-AB5F-74FF636E7300}" destId="{7FF8A071-05FE-4067-B4D2-CC9623219737}" srcOrd="0" destOrd="0" parTransId="{E95AA367-66AE-4A1F-8D6B-70C70EA15608}" sibTransId="{7A50F706-F55E-4634-ADE8-393244EA6D89}"/>
    <dgm:cxn modelId="{8FB4B832-9EBB-4EEA-8E11-4203689F5B3B}" type="presOf" srcId="{7FF8A071-05FE-4067-B4D2-CC9623219737}" destId="{BD44B102-E747-4EB8-96FD-71EA40E85481}" srcOrd="1" destOrd="0" presId="urn:microsoft.com/office/officeart/2005/8/layout/hList7"/>
    <dgm:cxn modelId="{68582D2C-EAD8-4CFB-A98E-A844B89CF9EA}" type="presOf" srcId="{A6240F7B-2E04-4B23-B2CB-3A2A4DACED15}" destId="{9ACB5793-2888-4E7A-803F-4443CCFE90E6}" srcOrd="0" destOrd="0" presId="urn:microsoft.com/office/officeart/2005/8/layout/hList7"/>
    <dgm:cxn modelId="{DA005107-3C4E-4C18-8F05-A959A624F391}" type="presOf" srcId="{7A50F706-F55E-4634-ADE8-393244EA6D89}" destId="{D4E95A73-63A5-4BEC-B3F4-FF84829FC407}" srcOrd="0" destOrd="0" presId="urn:microsoft.com/office/officeart/2005/8/layout/hList7"/>
    <dgm:cxn modelId="{5CA310C9-E3B1-4CC2-8312-82A83674763B}" type="presOf" srcId="{7FF8A071-05FE-4067-B4D2-CC9623219737}" destId="{C80B0557-BD22-4759-9022-9985E347A19F}" srcOrd="0" destOrd="0" presId="urn:microsoft.com/office/officeart/2005/8/layout/hList7"/>
    <dgm:cxn modelId="{15E46E59-F205-42A3-B12B-1F15DFCE96A4}" type="presParOf" srcId="{C81C70D5-32FC-48CA-8738-2EC20AD3E98D}" destId="{07DD7832-A0AC-4577-8857-C249CDBCAA7A}" srcOrd="0" destOrd="0" presId="urn:microsoft.com/office/officeart/2005/8/layout/hList7"/>
    <dgm:cxn modelId="{DA55C2E5-FDE4-4CFF-8753-FC59E320AA5D}" type="presParOf" srcId="{C81C70D5-32FC-48CA-8738-2EC20AD3E98D}" destId="{ECCAB7EE-DB8B-4665-966D-BF0D6D8A25E4}" srcOrd="1" destOrd="0" presId="urn:microsoft.com/office/officeart/2005/8/layout/hList7"/>
    <dgm:cxn modelId="{4F8C2F27-389E-4AF2-A4AA-83B35C6175A2}" type="presParOf" srcId="{ECCAB7EE-DB8B-4665-966D-BF0D6D8A25E4}" destId="{06042E22-6170-4DB9-AEA4-5391D2FDE41B}" srcOrd="0" destOrd="0" presId="urn:microsoft.com/office/officeart/2005/8/layout/hList7"/>
    <dgm:cxn modelId="{1C99C30B-A064-4264-844A-079AD9F1C785}" type="presParOf" srcId="{06042E22-6170-4DB9-AEA4-5391D2FDE41B}" destId="{C80B0557-BD22-4759-9022-9985E347A19F}" srcOrd="0" destOrd="0" presId="urn:microsoft.com/office/officeart/2005/8/layout/hList7"/>
    <dgm:cxn modelId="{9EDCE06A-6DCF-4243-9AF8-646ACE5A2D43}" type="presParOf" srcId="{06042E22-6170-4DB9-AEA4-5391D2FDE41B}" destId="{BD44B102-E747-4EB8-96FD-71EA40E85481}" srcOrd="1" destOrd="0" presId="urn:microsoft.com/office/officeart/2005/8/layout/hList7"/>
    <dgm:cxn modelId="{6BF66DEA-7DB5-43F3-9034-EB0ECBDF0ECC}" type="presParOf" srcId="{06042E22-6170-4DB9-AEA4-5391D2FDE41B}" destId="{EC52AE19-9571-4092-8946-FE78752B020F}" srcOrd="2" destOrd="0" presId="urn:microsoft.com/office/officeart/2005/8/layout/hList7"/>
    <dgm:cxn modelId="{58F85F49-EAF1-465B-8484-B2543C1BDFE0}" type="presParOf" srcId="{06042E22-6170-4DB9-AEA4-5391D2FDE41B}" destId="{1DB75939-5C3B-408D-BCD4-E2E7A0B50B44}" srcOrd="3" destOrd="0" presId="urn:microsoft.com/office/officeart/2005/8/layout/hList7"/>
    <dgm:cxn modelId="{22C53886-2F60-41AA-9E57-E2D4A73E1003}" type="presParOf" srcId="{ECCAB7EE-DB8B-4665-966D-BF0D6D8A25E4}" destId="{D4E95A73-63A5-4BEC-B3F4-FF84829FC407}" srcOrd="1" destOrd="0" presId="urn:microsoft.com/office/officeart/2005/8/layout/hList7"/>
    <dgm:cxn modelId="{401A5379-07C1-4D34-88A6-B8960FED1D4C}" type="presParOf" srcId="{ECCAB7EE-DB8B-4665-966D-BF0D6D8A25E4}" destId="{340D2043-071F-4D05-9B47-00FE75C948CA}" srcOrd="2" destOrd="0" presId="urn:microsoft.com/office/officeart/2005/8/layout/hList7"/>
    <dgm:cxn modelId="{78E10EA9-4FD5-428A-906B-AE44E6FA7BAB}" type="presParOf" srcId="{340D2043-071F-4D05-9B47-00FE75C948CA}" destId="{E45075AF-4CEF-4419-80DE-374C8F652052}" srcOrd="0" destOrd="0" presId="urn:microsoft.com/office/officeart/2005/8/layout/hList7"/>
    <dgm:cxn modelId="{ED132742-76FF-4014-9373-ED8E1F85F2DF}" type="presParOf" srcId="{340D2043-071F-4D05-9B47-00FE75C948CA}" destId="{EFAAE44A-3FE0-45EC-84F0-08715CFD3B1A}" srcOrd="1" destOrd="0" presId="urn:microsoft.com/office/officeart/2005/8/layout/hList7"/>
    <dgm:cxn modelId="{803F3E4E-7B1C-4EA9-95BC-C0CAEDB1802E}" type="presParOf" srcId="{340D2043-071F-4D05-9B47-00FE75C948CA}" destId="{BB8A404F-F585-4924-B33C-5C235A83EC73}" srcOrd="2" destOrd="0" presId="urn:microsoft.com/office/officeart/2005/8/layout/hList7"/>
    <dgm:cxn modelId="{1708CD2D-F1AA-4384-83FA-68B7AE05B393}" type="presParOf" srcId="{340D2043-071F-4D05-9B47-00FE75C948CA}" destId="{7AD3C6F0-00DC-4245-8F5F-A79922C9B00B}" srcOrd="3" destOrd="0" presId="urn:microsoft.com/office/officeart/2005/8/layout/hList7"/>
    <dgm:cxn modelId="{7B7B255B-5F23-45E8-B00C-EF65DF95ECD5}" type="presParOf" srcId="{ECCAB7EE-DB8B-4665-966D-BF0D6D8A25E4}" destId="{95E7E62C-A9A9-485F-BCBA-252DDC520E85}" srcOrd="3" destOrd="0" presId="urn:microsoft.com/office/officeart/2005/8/layout/hList7"/>
    <dgm:cxn modelId="{C3F81280-6B09-4378-B594-920A4D07A49D}" type="presParOf" srcId="{ECCAB7EE-DB8B-4665-966D-BF0D6D8A25E4}" destId="{1BFD0245-C1E0-4D8E-A11A-39A18B70D9E5}" srcOrd="4" destOrd="0" presId="urn:microsoft.com/office/officeart/2005/8/layout/hList7"/>
    <dgm:cxn modelId="{59B8891D-0F0C-4985-BD74-091033CB9340}" type="presParOf" srcId="{1BFD0245-C1E0-4D8E-A11A-39A18B70D9E5}" destId="{9ACB5793-2888-4E7A-803F-4443CCFE90E6}" srcOrd="0" destOrd="0" presId="urn:microsoft.com/office/officeart/2005/8/layout/hList7"/>
    <dgm:cxn modelId="{3A8C6279-AAB8-4875-8789-15709CF9910E}" type="presParOf" srcId="{1BFD0245-C1E0-4D8E-A11A-39A18B70D9E5}" destId="{05666059-3C09-4444-BB27-C7CA9443A342}" srcOrd="1" destOrd="0" presId="urn:microsoft.com/office/officeart/2005/8/layout/hList7"/>
    <dgm:cxn modelId="{7061E6B1-7BC5-48BF-AF27-8636380D02C1}" type="presParOf" srcId="{1BFD0245-C1E0-4D8E-A11A-39A18B70D9E5}" destId="{5294DB2D-F10A-45EF-8D95-A9A27F511B14}" srcOrd="2" destOrd="0" presId="urn:microsoft.com/office/officeart/2005/8/layout/hList7"/>
    <dgm:cxn modelId="{06D5510F-39C3-47F7-A15B-2E970702F105}" type="presParOf" srcId="{1BFD0245-C1E0-4D8E-A11A-39A18B70D9E5}" destId="{5B6BDE34-7BB2-4389-8B6D-7D6FE789941F}" srcOrd="3" destOrd="0" presId="urn:microsoft.com/office/officeart/2005/8/layout/hList7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E7826BE-0C82-4F55-8829-03CBC547E82E}" type="doc">
      <dgm:prSet loTypeId="urn:microsoft.com/office/officeart/2005/8/layout/gear1" loCatId="process" qsTypeId="urn:microsoft.com/office/officeart/2005/8/quickstyle/simple1" qsCatId="simple" csTypeId="urn:microsoft.com/office/officeart/2005/8/colors/accent1_2" csCatId="accent1" phldr="1"/>
      <dgm:spPr/>
    </dgm:pt>
    <dgm:pt modelId="{A40828CB-8ED4-4B7C-BD69-BC795B1949EB}">
      <dgm:prSet phldrT="[Text]"/>
      <dgm:spPr>
        <a:solidFill>
          <a:srgbClr val="004A48"/>
        </a:solidFill>
        <a:scene3d>
          <a:camera prst="orthographicFront"/>
          <a:lightRig rig="threePt" dir="t"/>
        </a:scene3d>
        <a:sp3d>
          <a:bevelT/>
          <a:bevelB/>
        </a:sp3d>
      </dgm:spPr>
      <dgm:t>
        <a:bodyPr/>
        <a:lstStyle/>
        <a:p>
          <a:r>
            <a:rPr lang="en-GB" dirty="0" smtClean="0"/>
            <a:t>Stakeholders</a:t>
          </a:r>
          <a:endParaRPr lang="en-GB" dirty="0"/>
        </a:p>
      </dgm:t>
    </dgm:pt>
    <dgm:pt modelId="{751765D0-0B56-4B52-A01B-E37BE7CF8EDC}" type="parTrans" cxnId="{0C5436EE-D8CC-4BC8-A518-D2EA5CAD3E4D}">
      <dgm:prSet/>
      <dgm:spPr/>
      <dgm:t>
        <a:bodyPr/>
        <a:lstStyle/>
        <a:p>
          <a:endParaRPr lang="en-GB"/>
        </a:p>
      </dgm:t>
    </dgm:pt>
    <dgm:pt modelId="{CEBD55FC-1505-46E8-93B4-506E8FBBE385}" type="sibTrans" cxnId="{0C5436EE-D8CC-4BC8-A518-D2EA5CAD3E4D}">
      <dgm:prSet/>
      <dgm:spPr>
        <a:solidFill>
          <a:srgbClr val="004A48"/>
        </a:solidFill>
        <a:ln w="130175"/>
        <a:scene3d>
          <a:camera prst="orthographicFront"/>
          <a:lightRig rig="threePt" dir="t"/>
        </a:scene3d>
        <a:sp3d>
          <a:bevelT/>
          <a:bevelB/>
        </a:sp3d>
      </dgm:spPr>
      <dgm:t>
        <a:bodyPr/>
        <a:lstStyle/>
        <a:p>
          <a:endParaRPr lang="en-GB"/>
        </a:p>
      </dgm:t>
    </dgm:pt>
    <dgm:pt modelId="{5996780B-1766-4922-9542-F890A873B511}">
      <dgm:prSet phldrT="[Text]"/>
      <dgm:spPr>
        <a:solidFill>
          <a:srgbClr val="800080"/>
        </a:solidFill>
        <a:scene3d>
          <a:camera prst="orthographicFront"/>
          <a:lightRig rig="threePt" dir="t"/>
        </a:scene3d>
        <a:sp3d>
          <a:bevelT/>
          <a:bevelB/>
        </a:sp3d>
      </dgm:spPr>
      <dgm:t>
        <a:bodyPr/>
        <a:lstStyle/>
        <a:p>
          <a:r>
            <a:rPr lang="en-GB" dirty="0" smtClean="0"/>
            <a:t>Network</a:t>
          </a:r>
          <a:endParaRPr lang="en-GB" dirty="0"/>
        </a:p>
      </dgm:t>
    </dgm:pt>
    <dgm:pt modelId="{77B05C3C-8056-4A82-B992-6497DE965BC2}" type="parTrans" cxnId="{9B437196-582A-4B53-A526-BCC5408C968D}">
      <dgm:prSet/>
      <dgm:spPr/>
      <dgm:t>
        <a:bodyPr/>
        <a:lstStyle/>
        <a:p>
          <a:endParaRPr lang="en-GB"/>
        </a:p>
      </dgm:t>
    </dgm:pt>
    <dgm:pt modelId="{FAAB280B-5527-41C5-A7FF-75AAC98ED0A0}" type="sibTrans" cxnId="{9B437196-582A-4B53-A526-BCC5408C968D}">
      <dgm:prSet/>
      <dgm:spPr>
        <a:solidFill>
          <a:srgbClr val="800080">
            <a:alpha val="95000"/>
          </a:srgbClr>
        </a:solidFill>
        <a:scene3d>
          <a:camera prst="orthographicFront"/>
          <a:lightRig rig="threePt" dir="t"/>
        </a:scene3d>
        <a:sp3d>
          <a:bevelT/>
          <a:bevelB/>
        </a:sp3d>
      </dgm:spPr>
      <dgm:t>
        <a:bodyPr/>
        <a:lstStyle/>
        <a:p>
          <a:endParaRPr lang="en-GB"/>
        </a:p>
      </dgm:t>
    </dgm:pt>
    <dgm:pt modelId="{D350FF69-EE29-414A-9084-D75D5934F06E}">
      <dgm:prSet phldrT="[Text]"/>
      <dgm:spPr>
        <a:solidFill>
          <a:srgbClr val="800000"/>
        </a:solidFill>
        <a:scene3d>
          <a:camera prst="orthographicFront"/>
          <a:lightRig rig="threePt" dir="t"/>
        </a:scene3d>
        <a:sp3d>
          <a:bevelT/>
        </a:sp3d>
      </dgm:spPr>
      <dgm:t>
        <a:bodyPr/>
        <a:lstStyle/>
        <a:p>
          <a:r>
            <a:rPr lang="en-GB" dirty="0" smtClean="0"/>
            <a:t>Experts</a:t>
          </a:r>
          <a:endParaRPr lang="en-GB" dirty="0"/>
        </a:p>
      </dgm:t>
    </dgm:pt>
    <dgm:pt modelId="{F68AC54D-0C32-48B6-87B8-9FD90E205603}" type="sibTrans" cxnId="{37DA7637-D2DA-4ED8-84D8-C68BA7F32C64}">
      <dgm:prSet/>
      <dgm:spPr>
        <a:solidFill>
          <a:srgbClr val="800000"/>
        </a:solidFill>
        <a:scene3d>
          <a:camera prst="orthographicFront"/>
          <a:lightRig rig="threePt" dir="t"/>
        </a:scene3d>
        <a:sp3d>
          <a:bevelT/>
          <a:bevelB/>
        </a:sp3d>
      </dgm:spPr>
      <dgm:t>
        <a:bodyPr/>
        <a:lstStyle/>
        <a:p>
          <a:endParaRPr lang="en-GB"/>
        </a:p>
      </dgm:t>
    </dgm:pt>
    <dgm:pt modelId="{CC4073A3-D4BD-4118-845B-51DA53711092}" type="parTrans" cxnId="{37DA7637-D2DA-4ED8-84D8-C68BA7F32C64}">
      <dgm:prSet/>
      <dgm:spPr/>
      <dgm:t>
        <a:bodyPr/>
        <a:lstStyle/>
        <a:p>
          <a:endParaRPr lang="en-GB"/>
        </a:p>
      </dgm:t>
    </dgm:pt>
    <dgm:pt modelId="{CDEC6108-9D4E-420D-8E90-41AF17AA44C2}" type="pres">
      <dgm:prSet presAssocID="{3E7826BE-0C82-4F55-8829-03CBC547E82E}" presName="composite" presStyleCnt="0">
        <dgm:presLayoutVars>
          <dgm:chMax val="3"/>
          <dgm:animLvl val="lvl"/>
          <dgm:resizeHandles val="exact"/>
        </dgm:presLayoutVars>
      </dgm:prSet>
      <dgm:spPr/>
    </dgm:pt>
    <dgm:pt modelId="{C8CC90DE-C0D7-4673-A614-B3A368643777}" type="pres">
      <dgm:prSet presAssocID="{A40828CB-8ED4-4B7C-BD69-BC795B1949EB}" presName="gear1" presStyleLbl="node1" presStyleIdx="0" presStyleCnt="3" custScaleX="70268" custScaleY="70268" custLinFactNeighborX="-11021" custLinFactNeighborY="-2533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8271EAFF-E338-44E6-96CC-0B51DC648C61}" type="pres">
      <dgm:prSet presAssocID="{A40828CB-8ED4-4B7C-BD69-BC795B1949EB}" presName="gear1srcNode" presStyleLbl="node1" presStyleIdx="0" presStyleCnt="3"/>
      <dgm:spPr/>
      <dgm:t>
        <a:bodyPr/>
        <a:lstStyle/>
        <a:p>
          <a:endParaRPr lang="en-GB"/>
        </a:p>
      </dgm:t>
    </dgm:pt>
    <dgm:pt modelId="{2B6AB1F3-9BA3-463D-BA82-8E6A612089DF}" type="pres">
      <dgm:prSet presAssocID="{A40828CB-8ED4-4B7C-BD69-BC795B1949EB}" presName="gear1dstNode" presStyleLbl="node1" presStyleIdx="0" presStyleCnt="3"/>
      <dgm:spPr/>
      <dgm:t>
        <a:bodyPr/>
        <a:lstStyle/>
        <a:p>
          <a:endParaRPr lang="en-GB"/>
        </a:p>
      </dgm:t>
    </dgm:pt>
    <dgm:pt modelId="{4EA1A56F-EAE5-41CF-B63D-C7E7F0F1610E}" type="pres">
      <dgm:prSet presAssocID="{5996780B-1766-4922-9542-F890A873B511}" presName="gear2" presStyleLbl="node1" presStyleIdx="1" presStyleCnt="3" custLinFactNeighborX="-4273" custLinFactNeighborY="-1240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CF158517-5064-491E-97DC-24D00AD55666}" type="pres">
      <dgm:prSet presAssocID="{5996780B-1766-4922-9542-F890A873B511}" presName="gear2srcNode" presStyleLbl="node1" presStyleIdx="1" presStyleCnt="3"/>
      <dgm:spPr/>
      <dgm:t>
        <a:bodyPr/>
        <a:lstStyle/>
        <a:p>
          <a:endParaRPr lang="en-GB"/>
        </a:p>
      </dgm:t>
    </dgm:pt>
    <dgm:pt modelId="{883948EA-F3C9-4B30-B071-734FFDD07DAF}" type="pres">
      <dgm:prSet presAssocID="{5996780B-1766-4922-9542-F890A873B511}" presName="gear2dstNode" presStyleLbl="node1" presStyleIdx="1" presStyleCnt="3"/>
      <dgm:spPr/>
      <dgm:t>
        <a:bodyPr/>
        <a:lstStyle/>
        <a:p>
          <a:endParaRPr lang="en-GB"/>
        </a:p>
      </dgm:t>
    </dgm:pt>
    <dgm:pt modelId="{1141D3A2-0AA4-4034-8642-4042075991C9}" type="pres">
      <dgm:prSet presAssocID="{D350FF69-EE29-414A-9084-D75D5934F06E}" presName="gear3" presStyleLbl="node1" presStyleIdx="2" presStyleCnt="3" custLinFactNeighborX="349" custLinFactNeighborY="-1948"/>
      <dgm:spPr/>
      <dgm:t>
        <a:bodyPr/>
        <a:lstStyle/>
        <a:p>
          <a:endParaRPr lang="en-GB"/>
        </a:p>
      </dgm:t>
    </dgm:pt>
    <dgm:pt modelId="{51A817BA-42C6-4B1C-A8F2-AC8B404308E5}" type="pres">
      <dgm:prSet presAssocID="{D350FF69-EE29-414A-9084-D75D5934F06E}" presName="gear3tx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GB"/>
        </a:p>
      </dgm:t>
    </dgm:pt>
    <dgm:pt modelId="{6AA4C38D-D72D-4A51-BD6A-59792FE449DB}" type="pres">
      <dgm:prSet presAssocID="{D350FF69-EE29-414A-9084-D75D5934F06E}" presName="gear3srcNode" presStyleLbl="node1" presStyleIdx="2" presStyleCnt="3"/>
      <dgm:spPr/>
      <dgm:t>
        <a:bodyPr/>
        <a:lstStyle/>
        <a:p>
          <a:endParaRPr lang="en-GB"/>
        </a:p>
      </dgm:t>
    </dgm:pt>
    <dgm:pt modelId="{E0EFA537-DD45-4A63-8D2E-44FCB8DC6841}" type="pres">
      <dgm:prSet presAssocID="{D350FF69-EE29-414A-9084-D75D5934F06E}" presName="gear3dstNode" presStyleLbl="node1" presStyleIdx="2" presStyleCnt="3"/>
      <dgm:spPr/>
      <dgm:t>
        <a:bodyPr/>
        <a:lstStyle/>
        <a:p>
          <a:endParaRPr lang="en-GB"/>
        </a:p>
      </dgm:t>
    </dgm:pt>
    <dgm:pt modelId="{F319639C-5717-4F0E-AAE3-8577B7882AFF}" type="pres">
      <dgm:prSet presAssocID="{CEBD55FC-1505-46E8-93B4-506E8FBBE385}" presName="connector1" presStyleLbl="sibTrans2D1" presStyleIdx="0" presStyleCnt="3" custAng="3382919" custScaleX="84374" custScaleY="84404" custLinFactNeighborX="-12042" custLinFactNeighborY="-3977"/>
      <dgm:spPr/>
      <dgm:t>
        <a:bodyPr/>
        <a:lstStyle/>
        <a:p>
          <a:endParaRPr lang="en-GB"/>
        </a:p>
      </dgm:t>
    </dgm:pt>
    <dgm:pt modelId="{142DB12B-E205-455D-A5BA-45074E7F91C1}" type="pres">
      <dgm:prSet presAssocID="{FAAB280B-5527-41C5-A7FF-75AAC98ED0A0}" presName="connector2" presStyleLbl="sibTrans2D1" presStyleIdx="1" presStyleCnt="3" custAng="18103911" custLinFactNeighborX="-9468" custLinFactNeighborY="8126"/>
      <dgm:spPr/>
      <dgm:t>
        <a:bodyPr/>
        <a:lstStyle/>
        <a:p>
          <a:endParaRPr lang="en-GB"/>
        </a:p>
      </dgm:t>
    </dgm:pt>
    <dgm:pt modelId="{43D7AF33-F8A3-4F66-B792-B2F9BBF95ACD}" type="pres">
      <dgm:prSet presAssocID="{F68AC54D-0C32-48B6-87B8-9FD90E205603}" presName="connector3" presStyleLbl="sibTrans2D1" presStyleIdx="2" presStyleCnt="3" custAng="5400000" custLinFactNeighborX="4523" custLinFactNeighborY="-3738"/>
      <dgm:spPr/>
      <dgm:t>
        <a:bodyPr/>
        <a:lstStyle/>
        <a:p>
          <a:endParaRPr lang="en-GB"/>
        </a:p>
      </dgm:t>
    </dgm:pt>
  </dgm:ptLst>
  <dgm:cxnLst>
    <dgm:cxn modelId="{9CB39AC4-3E97-4A5E-BB0E-0DA5DB95EECF}" type="presOf" srcId="{5996780B-1766-4922-9542-F890A873B511}" destId="{883948EA-F3C9-4B30-B071-734FFDD07DAF}" srcOrd="2" destOrd="0" presId="urn:microsoft.com/office/officeart/2005/8/layout/gear1"/>
    <dgm:cxn modelId="{3F391AD2-4F5C-405F-9C96-A4C768FC77AD}" type="presOf" srcId="{5996780B-1766-4922-9542-F890A873B511}" destId="{CF158517-5064-491E-97DC-24D00AD55666}" srcOrd="1" destOrd="0" presId="urn:microsoft.com/office/officeart/2005/8/layout/gear1"/>
    <dgm:cxn modelId="{04F36ABB-F361-4CCA-B94B-45CCF5656290}" type="presOf" srcId="{D350FF69-EE29-414A-9084-D75D5934F06E}" destId="{E0EFA537-DD45-4A63-8D2E-44FCB8DC6841}" srcOrd="3" destOrd="0" presId="urn:microsoft.com/office/officeart/2005/8/layout/gear1"/>
    <dgm:cxn modelId="{58DB4A7B-09D6-4601-A132-2E2B06542538}" type="presOf" srcId="{3E7826BE-0C82-4F55-8829-03CBC547E82E}" destId="{CDEC6108-9D4E-420D-8E90-41AF17AA44C2}" srcOrd="0" destOrd="0" presId="urn:microsoft.com/office/officeart/2005/8/layout/gear1"/>
    <dgm:cxn modelId="{A951FEB3-9AD6-4F2A-8C69-55DB3275FF88}" type="presOf" srcId="{FAAB280B-5527-41C5-A7FF-75AAC98ED0A0}" destId="{142DB12B-E205-455D-A5BA-45074E7F91C1}" srcOrd="0" destOrd="0" presId="urn:microsoft.com/office/officeart/2005/8/layout/gear1"/>
    <dgm:cxn modelId="{93F87AEB-122B-4B7B-8F71-D3F2BEADCD6E}" type="presOf" srcId="{D350FF69-EE29-414A-9084-D75D5934F06E}" destId="{51A817BA-42C6-4B1C-A8F2-AC8B404308E5}" srcOrd="1" destOrd="0" presId="urn:microsoft.com/office/officeart/2005/8/layout/gear1"/>
    <dgm:cxn modelId="{83003492-2765-4C7B-B2EC-DAA9C7AA888B}" type="presOf" srcId="{A40828CB-8ED4-4B7C-BD69-BC795B1949EB}" destId="{8271EAFF-E338-44E6-96CC-0B51DC648C61}" srcOrd="1" destOrd="0" presId="urn:microsoft.com/office/officeart/2005/8/layout/gear1"/>
    <dgm:cxn modelId="{0C5436EE-D8CC-4BC8-A518-D2EA5CAD3E4D}" srcId="{3E7826BE-0C82-4F55-8829-03CBC547E82E}" destId="{A40828CB-8ED4-4B7C-BD69-BC795B1949EB}" srcOrd="0" destOrd="0" parTransId="{751765D0-0B56-4B52-A01B-E37BE7CF8EDC}" sibTransId="{CEBD55FC-1505-46E8-93B4-506E8FBBE385}"/>
    <dgm:cxn modelId="{9B437196-582A-4B53-A526-BCC5408C968D}" srcId="{3E7826BE-0C82-4F55-8829-03CBC547E82E}" destId="{5996780B-1766-4922-9542-F890A873B511}" srcOrd="1" destOrd="0" parTransId="{77B05C3C-8056-4A82-B992-6497DE965BC2}" sibTransId="{FAAB280B-5527-41C5-A7FF-75AAC98ED0A0}"/>
    <dgm:cxn modelId="{E3256D45-55B2-4E95-B76A-F55948A60695}" type="presOf" srcId="{D350FF69-EE29-414A-9084-D75D5934F06E}" destId="{1141D3A2-0AA4-4034-8642-4042075991C9}" srcOrd="0" destOrd="0" presId="urn:microsoft.com/office/officeart/2005/8/layout/gear1"/>
    <dgm:cxn modelId="{B135A617-23DD-41CB-A65C-FBB2E8B00796}" type="presOf" srcId="{5996780B-1766-4922-9542-F890A873B511}" destId="{4EA1A56F-EAE5-41CF-B63D-C7E7F0F1610E}" srcOrd="0" destOrd="0" presId="urn:microsoft.com/office/officeart/2005/8/layout/gear1"/>
    <dgm:cxn modelId="{37DA7637-D2DA-4ED8-84D8-C68BA7F32C64}" srcId="{3E7826BE-0C82-4F55-8829-03CBC547E82E}" destId="{D350FF69-EE29-414A-9084-D75D5934F06E}" srcOrd="2" destOrd="0" parTransId="{CC4073A3-D4BD-4118-845B-51DA53711092}" sibTransId="{F68AC54D-0C32-48B6-87B8-9FD90E205603}"/>
    <dgm:cxn modelId="{2EF3FC42-AC03-4283-B44C-B542A8D925C7}" type="presOf" srcId="{A40828CB-8ED4-4B7C-BD69-BC795B1949EB}" destId="{2B6AB1F3-9BA3-463D-BA82-8E6A612089DF}" srcOrd="2" destOrd="0" presId="urn:microsoft.com/office/officeart/2005/8/layout/gear1"/>
    <dgm:cxn modelId="{27C3870C-9749-4A9B-A837-0D5B565D9C36}" type="presOf" srcId="{D350FF69-EE29-414A-9084-D75D5934F06E}" destId="{6AA4C38D-D72D-4A51-BD6A-59792FE449DB}" srcOrd="2" destOrd="0" presId="urn:microsoft.com/office/officeart/2005/8/layout/gear1"/>
    <dgm:cxn modelId="{82E901EA-09AF-4EF9-B5A4-1375B2AC0D9D}" type="presOf" srcId="{F68AC54D-0C32-48B6-87B8-9FD90E205603}" destId="{43D7AF33-F8A3-4F66-B792-B2F9BBF95ACD}" srcOrd="0" destOrd="0" presId="urn:microsoft.com/office/officeart/2005/8/layout/gear1"/>
    <dgm:cxn modelId="{B39A8583-1A4B-41EE-91A0-CEB0B82AA9D2}" type="presOf" srcId="{CEBD55FC-1505-46E8-93B4-506E8FBBE385}" destId="{F319639C-5717-4F0E-AAE3-8577B7882AFF}" srcOrd="0" destOrd="0" presId="urn:microsoft.com/office/officeart/2005/8/layout/gear1"/>
    <dgm:cxn modelId="{0C0285DD-DF18-4573-A917-50276DA23F3F}" type="presOf" srcId="{A40828CB-8ED4-4B7C-BD69-BC795B1949EB}" destId="{C8CC90DE-C0D7-4673-A614-B3A368643777}" srcOrd="0" destOrd="0" presId="urn:microsoft.com/office/officeart/2005/8/layout/gear1"/>
    <dgm:cxn modelId="{21005B51-D57E-4E07-AE79-1BD7143BD8CF}" type="presParOf" srcId="{CDEC6108-9D4E-420D-8E90-41AF17AA44C2}" destId="{C8CC90DE-C0D7-4673-A614-B3A368643777}" srcOrd="0" destOrd="0" presId="urn:microsoft.com/office/officeart/2005/8/layout/gear1"/>
    <dgm:cxn modelId="{83435E6F-B279-4C76-84A6-B8AE8E794D26}" type="presParOf" srcId="{CDEC6108-9D4E-420D-8E90-41AF17AA44C2}" destId="{8271EAFF-E338-44E6-96CC-0B51DC648C61}" srcOrd="1" destOrd="0" presId="urn:microsoft.com/office/officeart/2005/8/layout/gear1"/>
    <dgm:cxn modelId="{6A721C92-8110-4BB0-9376-2F1BFA6C6919}" type="presParOf" srcId="{CDEC6108-9D4E-420D-8E90-41AF17AA44C2}" destId="{2B6AB1F3-9BA3-463D-BA82-8E6A612089DF}" srcOrd="2" destOrd="0" presId="urn:microsoft.com/office/officeart/2005/8/layout/gear1"/>
    <dgm:cxn modelId="{E0807B90-1DB4-4D1E-8916-68F5FB8B3B0C}" type="presParOf" srcId="{CDEC6108-9D4E-420D-8E90-41AF17AA44C2}" destId="{4EA1A56F-EAE5-41CF-B63D-C7E7F0F1610E}" srcOrd="3" destOrd="0" presId="urn:microsoft.com/office/officeart/2005/8/layout/gear1"/>
    <dgm:cxn modelId="{0EA094C5-31F9-4F02-ABE7-451D55B042EF}" type="presParOf" srcId="{CDEC6108-9D4E-420D-8E90-41AF17AA44C2}" destId="{CF158517-5064-491E-97DC-24D00AD55666}" srcOrd="4" destOrd="0" presId="urn:microsoft.com/office/officeart/2005/8/layout/gear1"/>
    <dgm:cxn modelId="{66A24886-556E-43F5-9F8C-A9CF9A77D32C}" type="presParOf" srcId="{CDEC6108-9D4E-420D-8E90-41AF17AA44C2}" destId="{883948EA-F3C9-4B30-B071-734FFDD07DAF}" srcOrd="5" destOrd="0" presId="urn:microsoft.com/office/officeart/2005/8/layout/gear1"/>
    <dgm:cxn modelId="{B9B58427-657B-4317-8D87-0FB4DBE6CF5F}" type="presParOf" srcId="{CDEC6108-9D4E-420D-8E90-41AF17AA44C2}" destId="{1141D3A2-0AA4-4034-8642-4042075991C9}" srcOrd="6" destOrd="0" presId="urn:microsoft.com/office/officeart/2005/8/layout/gear1"/>
    <dgm:cxn modelId="{8E0DE3F1-FCAF-42D4-908A-86F026BEC458}" type="presParOf" srcId="{CDEC6108-9D4E-420D-8E90-41AF17AA44C2}" destId="{51A817BA-42C6-4B1C-A8F2-AC8B404308E5}" srcOrd="7" destOrd="0" presId="urn:microsoft.com/office/officeart/2005/8/layout/gear1"/>
    <dgm:cxn modelId="{D5BF91B4-55C6-4F6C-BD97-904B6CDD56E6}" type="presParOf" srcId="{CDEC6108-9D4E-420D-8E90-41AF17AA44C2}" destId="{6AA4C38D-D72D-4A51-BD6A-59792FE449DB}" srcOrd="8" destOrd="0" presId="urn:microsoft.com/office/officeart/2005/8/layout/gear1"/>
    <dgm:cxn modelId="{689FA40C-64F6-4A3F-9F74-E934F56EE4D0}" type="presParOf" srcId="{CDEC6108-9D4E-420D-8E90-41AF17AA44C2}" destId="{E0EFA537-DD45-4A63-8D2E-44FCB8DC6841}" srcOrd="9" destOrd="0" presId="urn:microsoft.com/office/officeart/2005/8/layout/gear1"/>
    <dgm:cxn modelId="{3AEDEFD0-1178-4767-B9F4-550F311345B3}" type="presParOf" srcId="{CDEC6108-9D4E-420D-8E90-41AF17AA44C2}" destId="{F319639C-5717-4F0E-AAE3-8577B7882AFF}" srcOrd="10" destOrd="0" presId="urn:microsoft.com/office/officeart/2005/8/layout/gear1"/>
    <dgm:cxn modelId="{C1EE3B85-FC90-4BB8-96C8-C488E0890A29}" type="presParOf" srcId="{CDEC6108-9D4E-420D-8E90-41AF17AA44C2}" destId="{142DB12B-E205-455D-A5BA-45074E7F91C1}" srcOrd="11" destOrd="0" presId="urn:microsoft.com/office/officeart/2005/8/layout/gear1"/>
    <dgm:cxn modelId="{74FF24CF-0178-490D-969F-1AF7F9E252E4}" type="presParOf" srcId="{CDEC6108-9D4E-420D-8E90-41AF17AA44C2}" destId="{43D7AF33-F8A3-4F66-B792-B2F9BBF95ACD}" srcOrd="12" destOrd="0" presId="urn:microsoft.com/office/officeart/2005/8/layout/gear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886C06-439F-46C3-B83C-8325D3F351D1}">
      <dsp:nvSpPr>
        <dsp:cNvPr id="0" name=""/>
        <dsp:cNvSpPr/>
      </dsp:nvSpPr>
      <dsp:spPr>
        <a:xfrm>
          <a:off x="3419545" y="0"/>
          <a:ext cx="666609" cy="338380"/>
        </a:xfrm>
        <a:prstGeom prst="trapezoid">
          <a:avLst>
            <a:gd name="adj" fmla="val 98500"/>
          </a:avLst>
        </a:prstGeom>
        <a:solidFill>
          <a:schemeClr val="accent3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5400" tIns="25400" rIns="25400" bIns="254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2000" kern="1200" dirty="0" smtClean="0"/>
        </a:p>
      </dsp:txBody>
      <dsp:txXfrm>
        <a:off x="3419545" y="0"/>
        <a:ext cx="666609" cy="338380"/>
      </dsp:txXfrm>
    </dsp:sp>
    <dsp:sp modelId="{9EB1A3D2-15B9-4826-9D56-AD5650F81BD4}">
      <dsp:nvSpPr>
        <dsp:cNvPr id="0" name=""/>
        <dsp:cNvSpPr/>
      </dsp:nvSpPr>
      <dsp:spPr>
        <a:xfrm>
          <a:off x="2710408" y="361672"/>
          <a:ext cx="2061542" cy="738709"/>
        </a:xfrm>
        <a:prstGeom prst="trapezoid">
          <a:avLst>
            <a:gd name="adj" fmla="val 98500"/>
          </a:avLst>
        </a:prstGeom>
        <a:solidFill>
          <a:schemeClr val="accent3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dirty="0" smtClean="0">
              <a:solidFill>
                <a:schemeClr val="bg1"/>
              </a:solidFill>
              <a:latin typeface="Calibri" panose="020F0502020204030204" pitchFamily="34" charset="0"/>
            </a:rPr>
            <a:t>  </a:t>
          </a:r>
          <a:endParaRPr lang="en-GB" sz="1800" b="1" kern="1200" dirty="0">
            <a:solidFill>
              <a:schemeClr val="bg1"/>
            </a:solidFill>
            <a:latin typeface="Calibri" panose="020F0502020204030204" pitchFamily="34" charset="0"/>
          </a:endParaRPr>
        </a:p>
      </dsp:txBody>
      <dsp:txXfrm>
        <a:off x="3071178" y="361672"/>
        <a:ext cx="1340002" cy="738709"/>
      </dsp:txXfrm>
    </dsp:sp>
    <dsp:sp modelId="{B846AC74-76B8-4EF9-A8B6-49109D6E07C8}">
      <dsp:nvSpPr>
        <dsp:cNvPr id="0" name=""/>
        <dsp:cNvSpPr/>
      </dsp:nvSpPr>
      <dsp:spPr>
        <a:xfrm>
          <a:off x="1789476" y="1077089"/>
          <a:ext cx="3926747" cy="916182"/>
        </a:xfrm>
        <a:prstGeom prst="trapezoid">
          <a:avLst>
            <a:gd name="adj" fmla="val 98500"/>
          </a:avLst>
        </a:prstGeom>
        <a:solidFill>
          <a:schemeClr val="tx2">
            <a:lumMod val="75000"/>
            <a:alpha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800" b="1" kern="1200" dirty="0">
            <a:solidFill>
              <a:schemeClr val="bg1"/>
            </a:solidFill>
            <a:latin typeface="Calibri" panose="020F0502020204030204" pitchFamily="34" charset="0"/>
          </a:endParaRPr>
        </a:p>
      </dsp:txBody>
      <dsp:txXfrm>
        <a:off x="2476657" y="1077089"/>
        <a:ext cx="2552385" cy="916182"/>
      </dsp:txXfrm>
    </dsp:sp>
    <dsp:sp modelId="{D36BC627-13B0-472C-9621-3618B19809DF}">
      <dsp:nvSpPr>
        <dsp:cNvPr id="0" name=""/>
        <dsp:cNvSpPr/>
      </dsp:nvSpPr>
      <dsp:spPr>
        <a:xfrm>
          <a:off x="0" y="1990140"/>
          <a:ext cx="7505700" cy="1816727"/>
        </a:xfrm>
        <a:prstGeom prst="trapezoid">
          <a:avLst>
            <a:gd name="adj" fmla="val 98500"/>
          </a:avLst>
        </a:prstGeom>
        <a:solidFill>
          <a:schemeClr val="accent3">
            <a:alpha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GB" sz="1800" b="1" kern="1200" dirty="0">
            <a:solidFill>
              <a:schemeClr val="bg1"/>
            </a:solidFill>
            <a:latin typeface="Calibri" panose="020F0502020204030204" pitchFamily="34" charset="0"/>
          </a:endParaRPr>
        </a:p>
      </dsp:txBody>
      <dsp:txXfrm>
        <a:off x="1313497" y="1990140"/>
        <a:ext cx="4878705" cy="181672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9FDBE33-A384-4217-A126-686E962E0AFA}">
      <dsp:nvSpPr>
        <dsp:cNvPr id="0" name=""/>
        <dsp:cNvSpPr/>
      </dsp:nvSpPr>
      <dsp:spPr>
        <a:xfrm>
          <a:off x="3822766" y="36663"/>
          <a:ext cx="1565752" cy="12310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dirty="0" smtClean="0">
              <a:solidFill>
                <a:schemeClr val="tx1"/>
              </a:solidFill>
              <a:latin typeface="Calibri" panose="020F0502020204030204" pitchFamily="34" charset="0"/>
            </a:rPr>
            <a:t>STRATEGIC</a:t>
          </a:r>
          <a:r>
            <a:rPr lang="en-GB" sz="1800" b="1" kern="1200" dirty="0" smtClean="0">
              <a:solidFill>
                <a:srgbClr val="7030A0"/>
              </a:solidFill>
              <a:latin typeface="Calibri" panose="020F0502020204030204" pitchFamily="34" charset="0"/>
            </a:rPr>
            <a:t> </a:t>
          </a:r>
          <a:r>
            <a:rPr lang="en-GB" sz="1800" b="1" kern="1200" dirty="0" smtClean="0">
              <a:solidFill>
                <a:schemeClr val="tx1"/>
              </a:solidFill>
              <a:latin typeface="Calibri" panose="020F0502020204030204" pitchFamily="34" charset="0"/>
            </a:rPr>
            <a:t>KNOWLEDGE</a:t>
          </a:r>
        </a:p>
      </dsp:txBody>
      <dsp:txXfrm>
        <a:off x="3822766" y="36663"/>
        <a:ext cx="1565752" cy="1231082"/>
      </dsp:txXfrm>
    </dsp:sp>
    <dsp:sp modelId="{31D71C8E-A936-4F91-B12D-E82C06E73AD3}">
      <dsp:nvSpPr>
        <dsp:cNvPr id="0" name=""/>
        <dsp:cNvSpPr/>
      </dsp:nvSpPr>
      <dsp:spPr>
        <a:xfrm>
          <a:off x="1092693" y="873"/>
          <a:ext cx="4617516" cy="4617516"/>
        </a:xfrm>
        <a:prstGeom prst="circularArrow">
          <a:avLst>
            <a:gd name="adj1" fmla="val 5199"/>
            <a:gd name="adj2" fmla="val 335823"/>
            <a:gd name="adj3" fmla="val 21293609"/>
            <a:gd name="adj4" fmla="val 19765917"/>
            <a:gd name="adj5" fmla="val 6065"/>
          </a:avLst>
        </a:prstGeom>
        <a:solidFill>
          <a:srgbClr val="7030A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548D9A2-CC82-43E5-A36B-AC4CE6C8F9A3}">
      <dsp:nvSpPr>
        <dsp:cNvPr id="0" name=""/>
        <dsp:cNvSpPr/>
      </dsp:nvSpPr>
      <dsp:spPr>
        <a:xfrm>
          <a:off x="4734332" y="2327170"/>
          <a:ext cx="1231082" cy="12310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dirty="0" smtClean="0">
              <a:solidFill>
                <a:schemeClr val="tx1"/>
              </a:solidFill>
              <a:latin typeface="Calibri" panose="020F0502020204030204" pitchFamily="34" charset="0"/>
            </a:rPr>
            <a:t>TARGET DISCOVERY</a:t>
          </a:r>
          <a:endParaRPr lang="en-GB" sz="1800" b="1" kern="1200" dirty="0">
            <a:solidFill>
              <a:schemeClr val="tx1"/>
            </a:solidFill>
            <a:latin typeface="Calibri" panose="020F0502020204030204" pitchFamily="34" charset="0"/>
          </a:endParaRPr>
        </a:p>
      </dsp:txBody>
      <dsp:txXfrm>
        <a:off x="4734332" y="2327170"/>
        <a:ext cx="1231082" cy="1231082"/>
      </dsp:txXfrm>
    </dsp:sp>
    <dsp:sp modelId="{3FFE8726-3595-498E-AFEE-78462A883DCA}">
      <dsp:nvSpPr>
        <dsp:cNvPr id="0" name=""/>
        <dsp:cNvSpPr/>
      </dsp:nvSpPr>
      <dsp:spPr>
        <a:xfrm>
          <a:off x="1092693" y="873"/>
          <a:ext cx="4617516" cy="4617516"/>
        </a:xfrm>
        <a:prstGeom prst="circularArrow">
          <a:avLst>
            <a:gd name="adj1" fmla="val 5199"/>
            <a:gd name="adj2" fmla="val 335823"/>
            <a:gd name="adj3" fmla="val 3756494"/>
            <a:gd name="adj4" fmla="val 2253083"/>
            <a:gd name="adj5" fmla="val 6065"/>
          </a:avLst>
        </a:prstGeom>
        <a:solidFill>
          <a:srgbClr val="7030A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E3CC202-41A7-44D6-A50C-EBEA64D06308}">
      <dsp:nvSpPr>
        <dsp:cNvPr id="0" name=""/>
        <dsp:cNvSpPr/>
      </dsp:nvSpPr>
      <dsp:spPr>
        <a:xfrm>
          <a:off x="2640809" y="3742782"/>
          <a:ext cx="1521285" cy="12310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dirty="0" smtClean="0">
              <a:solidFill>
                <a:schemeClr val="tx1"/>
              </a:solidFill>
              <a:latin typeface="Calibri" panose="020F0502020204030204" pitchFamily="34" charset="0"/>
            </a:rPr>
            <a:t>CASE DEVELOPMENT</a:t>
          </a:r>
          <a:endParaRPr lang="en-GB" sz="1800" b="1" kern="1200" dirty="0">
            <a:solidFill>
              <a:schemeClr val="tx1"/>
            </a:solidFill>
            <a:latin typeface="Calibri" panose="020F0502020204030204" pitchFamily="34" charset="0"/>
          </a:endParaRPr>
        </a:p>
      </dsp:txBody>
      <dsp:txXfrm>
        <a:off x="2640809" y="3742782"/>
        <a:ext cx="1521285" cy="1231082"/>
      </dsp:txXfrm>
    </dsp:sp>
    <dsp:sp modelId="{4EF07391-2248-4841-B7FD-A686FC799007}">
      <dsp:nvSpPr>
        <dsp:cNvPr id="0" name=""/>
        <dsp:cNvSpPr/>
      </dsp:nvSpPr>
      <dsp:spPr>
        <a:xfrm>
          <a:off x="1092693" y="873"/>
          <a:ext cx="4617516" cy="4617516"/>
        </a:xfrm>
        <a:prstGeom prst="circularArrow">
          <a:avLst>
            <a:gd name="adj1" fmla="val 5199"/>
            <a:gd name="adj2" fmla="val 335823"/>
            <a:gd name="adj3" fmla="val 8211094"/>
            <a:gd name="adj4" fmla="val 6707683"/>
            <a:gd name="adj5" fmla="val 6065"/>
          </a:avLst>
        </a:prstGeom>
        <a:solidFill>
          <a:srgbClr val="7030A0"/>
        </a:solidFill>
        <a:ln w="28575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E2CB393-3DA0-486F-ACCA-0A1578941405}">
      <dsp:nvSpPr>
        <dsp:cNvPr id="0" name=""/>
        <dsp:cNvSpPr/>
      </dsp:nvSpPr>
      <dsp:spPr>
        <a:xfrm>
          <a:off x="591820" y="2327170"/>
          <a:ext cx="1722419" cy="12310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dirty="0" smtClean="0">
              <a:solidFill>
                <a:schemeClr val="tx1"/>
              </a:solidFill>
              <a:latin typeface="Calibri" panose="020F0502020204030204" pitchFamily="34" charset="0"/>
            </a:rPr>
            <a:t>INTERVENTION</a:t>
          </a:r>
          <a:endParaRPr lang="en-GB" sz="1800" b="1" kern="1200" dirty="0">
            <a:solidFill>
              <a:schemeClr val="tx1"/>
            </a:solidFill>
            <a:latin typeface="Calibri" panose="020F0502020204030204" pitchFamily="34" charset="0"/>
          </a:endParaRPr>
        </a:p>
      </dsp:txBody>
      <dsp:txXfrm>
        <a:off x="591820" y="2327170"/>
        <a:ext cx="1722419" cy="1231082"/>
      </dsp:txXfrm>
    </dsp:sp>
    <dsp:sp modelId="{4949F3CA-74D1-4912-B686-9C585B73EE05}">
      <dsp:nvSpPr>
        <dsp:cNvPr id="0" name=""/>
        <dsp:cNvSpPr/>
      </dsp:nvSpPr>
      <dsp:spPr>
        <a:xfrm>
          <a:off x="1092693" y="873"/>
          <a:ext cx="4617516" cy="4617516"/>
        </a:xfrm>
        <a:prstGeom prst="circularArrow">
          <a:avLst>
            <a:gd name="adj1" fmla="val 5199"/>
            <a:gd name="adj2" fmla="val 335823"/>
            <a:gd name="adj3" fmla="val 12298260"/>
            <a:gd name="adj4" fmla="val 10770568"/>
            <a:gd name="adj5" fmla="val 6065"/>
          </a:avLst>
        </a:prstGeom>
        <a:solidFill>
          <a:srgbClr val="7030A0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FB7BAFA-9575-4307-8E66-3A71C33518E0}">
      <dsp:nvSpPr>
        <dsp:cNvPr id="0" name=""/>
        <dsp:cNvSpPr/>
      </dsp:nvSpPr>
      <dsp:spPr>
        <a:xfrm>
          <a:off x="1581719" y="36663"/>
          <a:ext cx="1231082" cy="12310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800" b="1" kern="1200" dirty="0" smtClean="0">
              <a:solidFill>
                <a:schemeClr val="tx1"/>
              </a:solidFill>
              <a:latin typeface="Calibri" panose="020F0502020204030204" pitchFamily="34" charset="0"/>
            </a:rPr>
            <a:t>LEARNING</a:t>
          </a:r>
          <a:endParaRPr lang="en-GB" sz="1800" b="1" kern="1200" dirty="0">
            <a:solidFill>
              <a:schemeClr val="tx1"/>
            </a:solidFill>
            <a:latin typeface="Calibri" panose="020F0502020204030204" pitchFamily="34" charset="0"/>
          </a:endParaRPr>
        </a:p>
      </dsp:txBody>
      <dsp:txXfrm>
        <a:off x="1581719" y="36663"/>
        <a:ext cx="1231082" cy="1231082"/>
      </dsp:txXfrm>
    </dsp:sp>
    <dsp:sp modelId="{6EAD4235-00E6-4EDD-BC4F-5E6188AFB19F}">
      <dsp:nvSpPr>
        <dsp:cNvPr id="0" name=""/>
        <dsp:cNvSpPr/>
      </dsp:nvSpPr>
      <dsp:spPr>
        <a:xfrm>
          <a:off x="1087822" y="130648"/>
          <a:ext cx="4627258" cy="4357965"/>
        </a:xfrm>
        <a:prstGeom prst="circularArrow">
          <a:avLst>
            <a:gd name="adj1" fmla="val 5199"/>
            <a:gd name="adj2" fmla="val 335823"/>
            <a:gd name="adj3" fmla="val 16576232"/>
            <a:gd name="adj4" fmla="val 15198111"/>
            <a:gd name="adj5" fmla="val 6065"/>
          </a:avLst>
        </a:prstGeom>
        <a:solidFill>
          <a:srgbClr val="612A8A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80B0557-BD22-4759-9022-9985E347A19F}">
      <dsp:nvSpPr>
        <dsp:cNvPr id="0" name=""/>
        <dsp:cNvSpPr/>
      </dsp:nvSpPr>
      <dsp:spPr>
        <a:xfrm>
          <a:off x="1859" y="-18002"/>
          <a:ext cx="2893223" cy="5904656"/>
        </a:xfrm>
        <a:prstGeom prst="roundRect">
          <a:avLst>
            <a:gd name="adj" fmla="val 10000"/>
          </a:avLst>
        </a:prstGeom>
        <a:solidFill>
          <a:srgbClr val="6F3505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8000" tIns="108000" rIns="108000" bIns="108000" numCol="1" spcCol="1270" anchor="t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altLang="en-US" sz="1800" kern="1200" dirty="0" smtClean="0"/>
            <a:t>To provide Europe with a state of the art and </a:t>
          </a:r>
          <a:r>
            <a:rPr lang="en-GB" altLang="en-US" sz="1800" b="1" i="1" kern="1200" dirty="0" smtClean="0"/>
            <a:t>integrated</a:t>
          </a:r>
          <a:r>
            <a:rPr lang="en-GB" altLang="en-US" sz="1800" kern="1200" dirty="0" smtClean="0"/>
            <a:t> capability for detecting fraud and </a:t>
          </a:r>
          <a:r>
            <a:rPr lang="en-GB" altLang="en-US" sz="1800" b="1" i="1" kern="1200" dirty="0" smtClean="0"/>
            <a:t>assuring</a:t>
          </a:r>
          <a:r>
            <a:rPr lang="en-GB" altLang="en-US" sz="1800" kern="1200" dirty="0" smtClean="0"/>
            <a:t> the integrity of the food chain</a:t>
          </a:r>
          <a:endParaRPr lang="en-GB" sz="1800" kern="1200" dirty="0"/>
        </a:p>
      </dsp:txBody>
      <dsp:txXfrm>
        <a:off x="1859" y="2343859"/>
        <a:ext cx="2893223" cy="2361862"/>
      </dsp:txXfrm>
    </dsp:sp>
    <dsp:sp modelId="{1DB75939-5C3B-408D-BCD4-E2E7A0B50B44}">
      <dsp:nvSpPr>
        <dsp:cNvPr id="0" name=""/>
        <dsp:cNvSpPr/>
      </dsp:nvSpPr>
      <dsp:spPr>
        <a:xfrm>
          <a:off x="160636" y="144016"/>
          <a:ext cx="2575670" cy="1966250"/>
        </a:xfrm>
        <a:prstGeom prst="roundRect">
          <a:avLst/>
        </a:prstGeom>
        <a:blipFill dpi="0" rotWithShape="1">
          <a:blip xmlns:r="http://schemas.openxmlformats.org/officeDocument/2006/relationships" r:embed="rId1"/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45075AF-4CEF-4419-80DE-374C8F652052}">
      <dsp:nvSpPr>
        <dsp:cNvPr id="0" name=""/>
        <dsp:cNvSpPr/>
      </dsp:nvSpPr>
      <dsp:spPr>
        <a:xfrm>
          <a:off x="2981880" y="-18002"/>
          <a:ext cx="2893223" cy="5904656"/>
        </a:xfrm>
        <a:prstGeom prst="roundRect">
          <a:avLst>
            <a:gd name="adj" fmla="val 10000"/>
          </a:avLst>
        </a:prstGeom>
        <a:solidFill>
          <a:schemeClr val="tx1">
            <a:lumMod val="75000"/>
            <a:lumOff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8000" tIns="108000" rIns="108000" bIns="108000" numCol="1" spcCol="1270" anchor="t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altLang="en-US" sz="1800" kern="1200" dirty="0" smtClean="0"/>
            <a:t>To provide a </a:t>
          </a:r>
          <a:r>
            <a:rPr lang="en-GB" altLang="en-US" sz="1800" b="1" i="1" kern="1200" dirty="0" smtClean="0"/>
            <a:t>sustainable</a:t>
          </a:r>
          <a:r>
            <a:rPr lang="en-GB" altLang="en-US" sz="1800" kern="1200" dirty="0" smtClean="0"/>
            <a:t> body of expertise that can inform high level stakeholder platforms on food fraud / authenticity issues and priorities</a:t>
          </a:r>
          <a:endParaRPr lang="en-GB" altLang="en-US" sz="1800" kern="1200" dirty="0"/>
        </a:p>
      </dsp:txBody>
      <dsp:txXfrm>
        <a:off x="2981880" y="2343859"/>
        <a:ext cx="2893223" cy="2361862"/>
      </dsp:txXfrm>
    </dsp:sp>
    <dsp:sp modelId="{7AD3C6F0-00DC-4245-8F5F-A79922C9B00B}">
      <dsp:nvSpPr>
        <dsp:cNvPr id="0" name=""/>
        <dsp:cNvSpPr/>
      </dsp:nvSpPr>
      <dsp:spPr>
        <a:xfrm>
          <a:off x="3140656" y="144016"/>
          <a:ext cx="2575670" cy="1966250"/>
        </a:xfrm>
        <a:prstGeom prst="roundRect">
          <a:avLst/>
        </a:prstGeom>
        <a:blipFill dpi="0" rotWithShape="1">
          <a:blip xmlns:r="http://schemas.openxmlformats.org/officeDocument/2006/relationships" r:embed="rId2"/>
          <a:srcRect/>
          <a:stretch>
            <a:fillRect r="-10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ACB5793-2888-4E7A-803F-4443CCFE90E6}">
      <dsp:nvSpPr>
        <dsp:cNvPr id="0" name=""/>
        <dsp:cNvSpPr/>
      </dsp:nvSpPr>
      <dsp:spPr>
        <a:xfrm>
          <a:off x="5961900" y="-18002"/>
          <a:ext cx="2893223" cy="5904656"/>
        </a:xfrm>
        <a:prstGeom prst="roundRect">
          <a:avLst>
            <a:gd name="adj" fmla="val 10000"/>
          </a:avLst>
        </a:prstGeom>
        <a:solidFill>
          <a:schemeClr val="bg2">
            <a:lumMod val="2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8000" tIns="108000" rIns="108000" bIns="108000" numCol="1" spcCol="1270" anchor="t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altLang="en-US" sz="1800" kern="1200" dirty="0" smtClean="0"/>
            <a:t>To </a:t>
          </a:r>
          <a:r>
            <a:rPr lang="en-GB" altLang="en-US" sz="1800" b="1" i="1" kern="1200" dirty="0" smtClean="0"/>
            <a:t>bridge</a:t>
          </a:r>
          <a:r>
            <a:rPr lang="en-GB" altLang="en-US" sz="1800" kern="1200" dirty="0" smtClean="0"/>
            <a:t> previous research activities, assess capability gaps, commission research and inform EU future research needs</a:t>
          </a:r>
          <a:endParaRPr lang="en-GB" altLang="en-US" sz="1800" kern="1200" dirty="0"/>
        </a:p>
      </dsp:txBody>
      <dsp:txXfrm>
        <a:off x="5961900" y="2343859"/>
        <a:ext cx="2893223" cy="2361862"/>
      </dsp:txXfrm>
    </dsp:sp>
    <dsp:sp modelId="{5B6BDE34-7BB2-4389-8B6D-7D6FE789941F}">
      <dsp:nvSpPr>
        <dsp:cNvPr id="0" name=""/>
        <dsp:cNvSpPr/>
      </dsp:nvSpPr>
      <dsp:spPr>
        <a:xfrm>
          <a:off x="6120677" y="144016"/>
          <a:ext cx="2575670" cy="1966250"/>
        </a:xfrm>
        <a:prstGeom prst="roundRect">
          <a:avLst/>
        </a:prstGeom>
        <a:blipFill dpi="0" rotWithShape="1">
          <a:blip xmlns:r="http://schemas.openxmlformats.org/officeDocument/2006/relationships" r:embed="rId3"/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7DD7832-A0AC-4577-8857-C249CDBCAA7A}">
      <dsp:nvSpPr>
        <dsp:cNvPr id="0" name=""/>
        <dsp:cNvSpPr/>
      </dsp:nvSpPr>
      <dsp:spPr>
        <a:xfrm>
          <a:off x="354279" y="4248476"/>
          <a:ext cx="8148425" cy="1548174"/>
        </a:xfrm>
        <a:prstGeom prst="leftRightArrow">
          <a:avLst/>
        </a:prstGeom>
        <a:solidFill>
          <a:schemeClr val="bg1">
            <a:alpha val="75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8CC90DE-C0D7-4673-A614-B3A368643777}">
      <dsp:nvSpPr>
        <dsp:cNvPr id="0" name=""/>
        <dsp:cNvSpPr/>
      </dsp:nvSpPr>
      <dsp:spPr>
        <a:xfrm>
          <a:off x="2592295" y="2055142"/>
          <a:ext cx="1475993" cy="1475993"/>
        </a:xfrm>
        <a:prstGeom prst="gear9">
          <a:avLst/>
        </a:prstGeom>
        <a:solidFill>
          <a:srgbClr val="004A48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  <a:bevelB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100" kern="1200" dirty="0" smtClean="0"/>
            <a:t>Stakeholders</a:t>
          </a:r>
          <a:endParaRPr lang="en-GB" sz="1100" kern="1200" dirty="0"/>
        </a:p>
      </dsp:txBody>
      <dsp:txXfrm>
        <a:off x="2889035" y="2400886"/>
        <a:ext cx="882513" cy="758691"/>
      </dsp:txXfrm>
    </dsp:sp>
    <dsp:sp modelId="{4EA1A56F-EAE5-41CF-B63D-C7E7F0F1610E}">
      <dsp:nvSpPr>
        <dsp:cNvPr id="0" name=""/>
        <dsp:cNvSpPr/>
      </dsp:nvSpPr>
      <dsp:spPr>
        <a:xfrm>
          <a:off x="1224133" y="1280656"/>
          <a:ext cx="1527651" cy="1527651"/>
        </a:xfrm>
        <a:prstGeom prst="gear6">
          <a:avLst/>
        </a:prstGeom>
        <a:solidFill>
          <a:srgbClr val="80008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  <a:bevelB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100" kern="1200" dirty="0" smtClean="0"/>
            <a:t>Network</a:t>
          </a:r>
          <a:endParaRPr lang="en-GB" sz="1100" kern="1200" dirty="0"/>
        </a:p>
      </dsp:txBody>
      <dsp:txXfrm>
        <a:off x="1608724" y="1667571"/>
        <a:ext cx="758469" cy="753821"/>
      </dsp:txXfrm>
    </dsp:sp>
    <dsp:sp modelId="{1141D3A2-0AA4-4034-8642-4042075991C9}">
      <dsp:nvSpPr>
        <dsp:cNvPr id="0" name=""/>
        <dsp:cNvSpPr/>
      </dsp:nvSpPr>
      <dsp:spPr>
        <a:xfrm rot="20700000">
          <a:off x="2151448" y="209965"/>
          <a:ext cx="1496786" cy="1496786"/>
        </a:xfrm>
        <a:prstGeom prst="gear6">
          <a:avLst/>
        </a:prstGeom>
        <a:solidFill>
          <a:srgbClr val="80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  <a:scene3d>
          <a:camera prst="orthographicFront"/>
          <a:lightRig rig="threePt" dir="t"/>
        </a:scene3d>
        <a:sp3d>
          <a:bevelT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100" kern="1200" dirty="0" smtClean="0"/>
            <a:t>Experts</a:t>
          </a:r>
          <a:endParaRPr lang="en-GB" sz="1100" kern="1200" dirty="0"/>
        </a:p>
      </dsp:txBody>
      <dsp:txXfrm rot="-20700000">
        <a:off x="2479737" y="538254"/>
        <a:ext cx="840208" cy="840208"/>
      </dsp:txXfrm>
    </dsp:sp>
    <dsp:sp modelId="{F319639C-5717-4F0E-AAE3-8577B7882AFF}">
      <dsp:nvSpPr>
        <dsp:cNvPr id="0" name=""/>
        <dsp:cNvSpPr/>
      </dsp:nvSpPr>
      <dsp:spPr>
        <a:xfrm rot="3382919">
          <a:off x="2232239" y="1584164"/>
          <a:ext cx="2268535" cy="2269341"/>
        </a:xfrm>
        <a:prstGeom prst="circularArrow">
          <a:avLst>
            <a:gd name="adj1" fmla="val 4688"/>
            <a:gd name="adj2" fmla="val 299029"/>
            <a:gd name="adj3" fmla="val 2506638"/>
            <a:gd name="adj4" fmla="val 15881957"/>
            <a:gd name="adj5" fmla="val 5469"/>
          </a:avLst>
        </a:prstGeom>
        <a:solidFill>
          <a:srgbClr val="004A48"/>
        </a:solidFill>
        <a:ln w="130175">
          <a:noFill/>
        </a:ln>
        <a:effectLst/>
        <a:scene3d>
          <a:camera prst="orthographicFront"/>
          <a:lightRig rig="threePt" dir="t"/>
        </a:scene3d>
        <a:sp3d>
          <a:bevelT/>
          <a:bevelB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42DB12B-E205-455D-A5BA-45074E7F91C1}">
      <dsp:nvSpPr>
        <dsp:cNvPr id="0" name=""/>
        <dsp:cNvSpPr/>
      </dsp:nvSpPr>
      <dsp:spPr>
        <a:xfrm rot="18103911">
          <a:off x="833909" y="1121937"/>
          <a:ext cx="1953483" cy="1953483"/>
        </a:xfrm>
        <a:prstGeom prst="leftCircularArrow">
          <a:avLst>
            <a:gd name="adj1" fmla="val 6452"/>
            <a:gd name="adj2" fmla="val 429999"/>
            <a:gd name="adj3" fmla="val 10489124"/>
            <a:gd name="adj4" fmla="val 14837806"/>
            <a:gd name="adj5" fmla="val 7527"/>
          </a:avLst>
        </a:prstGeom>
        <a:solidFill>
          <a:srgbClr val="800080">
            <a:alpha val="95000"/>
          </a:srgbClr>
        </a:solidFill>
        <a:ln>
          <a:noFill/>
        </a:ln>
        <a:effectLst/>
        <a:scene3d>
          <a:camera prst="orthographicFront"/>
          <a:lightRig rig="threePt" dir="t"/>
        </a:scene3d>
        <a:sp3d>
          <a:bevelT/>
          <a:bevelB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3D7AF33-F8A3-4F66-B792-B2F9BBF95ACD}">
      <dsp:nvSpPr>
        <dsp:cNvPr id="0" name=""/>
        <dsp:cNvSpPr/>
      </dsp:nvSpPr>
      <dsp:spPr>
        <a:xfrm rot="5400000">
          <a:off x="1894094" y="-159298"/>
          <a:ext cx="2106249" cy="2106249"/>
        </a:xfrm>
        <a:prstGeom prst="circularArrow">
          <a:avLst>
            <a:gd name="adj1" fmla="val 5984"/>
            <a:gd name="adj2" fmla="val 394124"/>
            <a:gd name="adj3" fmla="val 13313824"/>
            <a:gd name="adj4" fmla="val 10508221"/>
            <a:gd name="adj5" fmla="val 6981"/>
          </a:avLst>
        </a:prstGeom>
        <a:solidFill>
          <a:srgbClr val="800000"/>
        </a:solidFill>
        <a:ln>
          <a:noFill/>
        </a:ln>
        <a:effectLst/>
        <a:scene3d>
          <a:camera prst="orthographicFront"/>
          <a:lightRig rig="threePt" dir="t"/>
        </a:scene3d>
        <a:sp3d>
          <a:bevelT/>
          <a:bevelB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7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gear1">
  <dgm:title val=""/>
  <dgm:desc val=""/>
  <dgm:catLst>
    <dgm:cat type="relationship" pri="3000"/>
    <dgm:cat type="process" pri="28000"/>
    <dgm:cat type="cycle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 useDef="1">
    <dgm:dataModel>
      <dgm:ptLst/>
      <dgm:bg/>
      <dgm:whole/>
    </dgm:dataModel>
  </dgm:clrData>
  <dgm:layoutNode name="composite">
    <dgm:varLst>
      <dgm:chMax val="3"/>
      <dgm:animLvl val="lvl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0">
      <dgm:if name="Name1" axis="ch" ptType="node" func="cnt" op="lte" val="1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05"/>
          <dgm:constr type="t" for="ch" forName="gear1" refType="w" fact="0.05"/>
          <dgm:constr type="w" for="ch" forName="gear1srcNode" val="1"/>
          <dgm:constr type="h" for="ch" forName="gear1srcNode" val="1"/>
          <dgm:constr type="l" for="ch" forName="gear1srcNode" refType="w" fact="0.32"/>
          <dgm:constr type="t" for="ch" forName="gear1srcNode"/>
          <dgm:constr type="w" for="ch" forName="gear1dstNode" val="1"/>
          <dgm:constr type="h" for="ch" forName="gear1dstNode" val="1"/>
          <dgm:constr type="r" for="ch" forName="gear1dstNode" refType="w" fact="0.58"/>
          <dgm:constr type="t" for="ch" forName="gear1dstNode" refType="h" fact="0.5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/>
          <dgm:constr type="b" for="ch" forName="gear1ch" refType="h" fact="0.6"/>
        </dgm:constrLst>
      </dgm:if>
      <dgm:if name="Name2" axis="ch" ptType="node" func="cnt" op="equ" val="2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2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2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75"/>
          <dgm:constr type="diam" for="des" forName="connector1" refType="w" refFor="ch" refForName="gear1" op="equ" fact="1.1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w" fact="0.8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1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0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3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 refType="w" fact="0.34"/>
          <dgm:constr type="t" for="ch" forName="gear2ch" refType="w" fact="0.04"/>
        </dgm:constrLst>
      </dgm:if>
      <dgm:else name="Name3">
        <dgm:constrLst>
          <dgm:constr type="primFontSz" for="ch" ptType="node" op="equ" val="65"/>
          <dgm:constr type="w" for="ch" forName="gear1" refType="w" fact="0.55"/>
          <dgm:constr type="h" for="ch" forName="gear1" refType="w" fact="0.55"/>
          <dgm:constr type="l" for="ch" forName="gear1" refType="w" fact="0.45"/>
          <dgm:constr type="t" for="ch" forName="gear1" refType="w" fact="0.45"/>
          <dgm:constr type="w" for="ch" forName="gear1srcNode" val="1"/>
          <dgm:constr type="h" for="ch" forName="gear1srcNode" val="1"/>
          <dgm:constr type="l" for="ch" forName="gear1srcNode" refType="w" fact="0.72"/>
          <dgm:constr type="t" for="ch" forName="gear1srcNode" refType="w" fact="0.4"/>
          <dgm:constr type="w" for="ch" forName="gear1dstNode" val="1"/>
          <dgm:constr type="h" for="ch" forName="gear1dstNode" val="1"/>
          <dgm:constr type="r" for="ch" forName="gear1dstNode" refType="w" fact="0.98"/>
          <dgm:constr type="t" for="ch" forName="gear1dstNode" refType="h" fact="0.95"/>
          <dgm:constr type="diam" for="des" forName="connector1" refType="w" refFor="ch" refForName="gear1" op="equ" fact="1.15"/>
          <dgm:constr type="h" for="des" forName="connector1" refType="w" refFor="ch" refForName="gear1" op="equ" fact="0.1"/>
          <dgm:constr type="w" for="ch" forName="gear1ch" refType="w" fact="0.35"/>
          <dgm:constr type="h" for="ch" forName="gear1ch" refType="w" refFor="ch" refForName="gear1ch" fact="0.6"/>
          <dgm:constr type="l" for="ch" forName="gear1ch" refType="w" fact="0.38"/>
          <dgm:constr type="b" for="ch" forName="gear1ch" refType="h"/>
          <dgm:constr type="w" for="ch" forName="gear2" refType="w" fact="0.4"/>
          <dgm:constr type="h" for="ch" forName="gear2" refType="w" fact="0.4"/>
          <dgm:constr type="l" for="ch" forName="gear2" refType="w" fact="0.13"/>
          <dgm:constr type="t" for="ch" forName="gear2" refType="w" fact="0.32"/>
          <dgm:constr type="w" for="ch" forName="gear2srcNode" val="1"/>
          <dgm:constr type="h" for="ch" forName="gear2srcNode" val="1"/>
          <dgm:constr type="l" for="ch" forName="gear2srcNode" refType="w" fact="0.23"/>
          <dgm:constr type="t" for="ch" forName="gear2srcNode" refType="w" fact="0.28"/>
          <dgm:constr type="w" for="ch" forName="gear2dstNode" val="1"/>
          <dgm:constr type="h" for="ch" forName="gear2dstNode" val="1"/>
          <dgm:constr type="l" for="ch" forName="gear2dstNode" refType="w" fact="0.1"/>
          <dgm:constr type="t" for="ch" forName="gear2dstNode" refType="h" fact="0.53"/>
          <dgm:constr type="diam" for="des" forName="connector2" refType="w" refFor="ch" refForName="gear2" op="equ" fact="-1.1"/>
          <dgm:constr type="h" for="des" forName="connector2" refType="w" refFor="ch" refForName="gear1" op="equ" fact="0.1"/>
          <dgm:constr type="w" for="ch" forName="gear2ch" refType="w" fact="0.35"/>
          <dgm:constr type="h" for="ch" forName="gear2ch" refType="w" refFor="ch" refForName="gear2ch" fact="0.6"/>
          <dgm:constr type="l" for="ch" forName="gear2ch"/>
          <dgm:constr type="t" for="ch" forName="gear2ch" refType="w" fact="0.58"/>
          <dgm:constr type="w" for="ch" forName="gear3" refType="w" fact="0.48"/>
          <dgm:constr type="h" for="ch" forName="gear3" refType="w" fact="0.48"/>
          <dgm:constr type="l" for="ch" forName="gear3" refType="w" fact="0.31"/>
          <dgm:constr type="t" for="ch" forName="gear3"/>
          <dgm:constr type="w" for="ch" forName="gear3tx" refType="w" fact="0.22"/>
          <dgm:constr type="h" for="ch" forName="gear3tx" refType="w" fact="0.22"/>
          <dgm:constr type="ctrX" for="ch" forName="gear3tx" refType="ctrX" refFor="ch" refForName="gear3"/>
          <dgm:constr type="ctrY" for="ch" forName="gear3tx" refType="ctrY" refFor="ch" refForName="gear3"/>
          <dgm:constr type="w" for="ch" forName="gear3srcNode" val="1"/>
          <dgm:constr type="h" for="ch" forName="gear3srcNode" val="1"/>
          <dgm:constr type="l" for="ch" forName="gear3srcNode" refType="w" fact="0.3"/>
          <dgm:constr type="t" for="ch" forName="gear3srcNode" refType="w" fact="0.25"/>
          <dgm:constr type="w" for="ch" forName="gear3dstNode" val="1"/>
          <dgm:constr type="h" for="ch" forName="gear3dstNode" val="1"/>
          <dgm:constr type="l" for="ch" forName="gear3dstNode" refType="w" fact="0.38"/>
          <dgm:constr type="t" for="ch" forName="gear3dstNode" refType="h" fact="0.05"/>
          <dgm:constr type="diam" for="des" forName="connector3" refType="w" refFor="ch" refForName="gear3" op="equ"/>
          <dgm:constr type="h" for="des" forName="connector3" refType="w" refFor="ch" refForName="gear1" op="equ" fact="0.1"/>
          <dgm:constr type="w" for="ch" forName="gear3ch" refType="w" fact="0.35"/>
          <dgm:constr type="h" for="ch" forName="gear3ch" refType="w" refFor="ch" refForName="gear3ch" fact="0.6"/>
          <dgm:constr type="l" for="ch" forName="gear3ch" refType="w" fact="0.65"/>
          <dgm:constr type="t" for="ch" forName="gear3ch" refType="h" fact="0.13"/>
        </dgm:constrLst>
      </dgm:else>
    </dgm:choose>
    <dgm:ruleLst/>
    <dgm:forEach name="Name4" axis="ch" ptType="node" cnt="1">
      <dgm:layoutNode name="gear1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9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1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1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5">
        <dgm:if name="Name6" axis="ch" ptType="node" func="cnt" op="gte" val="1">
          <dgm:layoutNode name="gear1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7"/>
      </dgm:choose>
    </dgm:forEach>
    <dgm:forEach name="Name8" axis="ch" ptType="node" st="2" cnt="1">
      <dgm:layoutNode name="gear2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gear6" r:blip="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2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2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9">
        <dgm:if name="Name10" axis="ch" ptType="node" func="cnt" op="gte" val="1">
          <dgm:layoutNode name="gear2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1"/>
      </dgm:choose>
    </dgm:forEach>
    <dgm:forEach name="Name12" axis="ch" ptType="node" st="3" cnt="1">
      <dgm:layoutNode name="gear3" styleLbl="node1">
        <dgm:alg type="sp"/>
        <dgm:shape xmlns:r="http://schemas.openxmlformats.org/officeDocument/2006/relationships" rot="-15" type="gear6" r:blip="">
          <dgm:adjLst/>
        </dgm:shape>
        <dgm:presOf axis="self"/>
        <dgm:constrLst/>
        <dgm:ruleLst/>
      </dgm:layoutNode>
      <dgm:layoutNode name="gear3tx" styleLbl="node1">
        <dgm:varLst>
          <dgm:chMax val="1"/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 hideGeom="1">
          <dgm:adjLst/>
        </dgm:shape>
        <dgm:presOf axis="self"/>
        <dgm:constrLst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layoutNode name="gear3src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layoutNode name="gear3dstNode">
        <dgm:alg type="sp"/>
        <dgm:shape xmlns:r="http://schemas.openxmlformats.org/officeDocument/2006/relationships" type="rect" r:blip="" hideGeom="1">
          <dgm:adjLst/>
        </dgm:shape>
        <dgm:presOf axis="self"/>
        <dgm:constrLst/>
        <dgm:ruleLst/>
      </dgm:layoutNode>
      <dgm:choose name="Name13">
        <dgm:if name="Name14" axis="ch" ptType="node" func="cnt" op="gte" val="1">
          <dgm:layoutNode name="gear3ch" styleLbl="fgAcc1">
            <dgm:varLst>
              <dgm:chMax val="0"/>
              <dgm:bulletEnabled val="1"/>
            </dgm:varLst>
            <dgm:alg type="tx">
              <dgm:param type="stBulletLvl" val="1"/>
            </dgm:alg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" ptType="node"/>
            <dgm:constrLst>
              <dgm:constr type="tMarg" refType="primFontSz" fact="0.3"/>
              <dgm:constr type="b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</dgm:if>
        <dgm:else name="Name15"/>
      </dgm:choose>
    </dgm:forEach>
    <dgm:forEach name="Name16" axis="ch" ptType="sibTrans" hideLastTrans="0" cnt="1">
      <dgm:layoutNode name="connector1" styleLbl="sibTrans2D1">
        <dgm:alg type="conn">
          <dgm:param type="connRout" val="curve"/>
          <dgm:param type="srcNode" val="gear1srcNode"/>
          <dgm:param type="dstNode" val="gear1dstNode"/>
          <dgm:param type="begPts" val="midR"/>
          <dgm:param type="endPts" val="tCtr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7" axis="ch" ptType="sibTrans" hideLastTrans="0" st="2" cnt="1">
      <dgm:layoutNode name="connector2" styleLbl="sibTrans2D1">
        <dgm:alg type="conn">
          <dgm:param type="connRout" val="curve"/>
          <dgm:param type="srcNode" val="gear2srcNode"/>
          <dgm:param type="dstNode" val="gear2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  <dgm:forEach name="Name18" axis="ch" ptType="sibTrans" hideLastTrans="0" st="3" cnt="1">
      <dgm:layoutNode name="connector3" styleLbl="sibTrans2D1">
        <dgm:alg type="conn">
          <dgm:param type="connRout" val="curve"/>
          <dgm:param type="srcNode" val="gear3srcNode"/>
          <dgm:param type="dstNode" val="gear3dstNode"/>
          <dgm:param type="begPts" val="midL"/>
          <dgm:param type="endPts" val="midL"/>
        </dgm:alg>
        <dgm:shape xmlns:r="http://schemas.openxmlformats.org/officeDocument/2006/relationships" type="conn" r:blip="">
          <dgm:adjLst/>
        </dgm:shape>
        <dgm:presOf axis="self"/>
        <dgm:constrLst>
          <dgm:constr type="w" val="10"/>
          <dgm:constr type="h" val="10"/>
          <dgm:constr type="begPad"/>
          <dgm:constr type="endPad"/>
        </dgm:constrLst>
        <dgm:ruleLst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7A4AB6-CB2F-4530-9827-DD17D185CD23}" type="datetimeFigureOut">
              <a:rPr lang="en-US" smtClean="0"/>
              <a:t>6/24/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5C222B3-6D63-4E31-A1FE-22549A54CAE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12724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8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2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4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5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7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6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5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80719">
              <a:spcBef>
                <a:spcPct val="30000"/>
              </a:spcBef>
              <a:defRPr sz="1100">
                <a:solidFill>
                  <a:schemeClr val="tx1"/>
                </a:solidFill>
                <a:latin typeface="Arial" charset="0"/>
              </a:defRPr>
            </a:lvl1pPr>
            <a:lvl2pPr marL="709264" indent="-272568" defTabSz="880719">
              <a:spcBef>
                <a:spcPct val="30000"/>
              </a:spcBef>
              <a:defRPr sz="1100">
                <a:solidFill>
                  <a:schemeClr val="tx1"/>
                </a:solidFill>
                <a:latin typeface="Arial" charset="0"/>
              </a:defRPr>
            </a:lvl2pPr>
            <a:lvl3pPr marL="1093204" indent="-218348" defTabSz="880719">
              <a:spcBef>
                <a:spcPct val="30000"/>
              </a:spcBef>
              <a:defRPr sz="1100">
                <a:solidFill>
                  <a:schemeClr val="tx1"/>
                </a:solidFill>
                <a:latin typeface="Arial" charset="0"/>
              </a:defRPr>
            </a:lvl3pPr>
            <a:lvl4pPr marL="1529900" indent="-218348" defTabSz="880719">
              <a:spcBef>
                <a:spcPct val="30000"/>
              </a:spcBef>
              <a:defRPr sz="1100">
                <a:solidFill>
                  <a:schemeClr val="tx1"/>
                </a:solidFill>
                <a:latin typeface="Arial" charset="0"/>
              </a:defRPr>
            </a:lvl4pPr>
            <a:lvl5pPr marL="1968061" indent="-218348" defTabSz="880719">
              <a:spcBef>
                <a:spcPct val="30000"/>
              </a:spcBef>
              <a:defRPr sz="1100">
                <a:solidFill>
                  <a:schemeClr val="tx1"/>
                </a:solidFill>
                <a:latin typeface="Arial" charset="0"/>
              </a:defRPr>
            </a:lvl5pPr>
            <a:lvl6pPr marL="2390103" indent="-218348" defTabSz="880719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6pPr>
            <a:lvl7pPr marL="2812144" indent="-218348" defTabSz="880719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7pPr>
            <a:lvl8pPr marL="3234185" indent="-218348" defTabSz="880719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8pPr>
            <a:lvl9pPr marL="3656226" indent="-218348" defTabSz="880719" eaLnBrk="0" fontAlgn="base" hangingPunct="0">
              <a:spcBef>
                <a:spcPct val="30000"/>
              </a:spcBef>
              <a:spcAft>
                <a:spcPct val="0"/>
              </a:spcAft>
              <a:defRPr sz="11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</a:pPr>
            <a:fld id="{C03A0E81-E7BD-4362-81E9-4172F3727B68}" type="slidenum">
              <a:rPr lang="en-GB" altLang="nl-BE">
                <a:solidFill>
                  <a:srgbClr val="000000"/>
                </a:solidFill>
              </a:rPr>
              <a:pPr>
                <a:spcBef>
                  <a:spcPct val="0"/>
                </a:spcBef>
              </a:pPr>
              <a:t>8</a:t>
            </a:fld>
            <a:endParaRPr lang="en-GB" altLang="nl-BE">
              <a:solidFill>
                <a:srgbClr val="000000"/>
              </a:solidFill>
            </a:endParaRPr>
          </a:p>
        </p:txBody>
      </p:sp>
      <p:sp>
        <p:nvSpPr>
          <p:cNvPr id="491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49156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nl-NL" altLang="nl-BE" smtClean="0"/>
          </a:p>
        </p:txBody>
      </p:sp>
    </p:spTree>
    <p:extLst>
      <p:ext uri="{BB962C8B-B14F-4D97-AF65-F5344CB8AC3E}">
        <p14:creationId xmlns:p14="http://schemas.microsoft.com/office/powerpoint/2010/main" val="158144418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8B363C-E056-4460-8AF7-9C4DB10CCFFF}" type="slidenum">
              <a:rPr lang="en-GB" smtClean="0">
                <a:solidFill>
                  <a:prstClr val="black"/>
                </a:solidFill>
              </a:rPr>
              <a:pPr/>
              <a:t>68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16385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8B363C-E056-4460-8AF7-9C4DB10CCFFF}" type="slidenum">
              <a:rPr lang="en-GB" smtClean="0">
                <a:solidFill>
                  <a:prstClr val="black"/>
                </a:solidFill>
              </a:rPr>
              <a:pPr/>
              <a:t>72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43131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3062F59-D7CF-4639-9302-02164B7D04BB}" type="slidenum">
              <a:rPr lang="en-GB" smtClean="0">
                <a:solidFill>
                  <a:prstClr val="black"/>
                </a:solidFill>
              </a:rPr>
              <a:pPr/>
              <a:t>74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763821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The fuel that</a:t>
            </a:r>
            <a:r>
              <a:rPr lang="en-GB" baseline="0" dirty="0" smtClean="0"/>
              <a:t> drives the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8B363C-E056-4460-8AF7-9C4DB10CCFFF}" type="slidenum">
              <a:rPr lang="en-GB" smtClean="0">
                <a:solidFill>
                  <a:prstClr val="black"/>
                </a:solidFill>
              </a:rPr>
              <a:pPr/>
              <a:t>75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489233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8B363C-E056-4460-8AF7-9C4DB10CCFFF}" type="slidenum">
              <a:rPr lang="en-GB" smtClean="0">
                <a:solidFill>
                  <a:prstClr val="black"/>
                </a:solidFill>
              </a:rPr>
              <a:pPr/>
              <a:t>77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766707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1031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0" hangingPunct="0">
              <a:spcBef>
                <a:spcPct val="0"/>
              </a:spcBef>
            </a:pPr>
            <a:fld id="{D5FAF139-6301-4B6D-A279-8A7A4C13F6EC}" type="slidenum">
              <a:rPr lang="en-GB" altLang="en-US">
                <a:solidFill>
                  <a:srgbClr val="000000"/>
                </a:solidFill>
                <a:latin typeface="Arial" pitchFamily="34" charset="0"/>
                <a:ea typeface="ヒラギノ角ゴ Pro W3"/>
              </a:rPr>
              <a:pPr eaLnBrk="0" hangingPunct="0">
                <a:spcBef>
                  <a:spcPct val="0"/>
                </a:spcBef>
              </a:pPr>
              <a:t>86</a:t>
            </a:fld>
            <a:endParaRPr lang="en-GB" altLang="en-US">
              <a:solidFill>
                <a:srgbClr val="000000"/>
              </a:solidFill>
              <a:latin typeface="Arial" pitchFamily="34" charset="0"/>
              <a:ea typeface="ヒラギノ角ゴ Pro W3"/>
            </a:endParaRPr>
          </a:p>
        </p:txBody>
      </p:sp>
      <p:sp>
        <p:nvSpPr>
          <p:cNvPr id="378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2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altLang="en-US" smtClean="0">
              <a:latin typeface="Arial" pitchFamily="34" charset="0"/>
              <a:ea typeface="ヒラギノ角ゴ Pro W3"/>
              <a:cs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625493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9" name="CustomShape 1"/>
          <p:cNvSpPr/>
          <p:nvPr/>
        </p:nvSpPr>
        <p:spPr>
          <a:xfrm>
            <a:off x="3884463" y="8685877"/>
            <a:ext cx="2970470" cy="45528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1484" tIns="45565" rIns="91484" bIns="45565" anchor="b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BB015B80-1D55-481B-ACBD-A495DF8861F3}" type="slidenum">
              <a:rPr lang="en-US" altLang="en-US" sz="1200">
                <a:solidFill>
                  <a:srgbClr val="000000"/>
                </a:solidFill>
                <a:latin typeface="Times New Roman" pitchFamily="18" charset="0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330" name="PlaceHolder 2"/>
          <p:cNvSpPr>
            <a:spLocks noGrp="1"/>
          </p:cNvSpPr>
          <p:nvPr>
            <p:ph type="body"/>
          </p:nvPr>
        </p:nvSpPr>
        <p:spPr>
          <a:xfrm>
            <a:off x="685494" y="4342939"/>
            <a:ext cx="5485479" cy="4114587"/>
          </a:xfrm>
        </p:spPr>
        <p:txBody>
          <a:bodyPr lIns="91484" tIns="45565" rIns="91484" bIns="45565" anchor="ctr"/>
          <a:lstStyle/>
          <a:p>
            <a:endParaRPr lang="en-US" altLang="en-US" sz="19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47852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1" name="PlaceHolder 1"/>
          <p:cNvSpPr>
            <a:spLocks noGrp="1"/>
          </p:cNvSpPr>
          <p:nvPr>
            <p:ph type="body"/>
          </p:nvPr>
        </p:nvSpPr>
        <p:spPr>
          <a:xfrm>
            <a:off x="685494" y="4342939"/>
            <a:ext cx="5485479" cy="4114587"/>
          </a:xfrm>
        </p:spPr>
        <p:txBody>
          <a:bodyPr lIns="91484" tIns="45565" rIns="91484" bIns="45565"/>
          <a:lstStyle/>
          <a:p>
            <a:endParaRPr lang="en-US" altLang="en-US" sz="1900">
              <a:solidFill>
                <a:srgbClr val="000000"/>
              </a:solidFill>
            </a:endParaRPr>
          </a:p>
        </p:txBody>
      </p:sp>
      <p:sp>
        <p:nvSpPr>
          <p:cNvPr id="332" name="CustomShape 2"/>
          <p:cNvSpPr/>
          <p:nvPr/>
        </p:nvSpPr>
        <p:spPr>
          <a:xfrm>
            <a:off x="3884463" y="8685877"/>
            <a:ext cx="2970470" cy="45528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1484" tIns="45565" rIns="91484" bIns="45565" anchor="b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80CF65BF-4442-46B6-AF49-40ADB8B5277A}" type="slidenum">
              <a:rPr lang="en-US" altLang="en-US" sz="1200">
                <a:solidFill>
                  <a:srgbClr val="000000"/>
                </a:solidFill>
                <a:latin typeface="Calibri" pitchFamily="34" charset="0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6653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3" name="PlaceHolder 1"/>
          <p:cNvSpPr>
            <a:spLocks noGrp="1"/>
          </p:cNvSpPr>
          <p:nvPr>
            <p:ph type="body"/>
          </p:nvPr>
        </p:nvSpPr>
        <p:spPr>
          <a:xfrm>
            <a:off x="685494" y="4342939"/>
            <a:ext cx="5485479" cy="4114587"/>
          </a:xfrm>
        </p:spPr>
        <p:txBody>
          <a:bodyPr lIns="91484" tIns="45565" rIns="91484" bIns="45565"/>
          <a:lstStyle/>
          <a:p>
            <a:endParaRPr lang="en-US" altLang="en-US" sz="1900">
              <a:solidFill>
                <a:srgbClr val="000000"/>
              </a:solidFill>
            </a:endParaRPr>
          </a:p>
        </p:txBody>
      </p:sp>
      <p:sp>
        <p:nvSpPr>
          <p:cNvPr id="334" name="CustomShape 2"/>
          <p:cNvSpPr/>
          <p:nvPr/>
        </p:nvSpPr>
        <p:spPr>
          <a:xfrm>
            <a:off x="3884463" y="8685877"/>
            <a:ext cx="2970470" cy="45528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1484" tIns="45565" rIns="91484" bIns="45565" anchor="b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445A8F88-6BA1-4B87-AEAB-91E39116A1D4}" type="slidenum">
              <a:rPr lang="en-US" altLang="en-US" sz="1200">
                <a:solidFill>
                  <a:srgbClr val="000000"/>
                </a:solidFill>
                <a:latin typeface="Calibri" pitchFamily="34" charset="0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8150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PlaceHolder 1"/>
          <p:cNvSpPr>
            <a:spLocks noGrp="1"/>
          </p:cNvSpPr>
          <p:nvPr>
            <p:ph type="body"/>
          </p:nvPr>
        </p:nvSpPr>
        <p:spPr>
          <a:xfrm>
            <a:off x="685494" y="4342939"/>
            <a:ext cx="5485479" cy="4114587"/>
          </a:xfrm>
        </p:spPr>
        <p:txBody>
          <a:bodyPr lIns="91484" tIns="45565" rIns="91484" bIns="45565"/>
          <a:lstStyle/>
          <a:p>
            <a:endParaRPr lang="en-US" altLang="en-US" sz="1900">
              <a:solidFill>
                <a:srgbClr val="000000"/>
              </a:solidFill>
            </a:endParaRPr>
          </a:p>
        </p:txBody>
      </p:sp>
      <p:sp>
        <p:nvSpPr>
          <p:cNvPr id="336" name="CustomShape 2"/>
          <p:cNvSpPr/>
          <p:nvPr/>
        </p:nvSpPr>
        <p:spPr>
          <a:xfrm>
            <a:off x="3884463" y="8685877"/>
            <a:ext cx="2970470" cy="45528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1484" tIns="45565" rIns="91484" bIns="45565" anchor="b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A68ED58E-73A8-4F12-AB1F-EC01782973CF}" type="slidenum">
              <a:rPr lang="en-US" altLang="en-US" sz="1200">
                <a:solidFill>
                  <a:srgbClr val="000000"/>
                </a:solidFill>
                <a:latin typeface="Calibri" pitchFamily="34" charset="0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39558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3000" y="685800"/>
            <a:ext cx="4572000" cy="3429000"/>
          </a:xfrm>
          <a:ln/>
        </p:spPr>
      </p:sp>
      <p:sp>
        <p:nvSpPr>
          <p:cNvPr id="54275" name="Rectangle 3"/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marL="209556" indent="-209556"/>
            <a:endParaRPr lang="en-GB" altLang="zh-CN" smtClean="0"/>
          </a:p>
        </p:txBody>
      </p:sp>
    </p:spTree>
    <p:extLst>
      <p:ext uri="{BB962C8B-B14F-4D97-AF65-F5344CB8AC3E}">
        <p14:creationId xmlns:p14="http://schemas.microsoft.com/office/powerpoint/2010/main" val="670492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" name="PlaceHolder 1"/>
          <p:cNvSpPr>
            <a:spLocks noGrp="1"/>
          </p:cNvSpPr>
          <p:nvPr>
            <p:ph type="body"/>
          </p:nvPr>
        </p:nvSpPr>
        <p:spPr>
          <a:xfrm>
            <a:off x="685494" y="4342939"/>
            <a:ext cx="5485479" cy="4114587"/>
          </a:xfrm>
        </p:spPr>
        <p:txBody>
          <a:bodyPr lIns="91484" tIns="45565" rIns="91484" bIns="45565"/>
          <a:lstStyle/>
          <a:p>
            <a:endParaRPr lang="en-US" altLang="en-US" sz="1900">
              <a:solidFill>
                <a:srgbClr val="000000"/>
              </a:solidFill>
            </a:endParaRPr>
          </a:p>
        </p:txBody>
      </p:sp>
      <p:sp>
        <p:nvSpPr>
          <p:cNvPr id="338" name="CustomShape 2"/>
          <p:cNvSpPr/>
          <p:nvPr/>
        </p:nvSpPr>
        <p:spPr>
          <a:xfrm>
            <a:off x="3884463" y="8685877"/>
            <a:ext cx="2970470" cy="45528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1484" tIns="45565" rIns="91484" bIns="45565" anchor="b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84DA630E-3141-4229-99F1-523ADB7D371B}" type="slidenum">
              <a:rPr lang="en-US" altLang="en-US" sz="1200">
                <a:solidFill>
                  <a:srgbClr val="000000"/>
                </a:solidFill>
                <a:latin typeface="Calibri" pitchFamily="34" charset="0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475909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9" name="PlaceHolder 1"/>
          <p:cNvSpPr>
            <a:spLocks noGrp="1"/>
          </p:cNvSpPr>
          <p:nvPr>
            <p:ph type="body"/>
          </p:nvPr>
        </p:nvSpPr>
        <p:spPr>
          <a:xfrm>
            <a:off x="685494" y="4342939"/>
            <a:ext cx="5485479" cy="4114587"/>
          </a:xfrm>
        </p:spPr>
        <p:txBody>
          <a:bodyPr lIns="91484" tIns="45565" rIns="91484" bIns="45565"/>
          <a:lstStyle/>
          <a:p>
            <a:endParaRPr lang="en-US" altLang="en-US" sz="1900">
              <a:solidFill>
                <a:srgbClr val="000000"/>
              </a:solidFill>
            </a:endParaRPr>
          </a:p>
        </p:txBody>
      </p:sp>
      <p:sp>
        <p:nvSpPr>
          <p:cNvPr id="340" name="CustomShape 2"/>
          <p:cNvSpPr/>
          <p:nvPr/>
        </p:nvSpPr>
        <p:spPr>
          <a:xfrm>
            <a:off x="3884463" y="8685877"/>
            <a:ext cx="2970470" cy="455286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1484" tIns="45565" rIns="91484" bIns="45565" anchor="b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r" eaLnBrk="0" fontAlgn="base" hangingPunct="0">
              <a:spcBef>
                <a:spcPct val="0"/>
              </a:spcBef>
              <a:spcAft>
                <a:spcPct val="0"/>
              </a:spcAft>
            </a:pPr>
            <a:fld id="{D295160D-D51A-46DE-B614-F7996A372DFA}" type="slidenum">
              <a:rPr lang="en-US" altLang="en-US" sz="1200">
                <a:solidFill>
                  <a:srgbClr val="000000"/>
                </a:solidFill>
                <a:latin typeface="Calibri" pitchFamily="34" charset="0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US" alt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19529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18B363C-E056-4460-8AF7-9C4DB10CCFFF}" type="slidenum">
              <a:rPr lang="en-GB" smtClean="0">
                <a:solidFill>
                  <a:prstClr val="black"/>
                </a:solidFill>
              </a:rPr>
              <a:pPr/>
              <a:t>65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7402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jpeg"/><Relationship Id="rId3" Type="http://schemas.openxmlformats.org/officeDocument/2006/relationships/image" Target="../media/image4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jpeg"/><Relationship Id="rId3" Type="http://schemas.openxmlformats.org/officeDocument/2006/relationships/image" Target="../media/image4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4" Type="http://schemas.openxmlformats.org/officeDocument/2006/relationships/image" Target="../media/image8.png"/><Relationship Id="rId1" Type="http://schemas.openxmlformats.org/officeDocument/2006/relationships/slideMaster" Target="../slideMasters/slideMaster6.xml"/><Relationship Id="rId2" Type="http://schemas.openxmlformats.org/officeDocument/2006/relationships/image" Target="../media/image6.jp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Relationship Id="rId2" Type="http://schemas.openxmlformats.org/officeDocument/2006/relationships/image" Target="../media/image10.png"/><Relationship Id="rId3" Type="http://schemas.openxmlformats.org/officeDocument/2006/relationships/image" Target="../media/image11.jpeg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37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3B0B4-C380-4FCD-BDB0-A96BBFBF5132}" type="datetimeFigureOut">
              <a:rPr lang="en-US" smtClean="0"/>
              <a:t>6/24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80405-79A0-4BE8-AA81-8094C443E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60590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3B0B4-C380-4FCD-BDB0-A96BBFBF5132}" type="datetimeFigureOut">
              <a:rPr lang="en-US" smtClean="0"/>
              <a:t>6/24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80405-79A0-4BE8-AA81-8094C443E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72498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50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50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3B0B4-C380-4FCD-BDB0-A96BBFBF5132}" type="datetimeFigureOut">
              <a:rPr lang="en-US" smtClean="0"/>
              <a:t>6/24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80405-79A0-4BE8-AA81-8094C443E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59174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full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9" descr="Europol_Logo_Dia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404925"/>
            <a:ext cx="2808288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1197087"/>
            <a:ext cx="7772400" cy="792163"/>
          </a:xfrm>
        </p:spPr>
        <p:txBody>
          <a:bodyPr anchor="b"/>
          <a:lstStyle>
            <a:lvl1pPr algn="r">
              <a:defRPr sz="4800"/>
            </a:lvl1pPr>
          </a:lstStyle>
          <a:p>
            <a:pPr lvl="0"/>
            <a:r>
              <a:rPr lang="en-GB" noProof="0" smtClean="0"/>
              <a:t>Presentation tit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79938" y="2109900"/>
            <a:ext cx="3808412" cy="2039937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Subtitle</a:t>
            </a:r>
          </a:p>
        </p:txBody>
      </p:sp>
      <p:sp>
        <p:nvSpPr>
          <p:cNvPr id="6" name="Espace réservé du pied de page 5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827088" y="6245225"/>
            <a:ext cx="7632700" cy="47625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latin typeface="Franklin Gothic Medium" pitchFamily="34" charset="0"/>
              </a:defRPr>
            </a:lvl1pPr>
          </a:lstStyle>
          <a:p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9679167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E763D95-DB65-4883-8680-73660CE91A4A}" type="slidenum">
              <a:rPr lang="en-GB" altLang="nl-BE"/>
              <a:pPr/>
              <a:t>‹#›</a:t>
            </a:fld>
            <a:endParaRPr lang="en-GB" altLang="nl-BE"/>
          </a:p>
        </p:txBody>
      </p:sp>
    </p:spTree>
    <p:extLst>
      <p:ext uri="{BB962C8B-B14F-4D97-AF65-F5344CB8AC3E}">
        <p14:creationId xmlns:p14="http://schemas.microsoft.com/office/powerpoint/2010/main" val="42319196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1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5D9A4C1-D575-4B33-97E7-1517F1B9BFB8}" type="slidenum">
              <a:rPr lang="en-GB" altLang="nl-BE"/>
              <a:pPr/>
              <a:t>‹#›</a:t>
            </a:fld>
            <a:endParaRPr lang="en-GB" altLang="nl-BE"/>
          </a:p>
        </p:txBody>
      </p:sp>
    </p:spTree>
    <p:extLst>
      <p:ext uri="{BB962C8B-B14F-4D97-AF65-F5344CB8AC3E}">
        <p14:creationId xmlns:p14="http://schemas.microsoft.com/office/powerpoint/2010/main" val="289522030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50881" y="1412875"/>
            <a:ext cx="4244975" cy="4895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36" y="1412875"/>
            <a:ext cx="4244975" cy="48958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431D858-8B98-466C-A998-4A906CDFC5CC}" type="slidenum">
              <a:rPr lang="en-GB" altLang="nl-BE"/>
              <a:pPr/>
              <a:t>‹#›</a:t>
            </a:fld>
            <a:endParaRPr lang="en-GB" altLang="nl-BE"/>
          </a:p>
        </p:txBody>
      </p:sp>
    </p:spTree>
    <p:extLst>
      <p:ext uri="{BB962C8B-B14F-4D97-AF65-F5344CB8AC3E}">
        <p14:creationId xmlns:p14="http://schemas.microsoft.com/office/powerpoint/2010/main" val="35568647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3736114-9BB8-4C44-8EBA-CB4551570A73}" type="slidenum">
              <a:rPr lang="en-GB" altLang="nl-BE"/>
              <a:pPr/>
              <a:t>‹#›</a:t>
            </a:fld>
            <a:endParaRPr lang="en-GB" altLang="nl-BE"/>
          </a:p>
        </p:txBody>
      </p:sp>
    </p:spTree>
    <p:extLst>
      <p:ext uri="{BB962C8B-B14F-4D97-AF65-F5344CB8AC3E}">
        <p14:creationId xmlns:p14="http://schemas.microsoft.com/office/powerpoint/2010/main" val="279988457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5E63104-F655-48BA-A33F-3B34431B0E94}" type="slidenum">
              <a:rPr lang="en-GB" altLang="nl-BE"/>
              <a:pPr/>
              <a:t>‹#›</a:t>
            </a:fld>
            <a:endParaRPr lang="en-GB" altLang="nl-BE"/>
          </a:p>
        </p:txBody>
      </p:sp>
    </p:spTree>
    <p:extLst>
      <p:ext uri="{BB962C8B-B14F-4D97-AF65-F5344CB8AC3E}">
        <p14:creationId xmlns:p14="http://schemas.microsoft.com/office/powerpoint/2010/main" val="32123934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DAE4C7F-FC46-42F7-9B64-36B81D4531CD}" type="slidenum">
              <a:rPr lang="en-GB" altLang="nl-BE"/>
              <a:pPr/>
              <a:t>‹#›</a:t>
            </a:fld>
            <a:endParaRPr lang="en-GB" altLang="nl-BE"/>
          </a:p>
        </p:txBody>
      </p:sp>
    </p:spTree>
    <p:extLst>
      <p:ext uri="{BB962C8B-B14F-4D97-AF65-F5344CB8AC3E}">
        <p14:creationId xmlns:p14="http://schemas.microsoft.com/office/powerpoint/2010/main" val="28855441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16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AD387E3-1D9D-46E7-91CE-0BC1B7BB9639}" type="slidenum">
              <a:rPr lang="en-GB" altLang="nl-BE"/>
              <a:pPr/>
              <a:t>‹#›</a:t>
            </a:fld>
            <a:endParaRPr lang="en-GB" altLang="nl-BE"/>
          </a:p>
        </p:txBody>
      </p:sp>
    </p:spTree>
    <p:extLst>
      <p:ext uri="{BB962C8B-B14F-4D97-AF65-F5344CB8AC3E}">
        <p14:creationId xmlns:p14="http://schemas.microsoft.com/office/powerpoint/2010/main" val="15975047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3B0B4-C380-4FCD-BDB0-A96BBFBF5132}" type="datetimeFigureOut">
              <a:rPr lang="en-US" smtClean="0"/>
              <a:t>6/24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80405-79A0-4BE8-AA81-8094C443E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70782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nl-BE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5AA5FC8-A1DE-4B72-9A4D-62BF27075B57}" type="slidenum">
              <a:rPr lang="en-GB" altLang="nl-BE"/>
              <a:pPr/>
              <a:t>‹#›</a:t>
            </a:fld>
            <a:endParaRPr lang="en-GB" altLang="nl-BE"/>
          </a:p>
        </p:txBody>
      </p:sp>
    </p:spTree>
    <p:extLst>
      <p:ext uri="{BB962C8B-B14F-4D97-AF65-F5344CB8AC3E}">
        <p14:creationId xmlns:p14="http://schemas.microsoft.com/office/powerpoint/2010/main" val="33816544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B84F806-0CC4-436B-98D5-FB4B9C355221}" type="slidenum">
              <a:rPr lang="en-GB" altLang="nl-BE"/>
              <a:pPr/>
              <a:t>‹#›</a:t>
            </a:fld>
            <a:endParaRPr lang="en-GB" altLang="nl-BE"/>
          </a:p>
        </p:txBody>
      </p:sp>
    </p:spTree>
    <p:extLst>
      <p:ext uri="{BB962C8B-B14F-4D97-AF65-F5344CB8AC3E}">
        <p14:creationId xmlns:p14="http://schemas.microsoft.com/office/powerpoint/2010/main" val="2046226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32595" y="17463"/>
            <a:ext cx="2160587" cy="6291262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0831" y="17463"/>
            <a:ext cx="6329363" cy="62912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523F4CD-1763-40EC-B557-7C7F5CE3FDC0}" type="slidenum">
              <a:rPr lang="en-GB" altLang="nl-BE"/>
              <a:pPr/>
              <a:t>‹#›</a:t>
            </a:fld>
            <a:endParaRPr lang="en-GB" altLang="nl-BE"/>
          </a:p>
        </p:txBody>
      </p:sp>
    </p:spTree>
    <p:extLst>
      <p:ext uri="{BB962C8B-B14F-4D97-AF65-F5344CB8AC3E}">
        <p14:creationId xmlns:p14="http://schemas.microsoft.com/office/powerpoint/2010/main" val="23755280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 preserve="1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81" y="17467"/>
            <a:ext cx="6913563" cy="981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50881" y="1412875"/>
            <a:ext cx="4244975" cy="4895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4648236" y="1412875"/>
            <a:ext cx="4244975" cy="4895850"/>
          </a:xfrm>
        </p:spPr>
        <p:txBody>
          <a:bodyPr/>
          <a:lstStyle/>
          <a:p>
            <a:pPr lvl="0"/>
            <a:endParaRPr lang="nl-BE" noProof="0" smtClean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41B2460-3C08-4C91-862C-7381DF368963}" type="slidenum">
              <a:rPr lang="en-GB" altLang="nl-BE"/>
              <a:pPr/>
              <a:t>‹#›</a:t>
            </a:fld>
            <a:endParaRPr lang="en-GB" altLang="nl-BE"/>
          </a:p>
        </p:txBody>
      </p:sp>
    </p:spTree>
    <p:extLst>
      <p:ext uri="{BB962C8B-B14F-4D97-AF65-F5344CB8AC3E}">
        <p14:creationId xmlns:p14="http://schemas.microsoft.com/office/powerpoint/2010/main" val="131144533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250825" y="17463"/>
            <a:ext cx="8642350" cy="629126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1324D90-88F3-4392-B5F0-595068786A74}" type="slidenum">
              <a:rPr lang="en-GB" altLang="nl-BE"/>
              <a:pPr/>
              <a:t>‹#›</a:t>
            </a:fld>
            <a:endParaRPr lang="en-GB" altLang="nl-BE"/>
          </a:p>
        </p:txBody>
      </p:sp>
    </p:spTree>
    <p:extLst>
      <p:ext uri="{BB962C8B-B14F-4D97-AF65-F5344CB8AC3E}">
        <p14:creationId xmlns:p14="http://schemas.microsoft.com/office/powerpoint/2010/main" val="60850866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250881" y="17467"/>
            <a:ext cx="6913563" cy="981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250881" y="1412987"/>
            <a:ext cx="4244975" cy="2371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36" y="1412987"/>
            <a:ext cx="4244975" cy="2371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250881" y="3937112"/>
            <a:ext cx="4244975" cy="2371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36" y="3937112"/>
            <a:ext cx="4244975" cy="23717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35CD82D-788D-4F02-84E3-621666BABCA6}" type="slidenum">
              <a:rPr lang="en-GB" altLang="nl-BE"/>
              <a:pPr/>
              <a:t>‹#›</a:t>
            </a:fld>
            <a:endParaRPr lang="en-GB" altLang="nl-BE"/>
          </a:p>
        </p:txBody>
      </p:sp>
    </p:spTree>
    <p:extLst>
      <p:ext uri="{BB962C8B-B14F-4D97-AF65-F5344CB8AC3E}">
        <p14:creationId xmlns:p14="http://schemas.microsoft.com/office/powerpoint/2010/main" val="37860074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81" y="17467"/>
            <a:ext cx="6913563" cy="981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50881" y="1412875"/>
            <a:ext cx="4244975" cy="4895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36" y="1412875"/>
            <a:ext cx="4244975" cy="4895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8B5F17D-7274-49E5-9592-8A192DCA28C6}" type="slidenum">
              <a:rPr lang="en-GB" altLang="nl-BE"/>
              <a:pPr/>
              <a:t>‹#›</a:t>
            </a:fld>
            <a:endParaRPr lang="en-GB" altLang="nl-BE"/>
          </a:p>
        </p:txBody>
      </p:sp>
    </p:spTree>
    <p:extLst>
      <p:ext uri="{BB962C8B-B14F-4D97-AF65-F5344CB8AC3E}">
        <p14:creationId xmlns:p14="http://schemas.microsoft.com/office/powerpoint/2010/main" val="418442709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xAndMedia" preserve="1">
  <p:cSld name="Title, Text and Media Cl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0881" y="17467"/>
            <a:ext cx="6913563" cy="981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50881" y="1412875"/>
            <a:ext cx="4244975" cy="489585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Media Placeholder 3"/>
          <p:cNvSpPr>
            <a:spLocks noGrp="1"/>
          </p:cNvSpPr>
          <p:nvPr>
            <p:ph type="media" sz="half" idx="2"/>
          </p:nvPr>
        </p:nvSpPr>
        <p:spPr>
          <a:xfrm>
            <a:off x="4648236" y="1412875"/>
            <a:ext cx="4244975" cy="4895850"/>
          </a:xfrm>
        </p:spPr>
        <p:txBody>
          <a:bodyPr/>
          <a:lstStyle/>
          <a:p>
            <a:pPr lvl="0"/>
            <a:endParaRPr lang="nl-BE" noProof="0" smtClean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A561BCD-83C8-4CAD-89C4-C5B4755D8D6B}" type="slidenum">
              <a:rPr lang="en-GB" altLang="nl-BE"/>
              <a:pPr/>
              <a:t>‹#›</a:t>
            </a:fld>
            <a:endParaRPr lang="en-GB" altLang="nl-BE"/>
          </a:p>
        </p:txBody>
      </p:sp>
    </p:spTree>
    <p:extLst>
      <p:ext uri="{BB962C8B-B14F-4D97-AF65-F5344CB8AC3E}">
        <p14:creationId xmlns:p14="http://schemas.microsoft.com/office/powerpoint/2010/main" val="340301155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full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9" descr="Europol_Logo_Dia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404925"/>
            <a:ext cx="2808288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11188" y="1197087"/>
            <a:ext cx="7772400" cy="792163"/>
          </a:xfrm>
        </p:spPr>
        <p:txBody>
          <a:bodyPr anchor="b"/>
          <a:lstStyle>
            <a:lvl1pPr algn="r">
              <a:defRPr sz="4800"/>
            </a:lvl1pPr>
          </a:lstStyle>
          <a:p>
            <a:pPr lvl="0"/>
            <a:r>
              <a:rPr lang="en-GB" noProof="0" smtClean="0"/>
              <a:t>Presentation title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579938" y="2109900"/>
            <a:ext cx="3808412" cy="2039937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GB" noProof="0" smtClean="0"/>
              <a:t>Subtitle</a:t>
            </a:r>
          </a:p>
        </p:txBody>
      </p:sp>
      <p:sp>
        <p:nvSpPr>
          <p:cNvPr id="6" name="Espace réservé du pied de page 5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827088" y="6245225"/>
            <a:ext cx="7632700" cy="47625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latin typeface="Franklin Gothic Medium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it-IT" altLang="it-IT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75264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C40DEDC-36B9-445A-AE82-38C0C07B4CB4}" type="slidenum">
              <a:rPr lang="en-GB" altLang="nl-BE"/>
              <a:pPr/>
              <a:t>‹#›</a:t>
            </a:fld>
            <a:endParaRPr lang="en-GB" altLang="nl-BE"/>
          </a:p>
        </p:txBody>
      </p:sp>
    </p:spTree>
    <p:extLst>
      <p:ext uri="{BB962C8B-B14F-4D97-AF65-F5344CB8AC3E}">
        <p14:creationId xmlns:p14="http://schemas.microsoft.com/office/powerpoint/2010/main" val="231395029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1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3B0B4-C380-4FCD-BDB0-A96BBFBF5132}" type="datetimeFigureOut">
              <a:rPr lang="en-US" smtClean="0"/>
              <a:t>6/24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80405-79A0-4BE8-AA81-8094C443E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449318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algn="r" defTabSz="449263">
              <a:spcBef>
                <a:spcPts val="450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lvl1pPr>
          </a:lstStyle>
          <a:p>
            <a:fld id="{ED86D773-F2BD-41FE-AE60-1CC2D159E055}" type="slidenum">
              <a:rPr lang="en-GB" altLang="nl-BE"/>
              <a:pPr/>
              <a:t>‹#›</a:t>
            </a:fld>
            <a:endParaRPr lang="en-GB" altLang="nl-BE"/>
          </a:p>
        </p:txBody>
      </p:sp>
    </p:spTree>
    <p:extLst>
      <p:ext uri="{BB962C8B-B14F-4D97-AF65-F5344CB8AC3E}">
        <p14:creationId xmlns:p14="http://schemas.microsoft.com/office/powerpoint/2010/main" val="227849411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l-BE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algn="r" defTabSz="449263">
              <a:spcBef>
                <a:spcPts val="450"/>
              </a:spcBef>
              <a:buClr>
                <a:srgbClr val="000000"/>
              </a:buClr>
              <a:buSzPct val="100000"/>
              <a:buFont typeface="Times New Roman" pitchFamily="18" charset="0"/>
              <a:buNone/>
              <a:defRPr/>
            </a:lvl1pPr>
          </a:lstStyle>
          <a:p>
            <a:fld id="{31617F07-737E-4427-9A8B-E607ADE61FDC}" type="slidenum">
              <a:rPr lang="en-GB" altLang="nl-BE"/>
              <a:pPr/>
              <a:t>‹#›</a:t>
            </a:fld>
            <a:endParaRPr lang="en-GB" altLang="nl-BE"/>
          </a:p>
        </p:txBody>
      </p:sp>
    </p:spTree>
    <p:extLst>
      <p:ext uri="{BB962C8B-B14F-4D97-AF65-F5344CB8AC3E}">
        <p14:creationId xmlns:p14="http://schemas.microsoft.com/office/powerpoint/2010/main" val="22400936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37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62"/>
            <a:ext cx="2133600" cy="365125"/>
          </a:xfrm>
          <a:prstGeom prst="rect">
            <a:avLst/>
          </a:prstGeom>
        </p:spPr>
        <p:txBody>
          <a:bodyPr/>
          <a:lstStyle/>
          <a:p>
            <a:fld id="{DF83B0B4-C380-4FCD-BDB0-A96BBFBF5132}" type="datetimeFigureOut">
              <a:rPr lang="en-US" smtClean="0"/>
              <a:t>6/24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6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462"/>
            <a:ext cx="2133600" cy="365125"/>
          </a:xfrm>
          <a:prstGeom prst="rect">
            <a:avLst/>
          </a:prstGeom>
        </p:spPr>
        <p:txBody>
          <a:bodyPr/>
          <a:lstStyle/>
          <a:p>
            <a:fld id="{B8B80405-79A0-4BE8-AA81-8094C443E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216664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200" y="367200"/>
            <a:ext cx="8437996" cy="6120000"/>
          </a:xfrm>
          <a:prstGeom prst="rect">
            <a:avLst/>
          </a:prstGeom>
        </p:spPr>
      </p:pic>
      <p:pic>
        <p:nvPicPr>
          <p:cNvPr id="8" name="Picture 20" descr="food-we-can-trust-wheel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1500" y="-215900"/>
            <a:ext cx="5443538" cy="7699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Straight Connector 10"/>
          <p:cNvCxnSpPr/>
          <p:nvPr userDrawn="1"/>
        </p:nvCxnSpPr>
        <p:spPr>
          <a:xfrm>
            <a:off x="3419505" y="2881313"/>
            <a:ext cx="2397125" cy="0"/>
          </a:xfrm>
          <a:prstGeom prst="line">
            <a:avLst/>
          </a:prstGeom>
          <a:ln w="50800" cap="rnd" cmpd="sng">
            <a:solidFill>
              <a:schemeClr val="bg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3419505" y="4125913"/>
            <a:ext cx="2397125" cy="0"/>
          </a:xfrm>
          <a:prstGeom prst="line">
            <a:avLst/>
          </a:prstGeom>
          <a:ln w="50800" cap="rnd" cmpd="sng">
            <a:solidFill>
              <a:schemeClr val="bg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Picture 13" descr="FSA-whitelogo-1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250" y="636588"/>
            <a:ext cx="1308100" cy="717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960892" y="2881314"/>
            <a:ext cx="3204756" cy="1244600"/>
          </a:xfrm>
        </p:spPr>
        <p:txBody>
          <a:bodyPr/>
          <a:lstStyle>
            <a:lvl1pPr algn="ctr">
              <a:lnSpc>
                <a:spcPct val="87000"/>
              </a:lnSpc>
              <a:defRPr sz="2400" b="1" cap="none" baseline="0">
                <a:solidFill>
                  <a:schemeClr val="bg1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982160" y="5747277"/>
            <a:ext cx="2355669" cy="616585"/>
          </a:xfrm>
        </p:spPr>
        <p:txBody>
          <a:bodyPr/>
          <a:lstStyle>
            <a:lvl1pPr marL="0" indent="0" algn="r">
              <a:lnSpc>
                <a:spcPct val="87000"/>
              </a:lnSpc>
              <a:spcBef>
                <a:spcPts val="400"/>
              </a:spcBef>
              <a:buNone/>
              <a:defRPr sz="1200" b="1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81000" y="6583138"/>
            <a:ext cx="2133600" cy="180000"/>
          </a:xfrm>
        </p:spPr>
        <p:txBody>
          <a:bodyPr/>
          <a:lstStyle>
            <a:lvl1pPr>
              <a:defRPr/>
            </a:lvl1pPr>
          </a:lstStyle>
          <a:p>
            <a:fld id="{ACEDF7D2-4B60-4B21-BF94-EDB8A611922D}" type="datetime1">
              <a:rPr lang="en-US" altLang="en-US"/>
              <a:pPr/>
              <a:t>6/24/16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311358" y="6583138"/>
            <a:ext cx="2457992" cy="180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56023" y="6583138"/>
            <a:ext cx="1031966" cy="180000"/>
          </a:xfrm>
        </p:spPr>
        <p:txBody>
          <a:bodyPr/>
          <a:lstStyle>
            <a:lvl1pPr>
              <a:defRPr/>
            </a:lvl1pPr>
          </a:lstStyle>
          <a:p>
            <a:fld id="{CF0C49CC-1767-4203-9AF7-14AADF02D14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643481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0C8D8C6-6ACE-4BF2-9B21-EF915DD32D02}" type="datetime1">
              <a:rPr lang="en-US" altLang="en-US"/>
              <a:pPr/>
              <a:t>6/24/16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0979227-8DA4-4A5E-929B-72A2B375D62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5993345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0C8D8C6-6ACE-4BF2-9B21-EF915DD32D02}" type="datetime1">
              <a:rPr lang="en-US" altLang="en-US"/>
              <a:pPr/>
              <a:t>6/24/16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0979227-8DA4-4A5E-929B-72A2B375D62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5993345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0C8D8C6-6ACE-4BF2-9B21-EF915DD32D02}" type="datetime1">
              <a:rPr lang="en-US" altLang="en-US"/>
              <a:pPr/>
              <a:t>6/24/16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0979227-8DA4-4A5E-929B-72A2B375D62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5993345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0C8D8C6-6ACE-4BF2-9B21-EF915DD32D02}" type="datetime1">
              <a:rPr lang="en-US" altLang="en-US"/>
              <a:pPr/>
              <a:t>6/24/16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0979227-8DA4-4A5E-929B-72A2B375D62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5993345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0C8D8C6-6ACE-4BF2-9B21-EF915DD32D02}" type="datetime1">
              <a:rPr lang="en-US" altLang="en-US"/>
              <a:pPr/>
              <a:t>6/24/16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0979227-8DA4-4A5E-929B-72A2B375D62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168276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3B0B4-C380-4FCD-BDB0-A96BBFBF5132}" type="datetimeFigureOut">
              <a:rPr lang="en-US" smtClean="0"/>
              <a:t>6/24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80405-79A0-4BE8-AA81-8094C443E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26711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0C8D8C6-6ACE-4BF2-9B21-EF915DD32D02}" type="datetime1">
              <a:rPr lang="en-US" altLang="en-US"/>
              <a:pPr/>
              <a:t>6/24/16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0979227-8DA4-4A5E-929B-72A2B375D62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1682765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0C8D8C6-6ACE-4BF2-9B21-EF915DD32D02}" type="datetime1">
              <a:rPr lang="en-US" altLang="en-US"/>
              <a:pPr/>
              <a:t>6/24/16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0979227-8DA4-4A5E-929B-72A2B375D62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1682765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0C8D8C6-6ACE-4BF2-9B21-EF915DD32D02}" type="datetime1">
              <a:rPr lang="en-US" altLang="en-US"/>
              <a:pPr/>
              <a:t>6/24/16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0979227-8DA4-4A5E-929B-72A2B375D62E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2751679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Click to edit Master title style</a:t>
            </a:r>
            <a:endParaRPr lang="en-US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D03C240-514D-4E4C-8A70-F6C15ADFC312}" type="datetime1">
              <a:rPr lang="en-US" altLang="en-US"/>
              <a:pPr/>
              <a:t>6/24/16</a:t>
            </a:fld>
            <a:endParaRPr lang="en-US" alt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D8B7077-B4E8-46E1-9952-2AC06DBDA505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8939059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Alt Section Hea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368306" y="368300"/>
            <a:ext cx="8407400" cy="61214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b="1">
              <a:ln w="50800"/>
              <a:solidFill>
                <a:srgbClr val="9E218A"/>
              </a:solidFill>
            </a:endParaRPr>
          </a:p>
        </p:txBody>
      </p:sp>
      <p:sp>
        <p:nvSpPr>
          <p:cNvPr id="8" name="Oval 7"/>
          <p:cNvSpPr/>
          <p:nvPr userDrawn="1"/>
        </p:nvSpPr>
        <p:spPr>
          <a:xfrm>
            <a:off x="1972469" y="820850"/>
            <a:ext cx="5199063" cy="5197475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503" y="2816225"/>
            <a:ext cx="4781006" cy="1243013"/>
          </a:xfrm>
          <a:noFill/>
        </p:spPr>
        <p:txBody>
          <a:bodyPr tIns="36000" anchor="ctr" anchorCtr="0"/>
          <a:lstStyle>
            <a:lvl1pPr algn="ctr">
              <a:defRPr sz="2400" b="1" cap="all">
                <a:solidFill>
                  <a:srgbClr val="505150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671100" y="2816225"/>
            <a:ext cx="1801812" cy="0"/>
          </a:xfrm>
          <a:prstGeom prst="line">
            <a:avLst/>
          </a:prstGeom>
          <a:ln w="50800" cap="rnd" cmpd="sng">
            <a:solidFill>
              <a:srgbClr val="505150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3671100" y="4059238"/>
            <a:ext cx="1801812" cy="0"/>
          </a:xfrm>
          <a:prstGeom prst="line">
            <a:avLst/>
          </a:prstGeom>
          <a:ln w="50800" cap="rnd" cmpd="sng">
            <a:solidFill>
              <a:srgbClr val="505150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81503" y="4059349"/>
            <a:ext cx="4781006" cy="869813"/>
          </a:xfrm>
        </p:spPr>
        <p:txBody>
          <a:bodyPr anchor="t" anchorCtr="0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10"/>
          </p:nvPr>
        </p:nvSpPr>
        <p:spPr>
          <a:xfrm>
            <a:off x="381000" y="6583138"/>
            <a:ext cx="2133600" cy="180000"/>
          </a:xfrm>
        </p:spPr>
        <p:txBody>
          <a:bodyPr/>
          <a:lstStyle>
            <a:lvl1pPr>
              <a:defRPr/>
            </a:lvl1pPr>
          </a:lstStyle>
          <a:p>
            <a:fld id="{ACEDF7D2-4B60-4B21-BF94-EDB8A611922D}" type="datetime1">
              <a:rPr lang="en-US" altLang="en-US"/>
              <a:pPr/>
              <a:t>6/24/16</a:t>
            </a:fld>
            <a:endParaRPr lang="en-US" altLang="en-US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311358" y="6583138"/>
            <a:ext cx="2457992" cy="1800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56023" y="6583138"/>
            <a:ext cx="1031966" cy="180000"/>
          </a:xfrm>
        </p:spPr>
        <p:txBody>
          <a:bodyPr/>
          <a:lstStyle>
            <a:lvl1pPr>
              <a:defRPr/>
            </a:lvl1pPr>
          </a:lstStyle>
          <a:p>
            <a:fld id="{CF0C49CC-1767-4203-9AF7-14AADF02D14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728056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EE6BE334-D154-4668-A4E3-45BE81BE0072}" type="datetime1">
              <a:rPr lang="en-US" altLang="en-US"/>
              <a:pPr/>
              <a:t>6/24/16</a:t>
            </a:fld>
            <a:endParaRPr lang="en-US" alt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D4237851-B30C-491F-A3FA-79915C52BF6A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6146334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8B6C60-1E92-4C3F-902D-0634B45D5F40}" type="datetimeFigureOut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4/06/2016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60ADA70-2014-411F-908D-80943B5755AB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35575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5"/>
          <p:cNvSpPr/>
          <p:nvPr userDrawn="1"/>
        </p:nvSpPr>
        <p:spPr>
          <a:xfrm>
            <a:off x="0" y="6381750"/>
            <a:ext cx="9144000" cy="476250"/>
          </a:xfrm>
          <a:prstGeom prst="rect">
            <a:avLst/>
          </a:prstGeom>
          <a:solidFill>
            <a:srgbClr val="0068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5" name="Picture 1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8050" y="6453300"/>
            <a:ext cx="508000" cy="33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ovéPole 7"/>
          <p:cNvSpPr txBox="1">
            <a:spLocks noChangeArrowheads="1"/>
          </p:cNvSpPr>
          <p:nvPr userDrawn="1"/>
        </p:nvSpPr>
        <p:spPr bwMode="auto">
          <a:xfrm>
            <a:off x="1403357" y="476362"/>
            <a:ext cx="756126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4000">
                <a:solidFill>
                  <a:schemeClr val="tx1"/>
                </a:solidFill>
                <a:latin typeface="News Gothic" pitchFamily="34" charset="0"/>
              </a:defRPr>
            </a:lvl1pPr>
            <a:lvl2pPr marL="742950" indent="-285750">
              <a:defRPr sz="4000">
                <a:solidFill>
                  <a:schemeClr val="tx1"/>
                </a:solidFill>
                <a:latin typeface="News Gothic" pitchFamily="34" charset="0"/>
              </a:defRPr>
            </a:lvl2pPr>
            <a:lvl3pPr marL="1143000" indent="-228600">
              <a:defRPr sz="4000">
                <a:solidFill>
                  <a:schemeClr val="tx1"/>
                </a:solidFill>
                <a:latin typeface="News Gothic" pitchFamily="34" charset="0"/>
              </a:defRPr>
            </a:lvl3pPr>
            <a:lvl4pPr marL="1600200" indent="-228600">
              <a:defRPr sz="4000">
                <a:solidFill>
                  <a:schemeClr val="tx1"/>
                </a:solidFill>
                <a:latin typeface="News Gothic" pitchFamily="34" charset="0"/>
              </a:defRPr>
            </a:lvl4pPr>
            <a:lvl5pPr marL="2057400" indent="-228600">
              <a:defRPr sz="4000">
                <a:solidFill>
                  <a:schemeClr val="tx1"/>
                </a:solidFill>
                <a:latin typeface="News Gothic" pitchFamily="34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News Gothic" pitchFamily="34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News Gothic" pitchFamily="34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News Gothic" pitchFamily="34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News Gothic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altLang="cs-CZ" sz="2800" b="1" dirty="0" smtClean="0">
                <a:solidFill>
                  <a:srgbClr val="006838"/>
                </a:solidFill>
                <a:latin typeface="Calibri" pitchFamily="34" charset="0"/>
              </a:rPr>
              <a:t>Ensuring the Integrity of the European food chain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700" y="260462"/>
            <a:ext cx="1019175" cy="847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8" name="Přímá spojnice 12"/>
          <p:cNvCxnSpPr>
            <a:cxnSpLocks noChangeShapeType="1"/>
          </p:cNvCxnSpPr>
          <p:nvPr userDrawn="1"/>
        </p:nvCxnSpPr>
        <p:spPr bwMode="auto">
          <a:xfrm>
            <a:off x="107950" y="115888"/>
            <a:ext cx="8928100" cy="0"/>
          </a:xfrm>
          <a:prstGeom prst="line">
            <a:avLst/>
          </a:prstGeom>
          <a:noFill/>
          <a:ln w="190500" cap="rnd" algn="ctr">
            <a:solidFill>
              <a:srgbClr val="00683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9" name="Přímá spojnice 12"/>
          <p:cNvCxnSpPr>
            <a:cxnSpLocks noChangeShapeType="1"/>
          </p:cNvCxnSpPr>
          <p:nvPr userDrawn="1"/>
        </p:nvCxnSpPr>
        <p:spPr bwMode="auto">
          <a:xfrm>
            <a:off x="107950" y="1268413"/>
            <a:ext cx="8928100" cy="0"/>
          </a:xfrm>
          <a:prstGeom prst="line">
            <a:avLst/>
          </a:prstGeom>
          <a:noFill/>
          <a:ln w="190500" cap="rnd" algn="ctr">
            <a:solidFill>
              <a:srgbClr val="006838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0120" name="Rectangle 8"/>
          <p:cNvSpPr>
            <a:spLocks noGrp="1" noChangeArrowheads="1"/>
          </p:cNvSpPr>
          <p:nvPr>
            <p:ph type="subTitle" idx="1"/>
          </p:nvPr>
        </p:nvSpPr>
        <p:spPr>
          <a:xfrm>
            <a:off x="971602" y="4198838"/>
            <a:ext cx="7715200" cy="1822450"/>
          </a:xfrm>
        </p:spPr>
        <p:txBody>
          <a:bodyPr anchor="ctr"/>
          <a:lstStyle>
            <a:lvl1pPr marL="0" indent="0" algn="ctr">
              <a:defRPr>
                <a:solidFill>
                  <a:srgbClr val="0099CC"/>
                </a:solidFill>
              </a:defRPr>
            </a:lvl1pPr>
          </a:lstStyle>
          <a:p>
            <a:r>
              <a:rPr lang="nl-NL" dirty="0"/>
              <a:t>Click to edit Master subtitle style</a:t>
            </a:r>
          </a:p>
        </p:txBody>
      </p:sp>
      <p:sp>
        <p:nvSpPr>
          <p:cNvPr id="90124" name="AutoShape 12"/>
          <p:cNvSpPr>
            <a:spLocks noGrp="1" noChangeArrowheads="1"/>
          </p:cNvSpPr>
          <p:nvPr>
            <p:ph type="ctrTitle" sz="quarter"/>
          </p:nvPr>
        </p:nvSpPr>
        <p:spPr>
          <a:xfrm>
            <a:off x="683568" y="1812032"/>
            <a:ext cx="8229600" cy="1905000"/>
          </a:xfrm>
          <a:prstGeom prst="roundRect">
            <a:avLst>
              <a:gd name="adj" fmla="val 50000"/>
            </a:avLst>
          </a:prstGeom>
        </p:spPr>
        <p:txBody>
          <a:bodyPr wrap="square" anchor="ctr"/>
          <a:lstStyle>
            <a:lvl1pPr algn="ctr">
              <a:defRPr>
                <a:solidFill>
                  <a:srgbClr val="006600"/>
                </a:solidFill>
              </a:defRPr>
            </a:lvl1pPr>
          </a:lstStyle>
          <a:p>
            <a:r>
              <a:rPr lang="nl-NL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1454954"/>
      </p:ext>
    </p:extLst>
  </p:cSld>
  <p:clrMapOvr>
    <a:masterClrMapping/>
  </p:clrMapOvr>
  <p:hf sldNum="0"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462"/>
            <a:ext cx="2133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FE275AC-50B1-469F-AAD8-B8B8EE021D35}" type="datetimeFigureOut">
              <a:rPr lang="en-GB">
                <a:solidFill>
                  <a:srgbClr val="00336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4/06/2016</a:t>
            </a:fld>
            <a:endParaRPr lang="en-GB">
              <a:solidFill>
                <a:srgbClr val="003366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462"/>
            <a:ext cx="2895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00336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462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B30E755-C395-4F12-BF10-7D1A1F6083A1}" type="slidenum">
              <a:rPr lang="en-GB" altLang="en-US">
                <a:solidFill>
                  <a:srgbClr val="00336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srgbClr val="0033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051519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Přímá spojovací čára 5"/>
          <p:cNvCxnSpPr/>
          <p:nvPr userDrawn="1"/>
        </p:nvCxnSpPr>
        <p:spPr>
          <a:xfrm>
            <a:off x="684262" y="6453188"/>
            <a:ext cx="8459787" cy="0"/>
          </a:xfrm>
          <a:prstGeom prst="line">
            <a:avLst/>
          </a:prstGeom>
          <a:ln w="12700">
            <a:solidFill>
              <a:srgbClr val="0068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043608" y="908832"/>
            <a:ext cx="7924800" cy="936625"/>
          </a:xfr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en-US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1043608" y="2348992"/>
            <a:ext cx="7836545" cy="3724275"/>
          </a:xfrm>
        </p:spPr>
        <p:txBody>
          <a:bodyPr/>
          <a:lstStyle/>
          <a:p>
            <a:pPr lvl="0"/>
            <a:r>
              <a:rPr lang="cs-CZ" dirty="0" smtClean="0"/>
              <a:t>Klepnutím lze upravit styly předlohy textu.</a:t>
            </a:r>
          </a:p>
          <a:p>
            <a:pPr lvl="1"/>
            <a:r>
              <a:rPr lang="cs-CZ" dirty="0" smtClean="0"/>
              <a:t>Druhá úroveň</a:t>
            </a:r>
          </a:p>
          <a:p>
            <a:pPr lvl="2"/>
            <a:r>
              <a:rPr lang="cs-CZ" dirty="0" smtClean="0"/>
              <a:t>Třetí úroveň</a:t>
            </a:r>
          </a:p>
          <a:p>
            <a:pPr lvl="3"/>
            <a:r>
              <a:rPr lang="cs-CZ" dirty="0" smtClean="0"/>
              <a:t>Čtvrtá úroveň</a:t>
            </a:r>
          </a:p>
          <a:p>
            <a:pPr lvl="4"/>
            <a:r>
              <a:rPr lang="cs-CZ" dirty="0" smtClean="0"/>
              <a:t>Pátá úroveň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19360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3B0B4-C380-4FCD-BDB0-A96BBFBF5132}" type="datetimeFigureOut">
              <a:rPr lang="en-US" smtClean="0"/>
              <a:t>6/24/16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80405-79A0-4BE8-AA81-8094C443E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302551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701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62"/>
            <a:ext cx="2133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DE4C972-3B8C-4679-BA8A-196419467B9D}" type="datetimeFigureOut">
              <a:rPr lang="en-GB">
                <a:solidFill>
                  <a:srgbClr val="00336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4/06/2016</a:t>
            </a:fld>
            <a:endParaRPr lang="en-GB">
              <a:solidFill>
                <a:srgbClr val="003366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62"/>
            <a:ext cx="2895600" cy="365125"/>
          </a:xfrm>
          <a:prstGeom prst="rect">
            <a:avLst/>
          </a:prstGeom>
        </p:spPr>
        <p:txBody>
          <a:bodyPr/>
          <a:lstStyle>
            <a:lvl1pPr eaLnBrk="1" hangingPunct="1"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003366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462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mtClean="0"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2ED8ACD3-53A3-4431-9525-44BB196C666A}" type="slidenum">
              <a:rPr lang="en-GB" altLang="en-US">
                <a:solidFill>
                  <a:srgbClr val="003366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altLang="en-US">
              <a:solidFill>
                <a:srgbClr val="0033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885240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537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01DBD083-A289-4E44-8174-43E49DE70A3F}" type="datetimeFigureOut">
              <a:rPr lang="it-IT"/>
              <a:pPr>
                <a:defRPr/>
              </a:pPr>
              <a:t>24/06/16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defTabSz="914400"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defTabSz="914400">
              <a:defRPr smtClean="0">
                <a:latin typeface="Arial" pitchFamily="34" charset="0"/>
              </a:defRPr>
            </a:lvl1pPr>
          </a:lstStyle>
          <a:p>
            <a:pPr>
              <a:defRPr/>
            </a:pPr>
            <a:fld id="{C4EC8BD7-3410-46E9-AF2E-0D7FFA1A041D}" type="slidenum">
              <a:rPr lang="it-IT" altLang="en-US"/>
              <a:pPr>
                <a:defRPr/>
              </a:pPr>
              <a:t>‹#›</a:t>
            </a:fld>
            <a:endParaRPr lang="it-IT" altLang="en-US"/>
          </a:p>
        </p:txBody>
      </p:sp>
    </p:spTree>
    <p:extLst>
      <p:ext uri="{BB962C8B-B14F-4D97-AF65-F5344CB8AC3E}">
        <p14:creationId xmlns:p14="http://schemas.microsoft.com/office/powerpoint/2010/main" val="22144608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3B0B4-C380-4FCD-BDB0-A96BBFBF5132}" type="datetimeFigureOut">
              <a:rPr lang="en-US" smtClean="0"/>
              <a:t>6/24/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80405-79A0-4BE8-AA81-8094C443E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92361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3B0B4-C380-4FCD-BDB0-A96BBFBF5132}" type="datetimeFigureOut">
              <a:rPr lang="en-US" smtClean="0"/>
              <a:t>6/24/16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80405-79A0-4BE8-AA81-8094C443E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0837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16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3B0B4-C380-4FCD-BDB0-A96BBFBF5132}" type="datetimeFigureOut">
              <a:rPr lang="en-US" smtClean="0"/>
              <a:t>6/24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80405-79A0-4BE8-AA81-8094C443E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30686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83B0B4-C380-4FCD-BDB0-A96BBFBF5132}" type="datetimeFigureOut">
              <a:rPr lang="en-US" smtClean="0"/>
              <a:t>6/24/16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B80405-79A0-4BE8-AA81-8094C443E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75686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Relationship Id="rId2" Type="http://schemas.openxmlformats.org/officeDocument/2006/relationships/theme" Target="../theme/theme10.xml"/><Relationship Id="rId3" Type="http://schemas.openxmlformats.org/officeDocument/2006/relationships/image" Target="../media/image5.jpeg"/></Relationships>
</file>

<file path=ppt/slideMasters/_rels/slideMaster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9.xml"/><Relationship Id="rId2" Type="http://schemas.openxmlformats.org/officeDocument/2006/relationships/theme" Target="../theme/theme11.xml"/><Relationship Id="rId3" Type="http://schemas.openxmlformats.org/officeDocument/2006/relationships/image" Target="../media/image5.jpeg"/></Relationships>
</file>

<file path=ppt/slideMasters/_rels/slideMaster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Relationship Id="rId2" Type="http://schemas.openxmlformats.org/officeDocument/2006/relationships/theme" Target="../theme/theme12.xml"/><Relationship Id="rId3" Type="http://schemas.openxmlformats.org/officeDocument/2006/relationships/image" Target="../media/image5.jpeg"/></Relationships>
</file>

<file path=ppt/slideMasters/_rels/slideMaster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Relationship Id="rId2" Type="http://schemas.openxmlformats.org/officeDocument/2006/relationships/theme" Target="../theme/theme13.xml"/><Relationship Id="rId3" Type="http://schemas.openxmlformats.org/officeDocument/2006/relationships/image" Target="../media/image5.jpeg"/></Relationships>
</file>

<file path=ppt/slideMasters/_rels/slideMaster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Relationship Id="rId2" Type="http://schemas.openxmlformats.org/officeDocument/2006/relationships/theme" Target="../theme/theme14.xml"/><Relationship Id="rId3" Type="http://schemas.openxmlformats.org/officeDocument/2006/relationships/image" Target="../media/image5.jpeg"/></Relationships>
</file>

<file path=ppt/slideMasters/_rels/slideMaster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Relationship Id="rId2" Type="http://schemas.openxmlformats.org/officeDocument/2006/relationships/theme" Target="../theme/theme15.xml"/><Relationship Id="rId3" Type="http://schemas.openxmlformats.org/officeDocument/2006/relationships/image" Target="../media/image5.jpeg"/></Relationships>
</file>

<file path=ppt/slideMasters/_rels/slideMaster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Relationship Id="rId2" Type="http://schemas.openxmlformats.org/officeDocument/2006/relationships/theme" Target="../theme/theme16.xml"/><Relationship Id="rId3" Type="http://schemas.openxmlformats.org/officeDocument/2006/relationships/image" Target="../media/image5.jpeg"/></Relationships>
</file>

<file path=ppt/slideMasters/_rels/slideMaster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Relationship Id="rId2" Type="http://schemas.openxmlformats.org/officeDocument/2006/relationships/theme" Target="../theme/theme17.xml"/><Relationship Id="rId3" Type="http://schemas.openxmlformats.org/officeDocument/2006/relationships/image" Target="../media/image5.jpeg"/></Relationships>
</file>

<file path=ppt/slideMasters/_rels/slideMaster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Relationship Id="rId2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9.xml"/><Relationship Id="rId4" Type="http://schemas.openxmlformats.org/officeDocument/2006/relationships/slideLayout" Target="../slideLayouts/slideLayout50.xml"/><Relationship Id="rId5" Type="http://schemas.openxmlformats.org/officeDocument/2006/relationships/theme" Target="../theme/theme19.xml"/><Relationship Id="rId6" Type="http://schemas.openxmlformats.org/officeDocument/2006/relationships/image" Target="../media/image9.png"/><Relationship Id="rId1" Type="http://schemas.openxmlformats.org/officeDocument/2006/relationships/slideLayout" Target="../slideLayouts/slideLayout47.xml"/><Relationship Id="rId2" Type="http://schemas.openxmlformats.org/officeDocument/2006/relationships/slideLayout" Target="../slideLayouts/slideLayout48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27.xml"/><Relationship Id="rId17" Type="http://schemas.openxmlformats.org/officeDocument/2006/relationships/theme" Target="../theme/theme2.xml"/><Relationship Id="rId18" Type="http://schemas.openxmlformats.org/officeDocument/2006/relationships/image" Target="../media/image1.jpeg"/><Relationship Id="rId19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1.xml"/></Relationships>
</file>

<file path=ppt/slideMasters/_rels/slideMaster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Relationship Id="rId2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4" Type="http://schemas.openxmlformats.org/officeDocument/2006/relationships/image" Target="../media/image12.jpeg"/><Relationship Id="rId1" Type="http://schemas.openxmlformats.org/officeDocument/2006/relationships/theme" Target="../theme/theme21.xml"/><Relationship Id="rId2" Type="http://schemas.openxmlformats.org/officeDocument/2006/relationships/tags" Target="../tags/tag1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4" Type="http://schemas.openxmlformats.org/officeDocument/2006/relationships/image" Target="../media/image12.jpeg"/><Relationship Id="rId1" Type="http://schemas.openxmlformats.org/officeDocument/2006/relationships/theme" Target="../theme/theme22.xml"/><Relationship Id="rId2" Type="http://schemas.openxmlformats.org/officeDocument/2006/relationships/tags" Target="../tags/tag3.xml"/></Relationships>
</file>

<file path=ppt/slideMasters/_rels/slideMaster2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4" Type="http://schemas.openxmlformats.org/officeDocument/2006/relationships/image" Target="../media/image12.jpeg"/><Relationship Id="rId1" Type="http://schemas.openxmlformats.org/officeDocument/2006/relationships/theme" Target="../theme/theme23.xml"/><Relationship Id="rId2" Type="http://schemas.openxmlformats.org/officeDocument/2006/relationships/tags" Target="../tags/tag5.xml"/></Relationships>
</file>

<file path=ppt/slideMasters/_rels/slideMaster2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4" Type="http://schemas.openxmlformats.org/officeDocument/2006/relationships/image" Target="../media/image12.jpeg"/><Relationship Id="rId1" Type="http://schemas.openxmlformats.org/officeDocument/2006/relationships/theme" Target="../theme/theme24.xml"/><Relationship Id="rId2" Type="http://schemas.openxmlformats.org/officeDocument/2006/relationships/tags" Target="../tags/tag7.xml"/></Relationships>
</file>

<file path=ppt/slideMasters/_rels/slideMaster2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4" Type="http://schemas.openxmlformats.org/officeDocument/2006/relationships/image" Target="../media/image12.jpeg"/><Relationship Id="rId1" Type="http://schemas.openxmlformats.org/officeDocument/2006/relationships/theme" Target="../theme/theme25.xml"/><Relationship Id="rId2" Type="http://schemas.openxmlformats.org/officeDocument/2006/relationships/tags" Target="../tags/tag9.xml"/></Relationships>
</file>

<file path=ppt/slideMasters/_rels/slideMaster2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4" Type="http://schemas.openxmlformats.org/officeDocument/2006/relationships/image" Target="../media/image12.jpeg"/><Relationship Id="rId1" Type="http://schemas.openxmlformats.org/officeDocument/2006/relationships/theme" Target="../theme/theme26.xml"/><Relationship Id="rId2" Type="http://schemas.openxmlformats.org/officeDocument/2006/relationships/tags" Target="../tags/tag11.xml"/></Relationships>
</file>

<file path=ppt/slideMasters/_rels/slideMaster2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4" Type="http://schemas.openxmlformats.org/officeDocument/2006/relationships/image" Target="../media/image12.jpeg"/><Relationship Id="rId1" Type="http://schemas.openxmlformats.org/officeDocument/2006/relationships/theme" Target="../theme/theme27.xml"/><Relationship Id="rId2" Type="http://schemas.openxmlformats.org/officeDocument/2006/relationships/tags" Target="../tags/tag13.xml"/></Relationships>
</file>

<file path=ppt/slideMasters/_rels/slideMaster2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4" Type="http://schemas.openxmlformats.org/officeDocument/2006/relationships/image" Target="../media/image12.jpeg"/><Relationship Id="rId1" Type="http://schemas.openxmlformats.org/officeDocument/2006/relationships/theme" Target="../theme/theme28.xml"/><Relationship Id="rId2" Type="http://schemas.openxmlformats.org/officeDocument/2006/relationships/tags" Target="../tags/tag15.xml"/></Relationships>
</file>

<file path=ppt/slideMasters/_rels/slideMaster2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4" Type="http://schemas.openxmlformats.org/officeDocument/2006/relationships/image" Target="../media/image12.jpeg"/><Relationship Id="rId1" Type="http://schemas.openxmlformats.org/officeDocument/2006/relationships/theme" Target="../theme/theme29.xml"/><Relationship Id="rId2" Type="http://schemas.openxmlformats.org/officeDocument/2006/relationships/tags" Target="../tags/tag17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4" Type="http://schemas.openxmlformats.org/officeDocument/2006/relationships/image" Target="../media/image1.jpeg"/><Relationship Id="rId5" Type="http://schemas.openxmlformats.org/officeDocument/2006/relationships/image" Target="../media/image2.png"/><Relationship Id="rId1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9.xml"/></Relationships>
</file>

<file path=ppt/slideMasters/_rels/slideMaster30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4" Type="http://schemas.openxmlformats.org/officeDocument/2006/relationships/image" Target="../media/image12.jpeg"/><Relationship Id="rId1" Type="http://schemas.openxmlformats.org/officeDocument/2006/relationships/theme" Target="../theme/theme30.xml"/><Relationship Id="rId2" Type="http://schemas.openxmlformats.org/officeDocument/2006/relationships/tags" Target="../tags/tag19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4" Type="http://schemas.openxmlformats.org/officeDocument/2006/relationships/image" Target="../media/image1.jpeg"/><Relationship Id="rId5" Type="http://schemas.openxmlformats.org/officeDocument/2006/relationships/image" Target="../media/image2.png"/><Relationship Id="rId1" Type="http://schemas.openxmlformats.org/officeDocument/2006/relationships/slideLayout" Target="../slideLayouts/slideLayout30.xml"/><Relationship Id="rId2" Type="http://schemas.openxmlformats.org/officeDocument/2006/relationships/slideLayout" Target="../slideLayouts/slideLayout31.xml"/></Relationships>
</file>

<file path=ppt/slideMasters/_rels/slideMaster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Relationship Id="rId2" Type="http://schemas.openxmlformats.org/officeDocument/2006/relationships/slideLayout" Target="../slideLayouts/slideLayout33.xml"/><Relationship Id="rId3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4.xml"/><Relationship Id="rId2" Type="http://schemas.openxmlformats.org/officeDocument/2006/relationships/theme" Target="../theme/theme6.xml"/><Relationship Id="rId3" Type="http://schemas.openxmlformats.org/officeDocument/2006/relationships/image" Target="../media/image5.jpeg"/></Relationships>
</file>

<file path=ppt/slideMasters/_rels/slideMaster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Relationship Id="rId2" Type="http://schemas.openxmlformats.org/officeDocument/2006/relationships/theme" Target="../theme/theme7.xml"/><Relationship Id="rId3" Type="http://schemas.openxmlformats.org/officeDocument/2006/relationships/image" Target="../media/image5.jpeg"/></Relationships>
</file>

<file path=ppt/slideMasters/_rels/slideMaster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Relationship Id="rId2" Type="http://schemas.openxmlformats.org/officeDocument/2006/relationships/theme" Target="../theme/theme8.xml"/><Relationship Id="rId3" Type="http://schemas.openxmlformats.org/officeDocument/2006/relationships/image" Target="../media/image5.jpeg"/></Relationships>
</file>

<file path=ppt/slideMasters/_rels/slideMaster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Relationship Id="rId2" Type="http://schemas.openxmlformats.org/officeDocument/2006/relationships/theme" Target="../theme/theme9.xml"/><Relationship Id="rId3" Type="http://schemas.openxmlformats.org/officeDocument/2006/relationships/image" Target="../media/image5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46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83B0B4-C380-4FCD-BDB0-A96BBFBF5132}" type="datetimeFigureOut">
              <a:rPr lang="en-US" smtClean="0"/>
              <a:t>6/24/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46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46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B80405-79A0-4BE8-AA81-8094C443E8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0338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30262" y="522926"/>
            <a:ext cx="7505701" cy="955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itle style</a:t>
            </a:r>
            <a:endParaRPr lang="en-US" altLang="en-US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0262" y="1821041"/>
            <a:ext cx="7505701" cy="3809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ext styles</a:t>
            </a:r>
          </a:p>
          <a:p>
            <a:pPr lvl="1"/>
            <a:r>
              <a:rPr lang="en-GB" altLang="en-US" dirty="0" smtClean="0"/>
              <a:t>Second level</a:t>
            </a:r>
          </a:p>
          <a:p>
            <a:pPr lvl="2"/>
            <a:r>
              <a:rPr lang="en-GB" altLang="en-US" dirty="0" smtClean="0"/>
              <a:t>Third level</a:t>
            </a:r>
          </a:p>
          <a:p>
            <a:pPr lvl="3"/>
            <a:r>
              <a:rPr lang="en-GB" altLang="en-US" dirty="0" smtClean="0"/>
              <a:t>Fourth level</a:t>
            </a:r>
          </a:p>
          <a:p>
            <a:pPr lvl="4"/>
            <a:r>
              <a:rPr lang="en-GB" altLang="en-US" dirty="0" smtClean="0"/>
              <a:t>Fifth level</a:t>
            </a:r>
            <a:endParaRPr lang="en-US" alt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320836" y="6381637"/>
            <a:ext cx="1589316" cy="180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rgbClr val="505150"/>
                </a:solidFill>
                <a:latin typeface="+mn-l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ea typeface="ＭＳ Ｐゴシック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55478" y="6381637"/>
            <a:ext cx="2457992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56023" y="6381637"/>
            <a:ext cx="1031966" cy="180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rgbClr val="898989"/>
                </a:solidFill>
                <a:latin typeface="+mn-l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F10C90A-5023-4C4E-BC59-225613EEF096}" type="slidenum">
              <a:rPr lang="en-US" altLang="en-US" smtClean="0"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ea typeface="ＭＳ Ｐゴシック" pitchFamily="34" charset="-128"/>
            </a:endParaRPr>
          </a:p>
        </p:txBody>
      </p:sp>
      <p:pic>
        <p:nvPicPr>
          <p:cNvPr id="9" name="Picture 19" descr="MASTER FSA colour logo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2563" y="6070712"/>
            <a:ext cx="1014412" cy="50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Straight Connector 9"/>
          <p:cNvCxnSpPr/>
          <p:nvPr userDrawn="1"/>
        </p:nvCxnSpPr>
        <p:spPr>
          <a:xfrm>
            <a:off x="822414" y="461963"/>
            <a:ext cx="7524000" cy="0"/>
          </a:xfrm>
          <a:prstGeom prst="line">
            <a:avLst/>
          </a:prstGeom>
          <a:ln w="50800" cap="rnd" cmpd="sng">
            <a:solidFill>
              <a:srgbClr val="0080B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 userDrawn="1"/>
        </p:nvSpPr>
        <p:spPr>
          <a:xfrm>
            <a:off x="361024" y="6360256"/>
            <a:ext cx="165782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800" dirty="0" smtClean="0">
                <a:solidFill>
                  <a:prstClr val="black"/>
                </a:solidFill>
                <a:ea typeface="ＭＳ Ｐゴシック" pitchFamily="34" charset="-128"/>
              </a:rPr>
              <a:t>© 2015 Food Standards Agency</a:t>
            </a:r>
            <a:endParaRPr lang="en-US" altLang="en-US" sz="800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</p:sldLayoutIdLst>
  <p:txStyles>
    <p:titleStyle>
      <a:lvl1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ＭＳ Ｐゴシック" charset="-128"/>
          <a:cs typeface="ＭＳ Ｐゴシック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0" indent="0" algn="l" defTabSz="457200" rtl="0" eaLnBrk="0" fontAlgn="base" hangingPunct="0">
        <a:lnSpc>
          <a:spcPct val="150000"/>
        </a:lnSpc>
        <a:spcBef>
          <a:spcPts val="0"/>
        </a:spcBef>
        <a:spcAft>
          <a:spcPct val="0"/>
        </a:spcAft>
        <a:buFont typeface="Arial" pitchFamily="34" charset="0"/>
        <a:buNone/>
        <a:defRPr sz="1800" kern="1200">
          <a:solidFill>
            <a:srgbClr val="505150"/>
          </a:solidFill>
          <a:latin typeface="+mn-lt"/>
          <a:ea typeface="ＭＳ Ｐゴシック" charset="-128"/>
          <a:cs typeface="ＭＳ Ｐゴシック" charset="-128"/>
        </a:defRPr>
      </a:lvl1pPr>
      <a:lvl2pPr marL="182563" indent="-182563" algn="l" defTabSz="457200" rtl="0" eaLnBrk="0" fontAlgn="base" hangingPunct="0">
        <a:lnSpc>
          <a:spcPct val="150000"/>
        </a:lnSpc>
        <a:spcBef>
          <a:spcPts val="0"/>
        </a:spcBef>
        <a:spcAft>
          <a:spcPct val="0"/>
        </a:spcAft>
        <a:buClr>
          <a:schemeClr val="tx2"/>
        </a:buClr>
        <a:buFont typeface="Arial" pitchFamily="34" charset="0"/>
        <a:buChar char="•"/>
        <a:tabLst/>
        <a:defRPr sz="1800" kern="1200">
          <a:solidFill>
            <a:srgbClr val="505150"/>
          </a:solidFill>
          <a:latin typeface="+mn-lt"/>
          <a:ea typeface="ＭＳ Ｐゴシック" charset="-128"/>
          <a:cs typeface="+mn-cs"/>
        </a:defRPr>
      </a:lvl2pPr>
      <a:lvl3pPr marL="357188" indent="-174625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rgbClr val="505150"/>
          </a:solidFill>
          <a:latin typeface="+mn-lt"/>
          <a:ea typeface="ＭＳ Ｐゴシック" charset="-128"/>
          <a:cs typeface="+mn-cs"/>
        </a:defRPr>
      </a:lvl3pPr>
      <a:lvl4pPr marL="539750" indent="-182563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1400" kern="1200">
          <a:solidFill>
            <a:srgbClr val="505150"/>
          </a:solidFill>
          <a:latin typeface="+mn-lt"/>
          <a:ea typeface="ＭＳ Ｐゴシック" charset="-128"/>
          <a:cs typeface="+mn-cs"/>
        </a:defRPr>
      </a:lvl4pPr>
      <a:lvl5pPr marL="714375" indent="-174625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05150"/>
          </a:solidFill>
          <a:latin typeface="+mn-lt"/>
          <a:ea typeface="ＭＳ Ｐゴシック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30262" y="522926"/>
            <a:ext cx="7505701" cy="955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itle style</a:t>
            </a:r>
            <a:endParaRPr lang="en-US" altLang="en-US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0262" y="1821041"/>
            <a:ext cx="7505701" cy="3809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ext styles</a:t>
            </a:r>
          </a:p>
          <a:p>
            <a:pPr lvl="1"/>
            <a:r>
              <a:rPr lang="en-GB" altLang="en-US" dirty="0" smtClean="0"/>
              <a:t>Second level</a:t>
            </a:r>
          </a:p>
          <a:p>
            <a:pPr lvl="2"/>
            <a:r>
              <a:rPr lang="en-GB" altLang="en-US" dirty="0" smtClean="0"/>
              <a:t>Third level</a:t>
            </a:r>
          </a:p>
          <a:p>
            <a:pPr lvl="3"/>
            <a:r>
              <a:rPr lang="en-GB" altLang="en-US" dirty="0" smtClean="0"/>
              <a:t>Fourth level</a:t>
            </a:r>
          </a:p>
          <a:p>
            <a:pPr lvl="4"/>
            <a:r>
              <a:rPr lang="en-GB" altLang="en-US" dirty="0" smtClean="0"/>
              <a:t>Fifth level</a:t>
            </a:r>
            <a:endParaRPr lang="en-US" alt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320836" y="6381637"/>
            <a:ext cx="1589316" cy="180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rgbClr val="505150"/>
                </a:solidFill>
                <a:latin typeface="+mn-l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ea typeface="ＭＳ Ｐゴシック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55478" y="6381637"/>
            <a:ext cx="2457992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56023" y="6381637"/>
            <a:ext cx="1031966" cy="180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rgbClr val="898989"/>
                </a:solidFill>
                <a:latin typeface="+mn-l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F10C90A-5023-4C4E-BC59-225613EEF096}" type="slidenum">
              <a:rPr lang="en-US" altLang="en-US" smtClean="0"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ea typeface="ＭＳ Ｐゴシック" pitchFamily="34" charset="-128"/>
            </a:endParaRPr>
          </a:p>
        </p:txBody>
      </p:sp>
      <p:pic>
        <p:nvPicPr>
          <p:cNvPr id="9" name="Picture 19" descr="MASTER FSA colour logo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2563" y="6070712"/>
            <a:ext cx="1014412" cy="50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Straight Connector 9"/>
          <p:cNvCxnSpPr/>
          <p:nvPr userDrawn="1"/>
        </p:nvCxnSpPr>
        <p:spPr>
          <a:xfrm>
            <a:off x="822414" y="461963"/>
            <a:ext cx="7524000" cy="0"/>
          </a:xfrm>
          <a:prstGeom prst="line">
            <a:avLst/>
          </a:prstGeom>
          <a:ln w="50800" cap="rnd" cmpd="sng">
            <a:solidFill>
              <a:srgbClr val="0080B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 userDrawn="1"/>
        </p:nvSpPr>
        <p:spPr>
          <a:xfrm>
            <a:off x="361024" y="6360256"/>
            <a:ext cx="165782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800" dirty="0" smtClean="0">
                <a:solidFill>
                  <a:prstClr val="black"/>
                </a:solidFill>
                <a:ea typeface="ＭＳ Ｐゴシック" pitchFamily="34" charset="-128"/>
              </a:rPr>
              <a:t>© 2015 Food Standards Agency</a:t>
            </a:r>
            <a:endParaRPr lang="en-US" altLang="en-US" sz="800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94577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</p:sldLayoutIdLst>
  <p:txStyles>
    <p:titleStyle>
      <a:lvl1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ＭＳ Ｐゴシック" charset="-128"/>
          <a:cs typeface="ＭＳ Ｐゴシック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0" indent="0" algn="l" defTabSz="457200" rtl="0" eaLnBrk="0" fontAlgn="base" hangingPunct="0">
        <a:lnSpc>
          <a:spcPct val="150000"/>
        </a:lnSpc>
        <a:spcBef>
          <a:spcPts val="0"/>
        </a:spcBef>
        <a:spcAft>
          <a:spcPct val="0"/>
        </a:spcAft>
        <a:buFont typeface="Arial" pitchFamily="34" charset="0"/>
        <a:buNone/>
        <a:defRPr sz="1800" kern="1200">
          <a:solidFill>
            <a:srgbClr val="505150"/>
          </a:solidFill>
          <a:latin typeface="+mn-lt"/>
          <a:ea typeface="ＭＳ Ｐゴシック" charset="-128"/>
          <a:cs typeface="ＭＳ Ｐゴシック" charset="-128"/>
        </a:defRPr>
      </a:lvl1pPr>
      <a:lvl2pPr marL="182563" indent="-182563" algn="l" defTabSz="457200" rtl="0" eaLnBrk="0" fontAlgn="base" hangingPunct="0">
        <a:lnSpc>
          <a:spcPct val="150000"/>
        </a:lnSpc>
        <a:spcBef>
          <a:spcPts val="0"/>
        </a:spcBef>
        <a:spcAft>
          <a:spcPct val="0"/>
        </a:spcAft>
        <a:buClr>
          <a:schemeClr val="tx2"/>
        </a:buClr>
        <a:buFont typeface="Arial" pitchFamily="34" charset="0"/>
        <a:buChar char="•"/>
        <a:tabLst/>
        <a:defRPr sz="1800" kern="1200">
          <a:solidFill>
            <a:srgbClr val="505150"/>
          </a:solidFill>
          <a:latin typeface="+mn-lt"/>
          <a:ea typeface="ＭＳ Ｐゴシック" charset="-128"/>
          <a:cs typeface="+mn-cs"/>
        </a:defRPr>
      </a:lvl2pPr>
      <a:lvl3pPr marL="357188" indent="-174625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rgbClr val="505150"/>
          </a:solidFill>
          <a:latin typeface="+mn-lt"/>
          <a:ea typeface="ＭＳ Ｐゴシック" charset="-128"/>
          <a:cs typeface="+mn-cs"/>
        </a:defRPr>
      </a:lvl3pPr>
      <a:lvl4pPr marL="539750" indent="-182563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1400" kern="1200">
          <a:solidFill>
            <a:srgbClr val="505150"/>
          </a:solidFill>
          <a:latin typeface="+mn-lt"/>
          <a:ea typeface="ＭＳ Ｐゴシック" charset="-128"/>
          <a:cs typeface="+mn-cs"/>
        </a:defRPr>
      </a:lvl4pPr>
      <a:lvl5pPr marL="714375" indent="-174625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05150"/>
          </a:solidFill>
          <a:latin typeface="+mn-lt"/>
          <a:ea typeface="ＭＳ Ｐゴシック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30262" y="522926"/>
            <a:ext cx="7505701" cy="955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itle style</a:t>
            </a:r>
            <a:endParaRPr lang="en-US" altLang="en-US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0262" y="1821041"/>
            <a:ext cx="7505701" cy="3809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ext styles</a:t>
            </a:r>
          </a:p>
          <a:p>
            <a:pPr lvl="1"/>
            <a:r>
              <a:rPr lang="en-GB" altLang="en-US" dirty="0" smtClean="0"/>
              <a:t>Second level</a:t>
            </a:r>
          </a:p>
          <a:p>
            <a:pPr lvl="2"/>
            <a:r>
              <a:rPr lang="en-GB" altLang="en-US" dirty="0" smtClean="0"/>
              <a:t>Third level</a:t>
            </a:r>
          </a:p>
          <a:p>
            <a:pPr lvl="3"/>
            <a:r>
              <a:rPr lang="en-GB" altLang="en-US" dirty="0" smtClean="0"/>
              <a:t>Fourth level</a:t>
            </a:r>
          </a:p>
          <a:p>
            <a:pPr lvl="4"/>
            <a:r>
              <a:rPr lang="en-GB" altLang="en-US" dirty="0" smtClean="0"/>
              <a:t>Fifth level</a:t>
            </a:r>
            <a:endParaRPr lang="en-US" alt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320836" y="6381637"/>
            <a:ext cx="1589316" cy="180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rgbClr val="505150"/>
                </a:solidFill>
                <a:latin typeface="+mn-l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ea typeface="ＭＳ Ｐゴシック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55478" y="6381637"/>
            <a:ext cx="2457992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56023" y="6381637"/>
            <a:ext cx="1031966" cy="180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rgbClr val="898989"/>
                </a:solidFill>
                <a:latin typeface="+mn-l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F10C90A-5023-4C4E-BC59-225613EEF096}" type="slidenum">
              <a:rPr lang="en-US" altLang="en-US" smtClean="0"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ea typeface="ＭＳ Ｐゴシック" pitchFamily="34" charset="-128"/>
            </a:endParaRPr>
          </a:p>
        </p:txBody>
      </p:sp>
      <p:pic>
        <p:nvPicPr>
          <p:cNvPr id="9" name="Picture 19" descr="MASTER FSA colour logo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2563" y="6070712"/>
            <a:ext cx="1014412" cy="50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Straight Connector 9"/>
          <p:cNvCxnSpPr/>
          <p:nvPr userDrawn="1"/>
        </p:nvCxnSpPr>
        <p:spPr>
          <a:xfrm>
            <a:off x="822414" y="461963"/>
            <a:ext cx="7524000" cy="0"/>
          </a:xfrm>
          <a:prstGeom prst="line">
            <a:avLst/>
          </a:prstGeom>
          <a:ln w="50800" cap="rnd" cmpd="sng">
            <a:solidFill>
              <a:srgbClr val="0080B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 userDrawn="1"/>
        </p:nvSpPr>
        <p:spPr>
          <a:xfrm>
            <a:off x="361024" y="6360256"/>
            <a:ext cx="165782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800" dirty="0" smtClean="0">
                <a:solidFill>
                  <a:prstClr val="black"/>
                </a:solidFill>
                <a:ea typeface="ＭＳ Ｐゴシック" pitchFamily="34" charset="-128"/>
              </a:rPr>
              <a:t>© 2015 Food Standards Agency</a:t>
            </a:r>
            <a:endParaRPr lang="en-US" altLang="en-US" sz="800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94577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</p:sldLayoutIdLst>
  <p:txStyles>
    <p:titleStyle>
      <a:lvl1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ＭＳ Ｐゴシック" charset="-128"/>
          <a:cs typeface="ＭＳ Ｐゴシック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0" indent="0" algn="l" defTabSz="457200" rtl="0" eaLnBrk="0" fontAlgn="base" hangingPunct="0">
        <a:lnSpc>
          <a:spcPct val="150000"/>
        </a:lnSpc>
        <a:spcBef>
          <a:spcPts val="0"/>
        </a:spcBef>
        <a:spcAft>
          <a:spcPct val="0"/>
        </a:spcAft>
        <a:buFont typeface="Arial" pitchFamily="34" charset="0"/>
        <a:buNone/>
        <a:defRPr sz="1800" kern="1200">
          <a:solidFill>
            <a:srgbClr val="505150"/>
          </a:solidFill>
          <a:latin typeface="+mn-lt"/>
          <a:ea typeface="ＭＳ Ｐゴシック" charset="-128"/>
          <a:cs typeface="ＭＳ Ｐゴシック" charset="-128"/>
        </a:defRPr>
      </a:lvl1pPr>
      <a:lvl2pPr marL="182563" indent="-182563" algn="l" defTabSz="457200" rtl="0" eaLnBrk="0" fontAlgn="base" hangingPunct="0">
        <a:lnSpc>
          <a:spcPct val="150000"/>
        </a:lnSpc>
        <a:spcBef>
          <a:spcPts val="0"/>
        </a:spcBef>
        <a:spcAft>
          <a:spcPct val="0"/>
        </a:spcAft>
        <a:buClr>
          <a:schemeClr val="tx2"/>
        </a:buClr>
        <a:buFont typeface="Arial" pitchFamily="34" charset="0"/>
        <a:buChar char="•"/>
        <a:tabLst/>
        <a:defRPr sz="1800" kern="1200">
          <a:solidFill>
            <a:srgbClr val="505150"/>
          </a:solidFill>
          <a:latin typeface="+mn-lt"/>
          <a:ea typeface="ＭＳ Ｐゴシック" charset="-128"/>
          <a:cs typeface="+mn-cs"/>
        </a:defRPr>
      </a:lvl2pPr>
      <a:lvl3pPr marL="357188" indent="-174625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rgbClr val="505150"/>
          </a:solidFill>
          <a:latin typeface="+mn-lt"/>
          <a:ea typeface="ＭＳ Ｐゴシック" charset="-128"/>
          <a:cs typeface="+mn-cs"/>
        </a:defRPr>
      </a:lvl3pPr>
      <a:lvl4pPr marL="539750" indent="-182563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1400" kern="1200">
          <a:solidFill>
            <a:srgbClr val="505150"/>
          </a:solidFill>
          <a:latin typeface="+mn-lt"/>
          <a:ea typeface="ＭＳ Ｐゴシック" charset="-128"/>
          <a:cs typeface="+mn-cs"/>
        </a:defRPr>
      </a:lvl4pPr>
      <a:lvl5pPr marL="714375" indent="-174625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05150"/>
          </a:solidFill>
          <a:latin typeface="+mn-lt"/>
          <a:ea typeface="ＭＳ Ｐゴシック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30262" y="522926"/>
            <a:ext cx="7505701" cy="955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itle style</a:t>
            </a:r>
            <a:endParaRPr lang="en-US" altLang="en-US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0262" y="1821041"/>
            <a:ext cx="7505701" cy="3809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ext styles</a:t>
            </a:r>
          </a:p>
          <a:p>
            <a:pPr lvl="1"/>
            <a:r>
              <a:rPr lang="en-GB" altLang="en-US" dirty="0" smtClean="0"/>
              <a:t>Second level</a:t>
            </a:r>
          </a:p>
          <a:p>
            <a:pPr lvl="2"/>
            <a:r>
              <a:rPr lang="en-GB" altLang="en-US" dirty="0" smtClean="0"/>
              <a:t>Third level</a:t>
            </a:r>
          </a:p>
          <a:p>
            <a:pPr lvl="3"/>
            <a:r>
              <a:rPr lang="en-GB" altLang="en-US" dirty="0" smtClean="0"/>
              <a:t>Fourth level</a:t>
            </a:r>
          </a:p>
          <a:p>
            <a:pPr lvl="4"/>
            <a:r>
              <a:rPr lang="en-GB" altLang="en-US" dirty="0" smtClean="0"/>
              <a:t>Fifth level</a:t>
            </a:r>
            <a:endParaRPr lang="en-US" alt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320836" y="6381637"/>
            <a:ext cx="1589316" cy="180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rgbClr val="505150"/>
                </a:solidFill>
                <a:latin typeface="+mn-l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ea typeface="ＭＳ Ｐゴシック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55478" y="6381637"/>
            <a:ext cx="2457992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56023" y="6381637"/>
            <a:ext cx="1031966" cy="180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rgbClr val="898989"/>
                </a:solidFill>
                <a:latin typeface="+mn-l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F10C90A-5023-4C4E-BC59-225613EEF096}" type="slidenum">
              <a:rPr lang="en-US" altLang="en-US" smtClean="0"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ea typeface="ＭＳ Ｐゴシック" pitchFamily="34" charset="-128"/>
            </a:endParaRPr>
          </a:p>
        </p:txBody>
      </p:sp>
      <p:pic>
        <p:nvPicPr>
          <p:cNvPr id="9" name="Picture 19" descr="MASTER FSA colour logo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2563" y="6070712"/>
            <a:ext cx="1014412" cy="50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Straight Connector 9"/>
          <p:cNvCxnSpPr/>
          <p:nvPr userDrawn="1"/>
        </p:nvCxnSpPr>
        <p:spPr>
          <a:xfrm>
            <a:off x="822414" y="461963"/>
            <a:ext cx="7524000" cy="0"/>
          </a:xfrm>
          <a:prstGeom prst="line">
            <a:avLst/>
          </a:prstGeom>
          <a:ln w="50800" cap="rnd" cmpd="sng">
            <a:solidFill>
              <a:srgbClr val="0080B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 userDrawn="1"/>
        </p:nvSpPr>
        <p:spPr>
          <a:xfrm>
            <a:off x="361024" y="6360256"/>
            <a:ext cx="165782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800" dirty="0" smtClean="0">
                <a:solidFill>
                  <a:prstClr val="black"/>
                </a:solidFill>
                <a:ea typeface="ＭＳ Ｐゴシック" pitchFamily="34" charset="-128"/>
              </a:rPr>
              <a:t>© 2015 Food Standards Agency</a:t>
            </a:r>
            <a:endParaRPr lang="en-US" altLang="en-US" sz="800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945779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</p:sldLayoutIdLst>
  <p:txStyles>
    <p:titleStyle>
      <a:lvl1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ＭＳ Ｐゴシック" charset="-128"/>
          <a:cs typeface="ＭＳ Ｐゴシック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0" indent="0" algn="l" defTabSz="457200" rtl="0" eaLnBrk="0" fontAlgn="base" hangingPunct="0">
        <a:lnSpc>
          <a:spcPct val="150000"/>
        </a:lnSpc>
        <a:spcBef>
          <a:spcPts val="0"/>
        </a:spcBef>
        <a:spcAft>
          <a:spcPct val="0"/>
        </a:spcAft>
        <a:buFont typeface="Arial" pitchFamily="34" charset="0"/>
        <a:buNone/>
        <a:defRPr sz="1800" kern="1200">
          <a:solidFill>
            <a:srgbClr val="505150"/>
          </a:solidFill>
          <a:latin typeface="+mn-lt"/>
          <a:ea typeface="ＭＳ Ｐゴシック" charset="-128"/>
          <a:cs typeface="ＭＳ Ｐゴシック" charset="-128"/>
        </a:defRPr>
      </a:lvl1pPr>
      <a:lvl2pPr marL="182563" indent="-182563" algn="l" defTabSz="457200" rtl="0" eaLnBrk="0" fontAlgn="base" hangingPunct="0">
        <a:lnSpc>
          <a:spcPct val="150000"/>
        </a:lnSpc>
        <a:spcBef>
          <a:spcPts val="0"/>
        </a:spcBef>
        <a:spcAft>
          <a:spcPct val="0"/>
        </a:spcAft>
        <a:buClr>
          <a:schemeClr val="tx2"/>
        </a:buClr>
        <a:buFont typeface="Arial" pitchFamily="34" charset="0"/>
        <a:buChar char="•"/>
        <a:tabLst/>
        <a:defRPr sz="1800" kern="1200">
          <a:solidFill>
            <a:srgbClr val="505150"/>
          </a:solidFill>
          <a:latin typeface="+mn-lt"/>
          <a:ea typeface="ＭＳ Ｐゴシック" charset="-128"/>
          <a:cs typeface="+mn-cs"/>
        </a:defRPr>
      </a:lvl2pPr>
      <a:lvl3pPr marL="357188" indent="-174625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rgbClr val="505150"/>
          </a:solidFill>
          <a:latin typeface="+mn-lt"/>
          <a:ea typeface="ＭＳ Ｐゴシック" charset="-128"/>
          <a:cs typeface="+mn-cs"/>
        </a:defRPr>
      </a:lvl3pPr>
      <a:lvl4pPr marL="539750" indent="-182563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1400" kern="1200">
          <a:solidFill>
            <a:srgbClr val="505150"/>
          </a:solidFill>
          <a:latin typeface="+mn-lt"/>
          <a:ea typeface="ＭＳ Ｐゴシック" charset="-128"/>
          <a:cs typeface="+mn-cs"/>
        </a:defRPr>
      </a:lvl4pPr>
      <a:lvl5pPr marL="714375" indent="-174625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05150"/>
          </a:solidFill>
          <a:latin typeface="+mn-lt"/>
          <a:ea typeface="ＭＳ Ｐゴシック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30262" y="522926"/>
            <a:ext cx="7505701" cy="955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itle style</a:t>
            </a:r>
            <a:endParaRPr lang="en-US" altLang="en-US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0262" y="1821041"/>
            <a:ext cx="7505701" cy="3809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ext styles</a:t>
            </a:r>
          </a:p>
          <a:p>
            <a:pPr lvl="1"/>
            <a:r>
              <a:rPr lang="en-GB" altLang="en-US" dirty="0" smtClean="0"/>
              <a:t>Second level</a:t>
            </a:r>
          </a:p>
          <a:p>
            <a:pPr lvl="2"/>
            <a:r>
              <a:rPr lang="en-GB" altLang="en-US" dirty="0" smtClean="0"/>
              <a:t>Third level</a:t>
            </a:r>
          </a:p>
          <a:p>
            <a:pPr lvl="3"/>
            <a:r>
              <a:rPr lang="en-GB" altLang="en-US" dirty="0" smtClean="0"/>
              <a:t>Fourth level</a:t>
            </a:r>
          </a:p>
          <a:p>
            <a:pPr lvl="4"/>
            <a:r>
              <a:rPr lang="en-GB" altLang="en-US" dirty="0" smtClean="0"/>
              <a:t>Fifth level</a:t>
            </a:r>
            <a:endParaRPr lang="en-US" alt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320836" y="6381637"/>
            <a:ext cx="1589316" cy="180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rgbClr val="505150"/>
                </a:solidFill>
                <a:latin typeface="+mn-l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ea typeface="ＭＳ Ｐゴシック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55478" y="6381637"/>
            <a:ext cx="2457992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56023" y="6381637"/>
            <a:ext cx="1031966" cy="180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rgbClr val="898989"/>
                </a:solidFill>
                <a:latin typeface="+mn-l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F10C90A-5023-4C4E-BC59-225613EEF096}" type="slidenum">
              <a:rPr lang="en-US" altLang="en-US" smtClean="0"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ea typeface="ＭＳ Ｐゴシック" pitchFamily="34" charset="-128"/>
            </a:endParaRPr>
          </a:p>
        </p:txBody>
      </p:sp>
      <p:pic>
        <p:nvPicPr>
          <p:cNvPr id="9" name="Picture 19" descr="MASTER FSA colour logo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2563" y="6070712"/>
            <a:ext cx="1014412" cy="50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Straight Connector 9"/>
          <p:cNvCxnSpPr/>
          <p:nvPr userDrawn="1"/>
        </p:nvCxnSpPr>
        <p:spPr>
          <a:xfrm>
            <a:off x="822414" y="461963"/>
            <a:ext cx="7524000" cy="0"/>
          </a:xfrm>
          <a:prstGeom prst="line">
            <a:avLst/>
          </a:prstGeom>
          <a:ln w="50800" cap="rnd" cmpd="sng">
            <a:solidFill>
              <a:srgbClr val="0080B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 userDrawn="1"/>
        </p:nvSpPr>
        <p:spPr>
          <a:xfrm>
            <a:off x="361024" y="6360256"/>
            <a:ext cx="165782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800" dirty="0" smtClean="0">
                <a:solidFill>
                  <a:prstClr val="black"/>
                </a:solidFill>
                <a:ea typeface="ＭＳ Ｐゴシック" pitchFamily="34" charset="-128"/>
              </a:rPr>
              <a:t>© 2015 Food Standards Agency</a:t>
            </a:r>
            <a:endParaRPr lang="en-US" altLang="en-US" sz="800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19205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</p:sldLayoutIdLst>
  <p:txStyles>
    <p:titleStyle>
      <a:lvl1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ＭＳ Ｐゴシック" charset="-128"/>
          <a:cs typeface="ＭＳ Ｐゴシック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0" indent="0" algn="l" defTabSz="457200" rtl="0" eaLnBrk="0" fontAlgn="base" hangingPunct="0">
        <a:lnSpc>
          <a:spcPct val="150000"/>
        </a:lnSpc>
        <a:spcBef>
          <a:spcPts val="0"/>
        </a:spcBef>
        <a:spcAft>
          <a:spcPct val="0"/>
        </a:spcAft>
        <a:buFont typeface="Arial" pitchFamily="34" charset="0"/>
        <a:buNone/>
        <a:defRPr sz="1800" kern="1200">
          <a:solidFill>
            <a:srgbClr val="505150"/>
          </a:solidFill>
          <a:latin typeface="+mn-lt"/>
          <a:ea typeface="ＭＳ Ｐゴシック" charset="-128"/>
          <a:cs typeface="ＭＳ Ｐゴシック" charset="-128"/>
        </a:defRPr>
      </a:lvl1pPr>
      <a:lvl2pPr marL="182563" indent="-182563" algn="l" defTabSz="457200" rtl="0" eaLnBrk="0" fontAlgn="base" hangingPunct="0">
        <a:lnSpc>
          <a:spcPct val="150000"/>
        </a:lnSpc>
        <a:spcBef>
          <a:spcPts val="0"/>
        </a:spcBef>
        <a:spcAft>
          <a:spcPct val="0"/>
        </a:spcAft>
        <a:buClr>
          <a:schemeClr val="tx2"/>
        </a:buClr>
        <a:buFont typeface="Arial" pitchFamily="34" charset="0"/>
        <a:buChar char="•"/>
        <a:tabLst/>
        <a:defRPr sz="1800" kern="1200">
          <a:solidFill>
            <a:srgbClr val="505150"/>
          </a:solidFill>
          <a:latin typeface="+mn-lt"/>
          <a:ea typeface="ＭＳ Ｐゴシック" charset="-128"/>
          <a:cs typeface="+mn-cs"/>
        </a:defRPr>
      </a:lvl2pPr>
      <a:lvl3pPr marL="357188" indent="-174625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rgbClr val="505150"/>
          </a:solidFill>
          <a:latin typeface="+mn-lt"/>
          <a:ea typeface="ＭＳ Ｐゴシック" charset="-128"/>
          <a:cs typeface="+mn-cs"/>
        </a:defRPr>
      </a:lvl3pPr>
      <a:lvl4pPr marL="539750" indent="-182563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1400" kern="1200">
          <a:solidFill>
            <a:srgbClr val="505150"/>
          </a:solidFill>
          <a:latin typeface="+mn-lt"/>
          <a:ea typeface="ＭＳ Ｐゴシック" charset="-128"/>
          <a:cs typeface="+mn-cs"/>
        </a:defRPr>
      </a:lvl4pPr>
      <a:lvl5pPr marL="714375" indent="-174625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05150"/>
          </a:solidFill>
          <a:latin typeface="+mn-lt"/>
          <a:ea typeface="ＭＳ Ｐゴシック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30262" y="522926"/>
            <a:ext cx="7505701" cy="955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itle style</a:t>
            </a:r>
            <a:endParaRPr lang="en-US" altLang="en-US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0262" y="1821041"/>
            <a:ext cx="7505701" cy="3809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ext styles</a:t>
            </a:r>
          </a:p>
          <a:p>
            <a:pPr lvl="1"/>
            <a:r>
              <a:rPr lang="en-GB" altLang="en-US" dirty="0" smtClean="0"/>
              <a:t>Second level</a:t>
            </a:r>
          </a:p>
          <a:p>
            <a:pPr lvl="2"/>
            <a:r>
              <a:rPr lang="en-GB" altLang="en-US" dirty="0" smtClean="0"/>
              <a:t>Third level</a:t>
            </a:r>
          </a:p>
          <a:p>
            <a:pPr lvl="3"/>
            <a:r>
              <a:rPr lang="en-GB" altLang="en-US" dirty="0" smtClean="0"/>
              <a:t>Fourth level</a:t>
            </a:r>
          </a:p>
          <a:p>
            <a:pPr lvl="4"/>
            <a:r>
              <a:rPr lang="en-GB" altLang="en-US" dirty="0" smtClean="0"/>
              <a:t>Fifth level</a:t>
            </a:r>
            <a:endParaRPr lang="en-US" alt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320836" y="6381637"/>
            <a:ext cx="1589316" cy="180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rgbClr val="505150"/>
                </a:solidFill>
                <a:latin typeface="+mn-l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ea typeface="ＭＳ Ｐゴシック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55478" y="6381637"/>
            <a:ext cx="2457992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56023" y="6381637"/>
            <a:ext cx="1031966" cy="180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rgbClr val="898989"/>
                </a:solidFill>
                <a:latin typeface="+mn-l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F10C90A-5023-4C4E-BC59-225613EEF096}" type="slidenum">
              <a:rPr lang="en-US" altLang="en-US" smtClean="0"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ea typeface="ＭＳ Ｐゴシック" pitchFamily="34" charset="-128"/>
            </a:endParaRPr>
          </a:p>
        </p:txBody>
      </p:sp>
      <p:pic>
        <p:nvPicPr>
          <p:cNvPr id="9" name="Picture 19" descr="MASTER FSA colour logo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2563" y="6070712"/>
            <a:ext cx="1014412" cy="50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Straight Connector 9"/>
          <p:cNvCxnSpPr/>
          <p:nvPr userDrawn="1"/>
        </p:nvCxnSpPr>
        <p:spPr>
          <a:xfrm>
            <a:off x="822414" y="461963"/>
            <a:ext cx="7524000" cy="0"/>
          </a:xfrm>
          <a:prstGeom prst="line">
            <a:avLst/>
          </a:prstGeom>
          <a:ln w="50800" cap="rnd" cmpd="sng">
            <a:solidFill>
              <a:srgbClr val="0080B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 userDrawn="1"/>
        </p:nvSpPr>
        <p:spPr>
          <a:xfrm>
            <a:off x="361024" y="6360256"/>
            <a:ext cx="165782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800" dirty="0" smtClean="0">
                <a:solidFill>
                  <a:prstClr val="black"/>
                </a:solidFill>
                <a:ea typeface="ＭＳ Ｐゴシック" pitchFamily="34" charset="-128"/>
              </a:rPr>
              <a:t>© 2015 Food Standards Agency</a:t>
            </a:r>
            <a:endParaRPr lang="en-US" altLang="en-US" sz="800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919205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</p:sldLayoutIdLst>
  <p:txStyles>
    <p:titleStyle>
      <a:lvl1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ＭＳ Ｐゴシック" charset="-128"/>
          <a:cs typeface="ＭＳ Ｐゴシック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0" indent="0" algn="l" defTabSz="457200" rtl="0" eaLnBrk="0" fontAlgn="base" hangingPunct="0">
        <a:lnSpc>
          <a:spcPct val="150000"/>
        </a:lnSpc>
        <a:spcBef>
          <a:spcPts val="0"/>
        </a:spcBef>
        <a:spcAft>
          <a:spcPct val="0"/>
        </a:spcAft>
        <a:buFont typeface="Arial" pitchFamily="34" charset="0"/>
        <a:buNone/>
        <a:defRPr sz="1800" kern="1200">
          <a:solidFill>
            <a:srgbClr val="505150"/>
          </a:solidFill>
          <a:latin typeface="+mn-lt"/>
          <a:ea typeface="ＭＳ Ｐゴシック" charset="-128"/>
          <a:cs typeface="ＭＳ Ｐゴシック" charset="-128"/>
        </a:defRPr>
      </a:lvl1pPr>
      <a:lvl2pPr marL="182563" indent="-182563" algn="l" defTabSz="457200" rtl="0" eaLnBrk="0" fontAlgn="base" hangingPunct="0">
        <a:lnSpc>
          <a:spcPct val="150000"/>
        </a:lnSpc>
        <a:spcBef>
          <a:spcPts val="0"/>
        </a:spcBef>
        <a:spcAft>
          <a:spcPct val="0"/>
        </a:spcAft>
        <a:buClr>
          <a:schemeClr val="tx2"/>
        </a:buClr>
        <a:buFont typeface="Arial" pitchFamily="34" charset="0"/>
        <a:buChar char="•"/>
        <a:tabLst/>
        <a:defRPr sz="1800" kern="1200">
          <a:solidFill>
            <a:srgbClr val="505150"/>
          </a:solidFill>
          <a:latin typeface="+mn-lt"/>
          <a:ea typeface="ＭＳ Ｐゴシック" charset="-128"/>
          <a:cs typeface="+mn-cs"/>
        </a:defRPr>
      </a:lvl2pPr>
      <a:lvl3pPr marL="357188" indent="-174625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rgbClr val="505150"/>
          </a:solidFill>
          <a:latin typeface="+mn-lt"/>
          <a:ea typeface="ＭＳ Ｐゴシック" charset="-128"/>
          <a:cs typeface="+mn-cs"/>
        </a:defRPr>
      </a:lvl3pPr>
      <a:lvl4pPr marL="539750" indent="-182563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1400" kern="1200">
          <a:solidFill>
            <a:srgbClr val="505150"/>
          </a:solidFill>
          <a:latin typeface="+mn-lt"/>
          <a:ea typeface="ＭＳ Ｐゴシック" charset="-128"/>
          <a:cs typeface="+mn-cs"/>
        </a:defRPr>
      </a:lvl4pPr>
      <a:lvl5pPr marL="714375" indent="-174625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05150"/>
          </a:solidFill>
          <a:latin typeface="+mn-lt"/>
          <a:ea typeface="ＭＳ Ｐゴシック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30262" y="522926"/>
            <a:ext cx="7505701" cy="955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itle style</a:t>
            </a:r>
            <a:endParaRPr lang="en-US" altLang="en-US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0262" y="1821041"/>
            <a:ext cx="7505701" cy="3809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ext styles</a:t>
            </a:r>
          </a:p>
          <a:p>
            <a:pPr lvl="1"/>
            <a:r>
              <a:rPr lang="en-GB" altLang="en-US" dirty="0" smtClean="0"/>
              <a:t>Second level</a:t>
            </a:r>
          </a:p>
          <a:p>
            <a:pPr lvl="2"/>
            <a:r>
              <a:rPr lang="en-GB" altLang="en-US" dirty="0" smtClean="0"/>
              <a:t>Third level</a:t>
            </a:r>
          </a:p>
          <a:p>
            <a:pPr lvl="3"/>
            <a:r>
              <a:rPr lang="en-GB" altLang="en-US" dirty="0" smtClean="0"/>
              <a:t>Fourth level</a:t>
            </a:r>
          </a:p>
          <a:p>
            <a:pPr lvl="4"/>
            <a:r>
              <a:rPr lang="en-GB" altLang="en-US" dirty="0" smtClean="0"/>
              <a:t>Fifth level</a:t>
            </a:r>
            <a:endParaRPr lang="en-US" alt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320836" y="6381637"/>
            <a:ext cx="1589316" cy="180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rgbClr val="505150"/>
                </a:solidFill>
                <a:latin typeface="+mn-l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ea typeface="ＭＳ Ｐゴシック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55478" y="6381637"/>
            <a:ext cx="2457992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56023" y="6381637"/>
            <a:ext cx="1031966" cy="180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rgbClr val="898989"/>
                </a:solidFill>
                <a:latin typeface="+mn-l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F10C90A-5023-4C4E-BC59-225613EEF096}" type="slidenum">
              <a:rPr lang="en-US" altLang="en-US" smtClean="0"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ea typeface="ＭＳ Ｐゴシック" pitchFamily="34" charset="-128"/>
            </a:endParaRPr>
          </a:p>
        </p:txBody>
      </p:sp>
      <p:pic>
        <p:nvPicPr>
          <p:cNvPr id="9" name="Picture 19" descr="MASTER FSA colour logo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2563" y="6070712"/>
            <a:ext cx="1014412" cy="50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Straight Connector 9"/>
          <p:cNvCxnSpPr/>
          <p:nvPr userDrawn="1"/>
        </p:nvCxnSpPr>
        <p:spPr>
          <a:xfrm>
            <a:off x="822414" y="461963"/>
            <a:ext cx="7524000" cy="0"/>
          </a:xfrm>
          <a:prstGeom prst="line">
            <a:avLst/>
          </a:prstGeom>
          <a:ln w="50800" cap="rnd" cmpd="sng">
            <a:solidFill>
              <a:srgbClr val="0080B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 userDrawn="1"/>
        </p:nvSpPr>
        <p:spPr>
          <a:xfrm>
            <a:off x="361024" y="6360256"/>
            <a:ext cx="165782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800" dirty="0" smtClean="0">
                <a:solidFill>
                  <a:prstClr val="black"/>
                </a:solidFill>
                <a:ea typeface="ＭＳ Ｐゴシック" pitchFamily="34" charset="-128"/>
              </a:rPr>
              <a:t>© 2015 Food Standards Agency</a:t>
            </a:r>
            <a:endParaRPr lang="en-US" altLang="en-US" sz="800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173457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</p:sldLayoutIdLst>
  <p:txStyles>
    <p:titleStyle>
      <a:lvl1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ＭＳ Ｐゴシック" charset="-128"/>
          <a:cs typeface="ＭＳ Ｐゴシック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0" indent="0" algn="l" defTabSz="457200" rtl="0" eaLnBrk="0" fontAlgn="base" hangingPunct="0">
        <a:lnSpc>
          <a:spcPct val="150000"/>
        </a:lnSpc>
        <a:spcBef>
          <a:spcPts val="0"/>
        </a:spcBef>
        <a:spcAft>
          <a:spcPct val="0"/>
        </a:spcAft>
        <a:buFont typeface="Arial" pitchFamily="34" charset="0"/>
        <a:buNone/>
        <a:defRPr sz="1800" kern="1200">
          <a:solidFill>
            <a:srgbClr val="505150"/>
          </a:solidFill>
          <a:latin typeface="+mn-lt"/>
          <a:ea typeface="ＭＳ Ｐゴシック" charset="-128"/>
          <a:cs typeface="ＭＳ Ｐゴシック" charset="-128"/>
        </a:defRPr>
      </a:lvl1pPr>
      <a:lvl2pPr marL="182563" indent="-182563" algn="l" defTabSz="457200" rtl="0" eaLnBrk="0" fontAlgn="base" hangingPunct="0">
        <a:lnSpc>
          <a:spcPct val="150000"/>
        </a:lnSpc>
        <a:spcBef>
          <a:spcPts val="0"/>
        </a:spcBef>
        <a:spcAft>
          <a:spcPct val="0"/>
        </a:spcAft>
        <a:buClr>
          <a:schemeClr val="tx2"/>
        </a:buClr>
        <a:buFont typeface="Arial" pitchFamily="34" charset="0"/>
        <a:buChar char="•"/>
        <a:tabLst/>
        <a:defRPr sz="1800" kern="1200">
          <a:solidFill>
            <a:srgbClr val="505150"/>
          </a:solidFill>
          <a:latin typeface="+mn-lt"/>
          <a:ea typeface="ＭＳ Ｐゴシック" charset="-128"/>
          <a:cs typeface="+mn-cs"/>
        </a:defRPr>
      </a:lvl2pPr>
      <a:lvl3pPr marL="357188" indent="-174625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rgbClr val="505150"/>
          </a:solidFill>
          <a:latin typeface="+mn-lt"/>
          <a:ea typeface="ＭＳ Ｐゴシック" charset="-128"/>
          <a:cs typeface="+mn-cs"/>
        </a:defRPr>
      </a:lvl3pPr>
      <a:lvl4pPr marL="539750" indent="-182563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1400" kern="1200">
          <a:solidFill>
            <a:srgbClr val="505150"/>
          </a:solidFill>
          <a:latin typeface="+mn-lt"/>
          <a:ea typeface="ＭＳ Ｐゴシック" charset="-128"/>
          <a:cs typeface="+mn-cs"/>
        </a:defRPr>
      </a:lvl4pPr>
      <a:lvl5pPr marL="714375" indent="-174625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05150"/>
          </a:solidFill>
          <a:latin typeface="+mn-lt"/>
          <a:ea typeface="ＭＳ Ｐゴシック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30262" y="522926"/>
            <a:ext cx="7505701" cy="955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itle style</a:t>
            </a:r>
            <a:endParaRPr lang="en-US" altLang="en-US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0262" y="1821041"/>
            <a:ext cx="7505701" cy="3809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ext styles</a:t>
            </a:r>
          </a:p>
          <a:p>
            <a:pPr lvl="1"/>
            <a:r>
              <a:rPr lang="en-GB" altLang="en-US" dirty="0" smtClean="0"/>
              <a:t>Second level</a:t>
            </a:r>
          </a:p>
          <a:p>
            <a:pPr lvl="2"/>
            <a:r>
              <a:rPr lang="en-GB" altLang="en-US" dirty="0" smtClean="0"/>
              <a:t>Third level</a:t>
            </a:r>
          </a:p>
          <a:p>
            <a:pPr lvl="3"/>
            <a:r>
              <a:rPr lang="en-GB" altLang="en-US" dirty="0" smtClean="0"/>
              <a:t>Fourth level</a:t>
            </a:r>
          </a:p>
          <a:p>
            <a:pPr lvl="4"/>
            <a:r>
              <a:rPr lang="en-GB" altLang="en-US" dirty="0" smtClean="0"/>
              <a:t>Fifth level</a:t>
            </a:r>
            <a:endParaRPr lang="en-US" alt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320836" y="6381637"/>
            <a:ext cx="1589316" cy="180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rgbClr val="505150"/>
                </a:solidFill>
                <a:latin typeface="+mn-l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ea typeface="ＭＳ Ｐゴシック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55478" y="6381637"/>
            <a:ext cx="2457992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56023" y="6381637"/>
            <a:ext cx="1031966" cy="180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rgbClr val="898989"/>
                </a:solidFill>
                <a:latin typeface="+mn-l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F10C90A-5023-4C4E-BC59-225613EEF096}" type="slidenum">
              <a:rPr lang="en-US" altLang="en-US" smtClean="0"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ea typeface="ＭＳ Ｐゴシック" pitchFamily="34" charset="-128"/>
            </a:endParaRPr>
          </a:p>
        </p:txBody>
      </p:sp>
      <p:pic>
        <p:nvPicPr>
          <p:cNvPr id="9" name="Picture 19" descr="MASTER FSA colour logo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2563" y="6070712"/>
            <a:ext cx="1014412" cy="50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Straight Connector 9"/>
          <p:cNvCxnSpPr/>
          <p:nvPr userDrawn="1"/>
        </p:nvCxnSpPr>
        <p:spPr>
          <a:xfrm>
            <a:off x="822414" y="461963"/>
            <a:ext cx="7524000" cy="0"/>
          </a:xfrm>
          <a:prstGeom prst="line">
            <a:avLst/>
          </a:prstGeom>
          <a:ln w="50800" cap="rnd" cmpd="sng">
            <a:solidFill>
              <a:srgbClr val="0080B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 userDrawn="1"/>
        </p:nvSpPr>
        <p:spPr>
          <a:xfrm>
            <a:off x="361024" y="6360256"/>
            <a:ext cx="165782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800" dirty="0" smtClean="0">
                <a:solidFill>
                  <a:prstClr val="black"/>
                </a:solidFill>
                <a:ea typeface="ＭＳ Ｐゴシック" pitchFamily="34" charset="-128"/>
              </a:rPr>
              <a:t>© 2015 Food Standards Agency</a:t>
            </a:r>
            <a:endParaRPr lang="en-US" altLang="en-US" sz="800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</p:sldLayoutIdLst>
  <p:txStyles>
    <p:titleStyle>
      <a:lvl1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ＭＳ Ｐゴシック" charset="-128"/>
          <a:cs typeface="ＭＳ Ｐゴシック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0" indent="0" algn="l" defTabSz="457200" rtl="0" eaLnBrk="0" fontAlgn="base" hangingPunct="0">
        <a:lnSpc>
          <a:spcPct val="150000"/>
        </a:lnSpc>
        <a:spcBef>
          <a:spcPts val="0"/>
        </a:spcBef>
        <a:spcAft>
          <a:spcPct val="0"/>
        </a:spcAft>
        <a:buFont typeface="Arial" pitchFamily="34" charset="0"/>
        <a:buNone/>
        <a:defRPr sz="1800" kern="1200">
          <a:solidFill>
            <a:srgbClr val="505150"/>
          </a:solidFill>
          <a:latin typeface="+mn-lt"/>
          <a:ea typeface="ＭＳ Ｐゴシック" charset="-128"/>
          <a:cs typeface="ＭＳ Ｐゴシック" charset="-128"/>
        </a:defRPr>
      </a:lvl1pPr>
      <a:lvl2pPr marL="182563" indent="-182563" algn="l" defTabSz="457200" rtl="0" eaLnBrk="0" fontAlgn="base" hangingPunct="0">
        <a:lnSpc>
          <a:spcPct val="150000"/>
        </a:lnSpc>
        <a:spcBef>
          <a:spcPts val="0"/>
        </a:spcBef>
        <a:spcAft>
          <a:spcPct val="0"/>
        </a:spcAft>
        <a:buClr>
          <a:schemeClr val="tx2"/>
        </a:buClr>
        <a:buFont typeface="Arial" pitchFamily="34" charset="0"/>
        <a:buChar char="•"/>
        <a:tabLst/>
        <a:defRPr sz="1800" kern="1200">
          <a:solidFill>
            <a:srgbClr val="505150"/>
          </a:solidFill>
          <a:latin typeface="+mn-lt"/>
          <a:ea typeface="ＭＳ Ｐゴシック" charset="-128"/>
          <a:cs typeface="+mn-cs"/>
        </a:defRPr>
      </a:lvl2pPr>
      <a:lvl3pPr marL="357188" indent="-174625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rgbClr val="505150"/>
          </a:solidFill>
          <a:latin typeface="+mn-lt"/>
          <a:ea typeface="ＭＳ Ｐゴシック" charset="-128"/>
          <a:cs typeface="+mn-cs"/>
        </a:defRPr>
      </a:lvl3pPr>
      <a:lvl4pPr marL="539750" indent="-182563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1400" kern="1200">
          <a:solidFill>
            <a:srgbClr val="505150"/>
          </a:solidFill>
          <a:latin typeface="+mn-lt"/>
          <a:ea typeface="ＭＳ Ｐゴシック" charset="-128"/>
          <a:cs typeface="+mn-cs"/>
        </a:defRPr>
      </a:lvl4pPr>
      <a:lvl5pPr marL="714375" indent="-174625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05150"/>
          </a:solidFill>
          <a:latin typeface="+mn-lt"/>
          <a:ea typeface="ＭＳ Ｐゴシック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46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18B6C60-1E92-4C3F-902D-0634B45D5F40}" type="datetimeFigureOut">
              <a:rPr lang="en-GB" smtClean="0">
                <a:solidFill>
                  <a:prstClr val="black">
                    <a:tint val="75000"/>
                  </a:prstClr>
                </a:solidFill>
                <a:ea typeface="ＭＳ Ｐゴシック" pitchFamily="34" charset="-128"/>
              </a:rPr>
              <a:pPr/>
              <a:t>24/06/2016</a:t>
            </a:fld>
            <a:endParaRPr lang="en-GB">
              <a:solidFill>
                <a:prstClr val="black">
                  <a:tint val="75000"/>
                </a:prstClr>
              </a:solidFill>
              <a:ea typeface="ＭＳ Ｐゴシック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46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>
              <a:solidFill>
                <a:prstClr val="black">
                  <a:tint val="75000"/>
                </a:prstClr>
              </a:solidFill>
              <a:ea typeface="ＭＳ Ｐゴシック" pitchFamily="34" charset="-128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46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60ADA70-2014-411F-908D-80943B5755AB}" type="slidenum">
              <a:rPr lang="en-GB" smtClean="0">
                <a:solidFill>
                  <a:prstClr val="black">
                    <a:tint val="75000"/>
                  </a:prstClr>
                </a:solidFill>
                <a:ea typeface="ＭＳ Ｐゴシック" pitchFamily="34" charset="-128"/>
              </a:rPr>
              <a:pPr/>
              <a:t>‹#›</a:t>
            </a:fld>
            <a:endParaRPr lang="en-GB">
              <a:solidFill>
                <a:prstClr val="black">
                  <a:tint val="75000"/>
                </a:prstClr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56273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délník 12"/>
          <p:cNvSpPr/>
          <p:nvPr userDrawn="1"/>
        </p:nvSpPr>
        <p:spPr>
          <a:xfrm rot="5400000">
            <a:off x="-3086893" y="3086897"/>
            <a:ext cx="6858000" cy="684213"/>
          </a:xfrm>
          <a:prstGeom prst="rect">
            <a:avLst/>
          </a:prstGeom>
          <a:gradFill flip="none" rotWithShape="1">
            <a:gsLst>
              <a:gs pos="100000">
                <a:srgbClr val="006838"/>
              </a:gs>
              <a:gs pos="16000">
                <a:schemeClr val="bg1">
                  <a:lumMod val="95000"/>
                </a:schemeClr>
              </a:gs>
              <a:gs pos="100000">
                <a:srgbClr val="156B13"/>
              </a:gs>
            </a:gsLst>
            <a:lin ang="10800000" scaled="0"/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027" name="AutoShape 9"/>
          <p:cNvSpPr>
            <a:spLocks noGrp="1" noChangeArrowheads="1"/>
          </p:cNvSpPr>
          <p:nvPr>
            <p:ph type="title"/>
          </p:nvPr>
        </p:nvSpPr>
        <p:spPr bwMode="auto">
          <a:xfrm>
            <a:off x="968375" y="908162"/>
            <a:ext cx="7924800" cy="936625"/>
          </a:xfrm>
          <a:prstGeom prst="roundRect">
            <a:avLst>
              <a:gd name="adj" fmla="val 21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cs-CZ" smtClean="0"/>
              <a:t>Click to edit Master title style</a:t>
            </a:r>
          </a:p>
        </p:txBody>
      </p:sp>
      <p:sp>
        <p:nvSpPr>
          <p:cNvPr id="1028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984250" y="2349612"/>
            <a:ext cx="7835900" cy="3724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l-NL" altLang="cs-CZ" smtClean="0"/>
              <a:t>Click to edit Master text styles</a:t>
            </a:r>
          </a:p>
          <a:p>
            <a:pPr lvl="1"/>
            <a:r>
              <a:rPr lang="nl-NL" altLang="cs-CZ" smtClean="0"/>
              <a:t>First level</a:t>
            </a:r>
          </a:p>
          <a:p>
            <a:pPr lvl="2"/>
            <a:r>
              <a:rPr lang="nl-NL" altLang="cs-CZ" smtClean="0"/>
              <a:t>Second level</a:t>
            </a:r>
          </a:p>
          <a:p>
            <a:pPr lvl="3"/>
            <a:r>
              <a:rPr lang="nl-NL" altLang="cs-CZ" smtClean="0"/>
              <a:t>Third level</a:t>
            </a:r>
          </a:p>
          <a:p>
            <a:pPr lvl="4"/>
            <a:r>
              <a:rPr lang="nl-NL" altLang="cs-CZ" smtClean="0"/>
              <a:t>Fourth level</a:t>
            </a:r>
          </a:p>
        </p:txBody>
      </p:sp>
      <p:pic>
        <p:nvPicPr>
          <p:cNvPr id="1029" name="Picture 6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6" y="6321537"/>
            <a:ext cx="593725" cy="492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0C2738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0C2738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0C2738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0C2738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0C2738"/>
          </a:solidFill>
          <a:latin typeface="Arial" charset="0"/>
          <a:cs typeface="Arial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0C2738"/>
          </a:solidFill>
          <a:latin typeface="Arial" charset="0"/>
          <a:cs typeface="Arial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0C2738"/>
          </a:solidFill>
          <a:latin typeface="Arial" charset="0"/>
          <a:cs typeface="Arial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0C2738"/>
          </a:solidFill>
          <a:latin typeface="Arial" charset="0"/>
          <a:cs typeface="Arial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3200">
          <a:solidFill>
            <a:srgbClr val="0C2738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SzPct val="75000"/>
        <a:buFont typeface="Wingdings" pitchFamily="2" charset="2"/>
        <a:defRPr sz="2800">
          <a:solidFill>
            <a:srgbClr val="00944B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EF4034"/>
        </a:buClr>
        <a:buSzPct val="75000"/>
        <a:buChar char="•"/>
        <a:defRPr sz="2400">
          <a:solidFill>
            <a:srgbClr val="5F5F5F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EF4034"/>
        </a:buClr>
        <a:buSzPct val="85000"/>
        <a:buChar char="•"/>
        <a:defRPr sz="2000">
          <a:solidFill>
            <a:srgbClr val="5F5F5F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EF4034"/>
        </a:buClr>
        <a:buSzPct val="95000"/>
        <a:buChar char="•"/>
        <a:defRPr>
          <a:solidFill>
            <a:srgbClr val="5F5F5F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EF4034"/>
        </a:buClr>
        <a:buSzPct val="85000"/>
        <a:buChar char="•"/>
        <a:defRPr sz="1600">
          <a:solidFill>
            <a:srgbClr val="5F5F5F"/>
          </a:solidFill>
          <a:latin typeface="+mn-lt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EF4034"/>
        </a:buClr>
        <a:buSzPct val="85000"/>
        <a:buChar char="•"/>
        <a:defRPr sz="1600">
          <a:solidFill>
            <a:srgbClr val="5F5F5F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EF4034"/>
        </a:buClr>
        <a:buSzPct val="85000"/>
        <a:buChar char="•"/>
        <a:defRPr sz="1600">
          <a:solidFill>
            <a:srgbClr val="5F5F5F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EF4034"/>
        </a:buClr>
        <a:buSzPct val="85000"/>
        <a:buChar char="•"/>
        <a:defRPr sz="1600">
          <a:solidFill>
            <a:srgbClr val="5F5F5F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EF4034"/>
        </a:buClr>
        <a:buSzPct val="85000"/>
        <a:buChar char="•"/>
        <a:defRPr sz="1600">
          <a:solidFill>
            <a:srgbClr val="5F5F5F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35" descr="new_banner_03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125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81" y="17467"/>
            <a:ext cx="6913563" cy="981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nl-BE" smtClean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5" y="1412875"/>
            <a:ext cx="8642350" cy="489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nl-BE" smtClean="0"/>
              <a:t>Click to edit Master text styles</a:t>
            </a:r>
          </a:p>
          <a:p>
            <a:pPr lvl="1"/>
            <a:r>
              <a:rPr lang="en-GB" altLang="nl-BE" smtClean="0"/>
              <a:t>Second level</a:t>
            </a:r>
          </a:p>
          <a:p>
            <a:pPr lvl="2"/>
            <a:r>
              <a:rPr lang="en-GB" altLang="nl-BE" smtClean="0"/>
              <a:t>Third level</a:t>
            </a:r>
          </a:p>
          <a:p>
            <a:pPr lvl="3"/>
            <a:r>
              <a:rPr lang="en-GB" altLang="nl-BE" smtClean="0"/>
              <a:t>Fourth level</a:t>
            </a:r>
          </a:p>
          <a:p>
            <a:pPr lvl="4"/>
            <a:r>
              <a:rPr lang="en-GB" altLang="nl-BE" smtClean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50829" y="6453300"/>
            <a:ext cx="1008063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solidFill>
                  <a:srgbClr val="063170"/>
                </a:solidFill>
              </a:defRPr>
            </a:lvl1pPr>
          </a:lstStyle>
          <a:p>
            <a:fld id="{DB1E9EB7-9B96-459F-A91D-D7DAF781286D}" type="slidenum">
              <a:rPr lang="en-GB" altLang="nl-BE"/>
              <a:pPr/>
              <a:t>‹#›</a:t>
            </a:fld>
            <a:endParaRPr lang="en-GB" altLang="nl-BE"/>
          </a:p>
        </p:txBody>
      </p:sp>
      <p:pic>
        <p:nvPicPr>
          <p:cNvPr id="2" name="Picture 37" descr="logo_original_gradient_shadow_light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332" y="6346937"/>
            <a:ext cx="2714625" cy="33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107921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27025" algn="l" rtl="0" eaLnBrk="0" fontAlgn="base" hangingPunct="0">
        <a:spcBef>
          <a:spcPct val="20000"/>
        </a:spcBef>
        <a:spcAft>
          <a:spcPct val="0"/>
        </a:spcAft>
        <a:defRPr sz="2400">
          <a:solidFill>
            <a:srgbClr val="063170"/>
          </a:solidFill>
          <a:latin typeface="+mn-lt"/>
          <a:ea typeface="+mn-ea"/>
          <a:cs typeface="+mn-cs"/>
        </a:defRPr>
      </a:lvl1pPr>
      <a:lvl2pPr marL="835025" indent="-285750" algn="l" rtl="0" eaLnBrk="0" fontAlgn="base" hangingPunct="0">
        <a:spcBef>
          <a:spcPct val="20000"/>
        </a:spcBef>
        <a:spcAft>
          <a:spcPct val="0"/>
        </a:spcAft>
        <a:buSzPct val="85000"/>
        <a:buChar char="•"/>
        <a:defRPr sz="2400">
          <a:solidFill>
            <a:srgbClr val="063170"/>
          </a:solidFill>
          <a:latin typeface="+mn-lt"/>
        </a:defRPr>
      </a:lvl2pPr>
      <a:lvl3pPr marL="1243013" indent="-2286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063170"/>
          </a:solidFill>
          <a:latin typeface="+mn-lt"/>
        </a:defRPr>
      </a:lvl3pPr>
      <a:lvl4pPr marL="1651000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rgbClr val="063170"/>
          </a:solidFill>
          <a:latin typeface="+mn-lt"/>
        </a:defRPr>
      </a:lvl4pPr>
      <a:lvl5pPr marL="2058988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rgbClr val="063170"/>
          </a:solidFill>
          <a:latin typeface="+mn-lt"/>
        </a:defRPr>
      </a:lvl5pPr>
      <a:lvl6pPr marL="2516188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rgbClr val="063170"/>
          </a:solidFill>
          <a:latin typeface="+mn-lt"/>
        </a:defRPr>
      </a:lvl6pPr>
      <a:lvl7pPr marL="2973388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rgbClr val="063170"/>
          </a:solidFill>
          <a:latin typeface="+mn-lt"/>
        </a:defRPr>
      </a:lvl7pPr>
      <a:lvl8pPr marL="3430588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rgbClr val="063170"/>
          </a:solidFill>
          <a:latin typeface="+mn-lt"/>
        </a:defRPr>
      </a:lvl8pPr>
      <a:lvl9pPr marL="3887788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rgbClr val="063170"/>
          </a:solidFill>
          <a:latin typeface="+mn-lt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Segnaposto titolo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n-US" smtClean="0"/>
              <a:t>Fare clic per modificare stile</a:t>
            </a:r>
          </a:p>
        </p:txBody>
      </p:sp>
      <p:sp>
        <p:nvSpPr>
          <p:cNvPr id="2051" name="Segnaposto testo 2"/>
          <p:cNvSpPr>
            <a:spLocks noGrp="1"/>
          </p:cNvSpPr>
          <p:nvPr>
            <p:ph type="body" idx="1"/>
          </p:nvPr>
        </p:nvSpPr>
        <p:spPr bwMode="auto">
          <a:xfrm>
            <a:off x="457200" y="1600206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en-US" smtClean="0"/>
              <a:t>Fare clic per modificare gli stili del testo dello schema</a:t>
            </a:r>
          </a:p>
          <a:p>
            <a:pPr lvl="1"/>
            <a:r>
              <a:rPr lang="it-IT" altLang="en-US" smtClean="0"/>
              <a:t>Secondo livello</a:t>
            </a:r>
          </a:p>
          <a:p>
            <a:pPr lvl="2"/>
            <a:r>
              <a:rPr lang="it-IT" altLang="en-US" smtClean="0"/>
              <a:t>Terzo livello</a:t>
            </a:r>
          </a:p>
          <a:p>
            <a:pPr lvl="3"/>
            <a:r>
              <a:rPr lang="it-IT" altLang="en-US" smtClean="0"/>
              <a:t>Quarto livello</a:t>
            </a:r>
          </a:p>
          <a:p>
            <a:pPr lvl="4"/>
            <a:r>
              <a:rPr lang="it-IT" altLang="en-US" smtClean="0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7200" y="635646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defTabSz="457200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fld id="{AAA7782B-7884-47EB-8BE2-7CC4811B472F}" type="datetimeFigureOut">
              <a:rPr lang="it-IT"/>
              <a:pPr>
                <a:defRPr/>
              </a:pPr>
              <a:t>24/06/16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124200" y="635646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defTabSz="457200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462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defTabSz="457200" eaLnBrk="1" hangingPunct="1">
              <a:defRPr sz="1200" smtClean="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9C9D893C-D876-405F-AB3B-4B923638D95E}" type="slidenum">
              <a:rPr lang="it-IT" altLang="en-US"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it-IT" altLang="en-US">
              <a:cs typeface="Arial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8584" y="273600"/>
            <a:ext cx="8231262" cy="6228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nl-NL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8584" y="1274400"/>
            <a:ext cx="8231262" cy="4852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l-NL" noProof="0" dirty="0"/>
          </a:p>
        </p:txBody>
      </p:sp>
      <p:sp>
        <p:nvSpPr>
          <p:cNvPr id="9" name="Line 42"/>
          <p:cNvSpPr>
            <a:spLocks noChangeShapeType="1"/>
          </p:cNvSpPr>
          <p:nvPr>
            <p:custDataLst>
              <p:tags r:id="rId2"/>
            </p:custDataLst>
          </p:nvPr>
        </p:nvSpPr>
        <p:spPr bwMode="gray">
          <a:xfrm>
            <a:off x="392723" y="908050"/>
            <a:ext cx="835415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  <a:defRPr/>
            </a:pPr>
            <a:endParaRPr lang="nl-NL" dirty="0">
              <a:solidFill>
                <a:srgbClr val="262626"/>
              </a:solidFill>
            </a:endParaRPr>
          </a:p>
        </p:txBody>
      </p:sp>
      <p:pic>
        <p:nvPicPr>
          <p:cNvPr id="11" name="Picture 4" descr="Logo_VION-FoodGroup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4" cstate="print"/>
          <a:srcRect l="6052" r="5138" b="12993"/>
          <a:stretch>
            <a:fillRect/>
          </a:stretch>
        </p:blipFill>
        <p:spPr bwMode="auto">
          <a:xfrm>
            <a:off x="8203223" y="6319141"/>
            <a:ext cx="552450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75350683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80"/>
        </a:spcBef>
        <a:buClr>
          <a:schemeClr val="tx2"/>
        </a:buClr>
        <a:buFont typeface="Wingdings" pitchFamily="2" charset="2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1600" indent="-284400" algn="l" defTabSz="914400" rtl="0" eaLnBrk="1" latinLnBrk="0" hangingPunct="1">
        <a:spcBef>
          <a:spcPts val="672"/>
        </a:spcBef>
        <a:buClr>
          <a:schemeClr val="tx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800" indent="-228600" algn="l" defTabSz="914400" rtl="0" eaLnBrk="1" latinLnBrk="0" hangingPunct="1">
        <a:spcBef>
          <a:spcPts val="384"/>
        </a:spcBef>
        <a:buClr>
          <a:schemeClr val="tx2"/>
        </a:buClr>
        <a:buFont typeface="Wingdings" pitchFamily="2" charset="2"/>
        <a:buChar char="Ø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2000" indent="-230400" algn="l" defTabSz="914400" rtl="0" eaLnBrk="1" latinLnBrk="0" hangingPunct="1">
        <a:spcBef>
          <a:spcPts val="336"/>
        </a:spcBef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36"/>
        </a:spcBef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8584" y="273600"/>
            <a:ext cx="8231262" cy="6228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nl-NL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8584" y="1274400"/>
            <a:ext cx="8231262" cy="4852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l-NL" noProof="0" dirty="0"/>
          </a:p>
        </p:txBody>
      </p:sp>
      <p:sp>
        <p:nvSpPr>
          <p:cNvPr id="9" name="Line 42"/>
          <p:cNvSpPr>
            <a:spLocks noChangeShapeType="1"/>
          </p:cNvSpPr>
          <p:nvPr>
            <p:custDataLst>
              <p:tags r:id="rId2"/>
            </p:custDataLst>
          </p:nvPr>
        </p:nvSpPr>
        <p:spPr bwMode="gray">
          <a:xfrm>
            <a:off x="392723" y="908050"/>
            <a:ext cx="835415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  <a:defRPr/>
            </a:pPr>
            <a:endParaRPr lang="nl-NL" dirty="0">
              <a:solidFill>
                <a:srgbClr val="262626"/>
              </a:solidFill>
            </a:endParaRPr>
          </a:p>
        </p:txBody>
      </p:sp>
      <p:pic>
        <p:nvPicPr>
          <p:cNvPr id="11" name="Picture 4" descr="Logo_VION-FoodGroup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4" cstate="print"/>
          <a:srcRect l="6052" r="5138" b="12993"/>
          <a:stretch>
            <a:fillRect/>
          </a:stretch>
        </p:blipFill>
        <p:spPr bwMode="auto">
          <a:xfrm>
            <a:off x="8203223" y="6319137"/>
            <a:ext cx="552450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75350683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80"/>
        </a:spcBef>
        <a:buClr>
          <a:schemeClr val="tx2"/>
        </a:buClr>
        <a:buFont typeface="Wingdings" pitchFamily="2" charset="2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1600" indent="-284400" algn="l" defTabSz="914400" rtl="0" eaLnBrk="1" latinLnBrk="0" hangingPunct="1">
        <a:spcBef>
          <a:spcPts val="672"/>
        </a:spcBef>
        <a:buClr>
          <a:schemeClr val="tx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800" indent="-228600" algn="l" defTabSz="914400" rtl="0" eaLnBrk="1" latinLnBrk="0" hangingPunct="1">
        <a:spcBef>
          <a:spcPts val="384"/>
        </a:spcBef>
        <a:buClr>
          <a:schemeClr val="tx2"/>
        </a:buClr>
        <a:buFont typeface="Wingdings" pitchFamily="2" charset="2"/>
        <a:buChar char="Ø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2000" indent="-230400" algn="l" defTabSz="914400" rtl="0" eaLnBrk="1" latinLnBrk="0" hangingPunct="1">
        <a:spcBef>
          <a:spcPts val="336"/>
        </a:spcBef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36"/>
        </a:spcBef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8584" y="273600"/>
            <a:ext cx="8231262" cy="6228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nl-NL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8584" y="1274400"/>
            <a:ext cx="8231262" cy="4852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l-NL" noProof="0" dirty="0"/>
          </a:p>
        </p:txBody>
      </p:sp>
      <p:sp>
        <p:nvSpPr>
          <p:cNvPr id="9" name="Line 42"/>
          <p:cNvSpPr>
            <a:spLocks noChangeShapeType="1"/>
          </p:cNvSpPr>
          <p:nvPr>
            <p:custDataLst>
              <p:tags r:id="rId2"/>
            </p:custDataLst>
          </p:nvPr>
        </p:nvSpPr>
        <p:spPr bwMode="gray">
          <a:xfrm>
            <a:off x="392723" y="908050"/>
            <a:ext cx="835415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  <a:defRPr/>
            </a:pPr>
            <a:endParaRPr lang="nl-NL" dirty="0">
              <a:solidFill>
                <a:srgbClr val="262626"/>
              </a:solidFill>
            </a:endParaRPr>
          </a:p>
        </p:txBody>
      </p:sp>
      <p:pic>
        <p:nvPicPr>
          <p:cNvPr id="11" name="Picture 4" descr="Logo_VION-FoodGroup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4" cstate="print"/>
          <a:srcRect l="6052" r="5138" b="12993"/>
          <a:stretch>
            <a:fillRect/>
          </a:stretch>
        </p:blipFill>
        <p:spPr bwMode="auto">
          <a:xfrm>
            <a:off x="8203223" y="6319131"/>
            <a:ext cx="552450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75350683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80"/>
        </a:spcBef>
        <a:buClr>
          <a:schemeClr val="tx2"/>
        </a:buClr>
        <a:buFont typeface="Wingdings" pitchFamily="2" charset="2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1600" indent="-284400" algn="l" defTabSz="914400" rtl="0" eaLnBrk="1" latinLnBrk="0" hangingPunct="1">
        <a:spcBef>
          <a:spcPts val="672"/>
        </a:spcBef>
        <a:buClr>
          <a:schemeClr val="tx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800" indent="-228600" algn="l" defTabSz="914400" rtl="0" eaLnBrk="1" latinLnBrk="0" hangingPunct="1">
        <a:spcBef>
          <a:spcPts val="384"/>
        </a:spcBef>
        <a:buClr>
          <a:schemeClr val="tx2"/>
        </a:buClr>
        <a:buFont typeface="Wingdings" pitchFamily="2" charset="2"/>
        <a:buChar char="Ø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2000" indent="-230400" algn="l" defTabSz="914400" rtl="0" eaLnBrk="1" latinLnBrk="0" hangingPunct="1">
        <a:spcBef>
          <a:spcPts val="336"/>
        </a:spcBef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36"/>
        </a:spcBef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8584" y="273600"/>
            <a:ext cx="8231262" cy="6228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nl-NL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8584" y="1274400"/>
            <a:ext cx="8231262" cy="4852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l-NL" noProof="0" dirty="0"/>
          </a:p>
        </p:txBody>
      </p:sp>
      <p:sp>
        <p:nvSpPr>
          <p:cNvPr id="9" name="Line 42"/>
          <p:cNvSpPr>
            <a:spLocks noChangeShapeType="1"/>
          </p:cNvSpPr>
          <p:nvPr>
            <p:custDataLst>
              <p:tags r:id="rId2"/>
            </p:custDataLst>
          </p:nvPr>
        </p:nvSpPr>
        <p:spPr bwMode="gray">
          <a:xfrm>
            <a:off x="392723" y="908050"/>
            <a:ext cx="835415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  <a:defRPr/>
            </a:pPr>
            <a:endParaRPr lang="nl-NL" dirty="0">
              <a:solidFill>
                <a:srgbClr val="262626"/>
              </a:solidFill>
            </a:endParaRPr>
          </a:p>
        </p:txBody>
      </p:sp>
      <p:pic>
        <p:nvPicPr>
          <p:cNvPr id="11" name="Picture 4" descr="Logo_VION-FoodGroup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4" cstate="print"/>
          <a:srcRect l="6052" r="5138" b="12993"/>
          <a:stretch>
            <a:fillRect/>
          </a:stretch>
        </p:blipFill>
        <p:spPr bwMode="auto">
          <a:xfrm>
            <a:off x="8203223" y="6319127"/>
            <a:ext cx="552450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75350683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80"/>
        </a:spcBef>
        <a:buClr>
          <a:schemeClr val="tx2"/>
        </a:buClr>
        <a:buFont typeface="Wingdings" pitchFamily="2" charset="2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1600" indent="-284400" algn="l" defTabSz="914400" rtl="0" eaLnBrk="1" latinLnBrk="0" hangingPunct="1">
        <a:spcBef>
          <a:spcPts val="672"/>
        </a:spcBef>
        <a:buClr>
          <a:schemeClr val="tx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800" indent="-228600" algn="l" defTabSz="914400" rtl="0" eaLnBrk="1" latinLnBrk="0" hangingPunct="1">
        <a:spcBef>
          <a:spcPts val="384"/>
        </a:spcBef>
        <a:buClr>
          <a:schemeClr val="tx2"/>
        </a:buClr>
        <a:buFont typeface="Wingdings" pitchFamily="2" charset="2"/>
        <a:buChar char="Ø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2000" indent="-230400" algn="l" defTabSz="914400" rtl="0" eaLnBrk="1" latinLnBrk="0" hangingPunct="1">
        <a:spcBef>
          <a:spcPts val="336"/>
        </a:spcBef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36"/>
        </a:spcBef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8584" y="273600"/>
            <a:ext cx="8231262" cy="6228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nl-NL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8584" y="1274400"/>
            <a:ext cx="8231262" cy="4852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l-NL" noProof="0" dirty="0"/>
          </a:p>
        </p:txBody>
      </p:sp>
      <p:sp>
        <p:nvSpPr>
          <p:cNvPr id="9" name="Line 42"/>
          <p:cNvSpPr>
            <a:spLocks noChangeShapeType="1"/>
          </p:cNvSpPr>
          <p:nvPr>
            <p:custDataLst>
              <p:tags r:id="rId2"/>
            </p:custDataLst>
          </p:nvPr>
        </p:nvSpPr>
        <p:spPr bwMode="gray">
          <a:xfrm>
            <a:off x="392723" y="908050"/>
            <a:ext cx="835415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  <a:defRPr/>
            </a:pPr>
            <a:endParaRPr lang="nl-NL" dirty="0">
              <a:solidFill>
                <a:srgbClr val="262626"/>
              </a:solidFill>
            </a:endParaRPr>
          </a:p>
        </p:txBody>
      </p:sp>
      <p:pic>
        <p:nvPicPr>
          <p:cNvPr id="11" name="Picture 4" descr="Logo_VION-FoodGroup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4" cstate="print"/>
          <a:srcRect l="6052" r="5138" b="12993"/>
          <a:stretch>
            <a:fillRect/>
          </a:stretch>
        </p:blipFill>
        <p:spPr bwMode="auto">
          <a:xfrm>
            <a:off x="8203223" y="6319121"/>
            <a:ext cx="552450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75350683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80"/>
        </a:spcBef>
        <a:buClr>
          <a:schemeClr val="tx2"/>
        </a:buClr>
        <a:buFont typeface="Wingdings" pitchFamily="2" charset="2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1600" indent="-284400" algn="l" defTabSz="914400" rtl="0" eaLnBrk="1" latinLnBrk="0" hangingPunct="1">
        <a:spcBef>
          <a:spcPts val="672"/>
        </a:spcBef>
        <a:buClr>
          <a:schemeClr val="tx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800" indent="-228600" algn="l" defTabSz="914400" rtl="0" eaLnBrk="1" latinLnBrk="0" hangingPunct="1">
        <a:spcBef>
          <a:spcPts val="384"/>
        </a:spcBef>
        <a:buClr>
          <a:schemeClr val="tx2"/>
        </a:buClr>
        <a:buFont typeface="Wingdings" pitchFamily="2" charset="2"/>
        <a:buChar char="Ø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2000" indent="-230400" algn="l" defTabSz="914400" rtl="0" eaLnBrk="1" latinLnBrk="0" hangingPunct="1">
        <a:spcBef>
          <a:spcPts val="336"/>
        </a:spcBef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36"/>
        </a:spcBef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8584" y="273600"/>
            <a:ext cx="8231262" cy="6228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nl-NL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8584" y="1274400"/>
            <a:ext cx="8231262" cy="4852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l-NL" noProof="0" dirty="0"/>
          </a:p>
        </p:txBody>
      </p:sp>
      <p:sp>
        <p:nvSpPr>
          <p:cNvPr id="9" name="Line 42"/>
          <p:cNvSpPr>
            <a:spLocks noChangeShapeType="1"/>
          </p:cNvSpPr>
          <p:nvPr>
            <p:custDataLst>
              <p:tags r:id="rId2"/>
            </p:custDataLst>
          </p:nvPr>
        </p:nvSpPr>
        <p:spPr bwMode="gray">
          <a:xfrm>
            <a:off x="392723" y="908050"/>
            <a:ext cx="835415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  <a:defRPr/>
            </a:pPr>
            <a:endParaRPr lang="nl-NL" dirty="0">
              <a:solidFill>
                <a:srgbClr val="262626"/>
              </a:solidFill>
            </a:endParaRPr>
          </a:p>
        </p:txBody>
      </p:sp>
      <p:pic>
        <p:nvPicPr>
          <p:cNvPr id="11" name="Picture 4" descr="Logo_VION-FoodGroup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4" cstate="print"/>
          <a:srcRect l="6052" r="5138" b="12993"/>
          <a:stretch>
            <a:fillRect/>
          </a:stretch>
        </p:blipFill>
        <p:spPr bwMode="auto">
          <a:xfrm>
            <a:off x="8203223" y="6319113"/>
            <a:ext cx="552450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75350683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80"/>
        </a:spcBef>
        <a:buClr>
          <a:schemeClr val="tx2"/>
        </a:buClr>
        <a:buFont typeface="Wingdings" pitchFamily="2" charset="2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1600" indent="-284400" algn="l" defTabSz="914400" rtl="0" eaLnBrk="1" latinLnBrk="0" hangingPunct="1">
        <a:spcBef>
          <a:spcPts val="672"/>
        </a:spcBef>
        <a:buClr>
          <a:schemeClr val="tx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800" indent="-228600" algn="l" defTabSz="914400" rtl="0" eaLnBrk="1" latinLnBrk="0" hangingPunct="1">
        <a:spcBef>
          <a:spcPts val="384"/>
        </a:spcBef>
        <a:buClr>
          <a:schemeClr val="tx2"/>
        </a:buClr>
        <a:buFont typeface="Wingdings" pitchFamily="2" charset="2"/>
        <a:buChar char="Ø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2000" indent="-230400" algn="l" defTabSz="914400" rtl="0" eaLnBrk="1" latinLnBrk="0" hangingPunct="1">
        <a:spcBef>
          <a:spcPts val="336"/>
        </a:spcBef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36"/>
        </a:spcBef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8584" y="273600"/>
            <a:ext cx="8231262" cy="6228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nl-NL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8584" y="1274400"/>
            <a:ext cx="8231262" cy="4852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l-NL" noProof="0" dirty="0"/>
          </a:p>
        </p:txBody>
      </p:sp>
      <p:sp>
        <p:nvSpPr>
          <p:cNvPr id="9" name="Line 42"/>
          <p:cNvSpPr>
            <a:spLocks noChangeShapeType="1"/>
          </p:cNvSpPr>
          <p:nvPr>
            <p:custDataLst>
              <p:tags r:id="rId2"/>
            </p:custDataLst>
          </p:nvPr>
        </p:nvSpPr>
        <p:spPr bwMode="gray">
          <a:xfrm>
            <a:off x="392723" y="908050"/>
            <a:ext cx="835415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  <a:defRPr/>
            </a:pPr>
            <a:endParaRPr lang="nl-NL" dirty="0">
              <a:solidFill>
                <a:srgbClr val="262626"/>
              </a:solidFill>
            </a:endParaRPr>
          </a:p>
        </p:txBody>
      </p:sp>
      <p:pic>
        <p:nvPicPr>
          <p:cNvPr id="11" name="Picture 4" descr="Logo_VION-FoodGroup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4" cstate="print"/>
          <a:srcRect l="6052" r="5138" b="12993"/>
          <a:stretch>
            <a:fillRect/>
          </a:stretch>
        </p:blipFill>
        <p:spPr bwMode="auto">
          <a:xfrm>
            <a:off x="8203223" y="6319103"/>
            <a:ext cx="552450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75350683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80"/>
        </a:spcBef>
        <a:buClr>
          <a:schemeClr val="tx2"/>
        </a:buClr>
        <a:buFont typeface="Wingdings" pitchFamily="2" charset="2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1600" indent="-284400" algn="l" defTabSz="914400" rtl="0" eaLnBrk="1" latinLnBrk="0" hangingPunct="1">
        <a:spcBef>
          <a:spcPts val="672"/>
        </a:spcBef>
        <a:buClr>
          <a:schemeClr val="tx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800" indent="-228600" algn="l" defTabSz="914400" rtl="0" eaLnBrk="1" latinLnBrk="0" hangingPunct="1">
        <a:spcBef>
          <a:spcPts val="384"/>
        </a:spcBef>
        <a:buClr>
          <a:schemeClr val="tx2"/>
        </a:buClr>
        <a:buFont typeface="Wingdings" pitchFamily="2" charset="2"/>
        <a:buChar char="Ø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2000" indent="-230400" algn="l" defTabSz="914400" rtl="0" eaLnBrk="1" latinLnBrk="0" hangingPunct="1">
        <a:spcBef>
          <a:spcPts val="336"/>
        </a:spcBef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36"/>
        </a:spcBef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8584" y="273600"/>
            <a:ext cx="8231262" cy="6228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nl-NL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8584" y="1274400"/>
            <a:ext cx="8231262" cy="4852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l-NL" noProof="0" dirty="0"/>
          </a:p>
        </p:txBody>
      </p:sp>
      <p:sp>
        <p:nvSpPr>
          <p:cNvPr id="9" name="Line 42"/>
          <p:cNvSpPr>
            <a:spLocks noChangeShapeType="1"/>
          </p:cNvSpPr>
          <p:nvPr>
            <p:custDataLst>
              <p:tags r:id="rId2"/>
            </p:custDataLst>
          </p:nvPr>
        </p:nvSpPr>
        <p:spPr bwMode="gray">
          <a:xfrm>
            <a:off x="392723" y="908050"/>
            <a:ext cx="835415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  <a:defRPr/>
            </a:pPr>
            <a:endParaRPr lang="nl-NL" dirty="0">
              <a:solidFill>
                <a:srgbClr val="262626"/>
              </a:solidFill>
            </a:endParaRPr>
          </a:p>
        </p:txBody>
      </p:sp>
      <p:pic>
        <p:nvPicPr>
          <p:cNvPr id="11" name="Picture 4" descr="Logo_VION-FoodGroup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4" cstate="print"/>
          <a:srcRect l="6052" r="5138" b="12993"/>
          <a:stretch>
            <a:fillRect/>
          </a:stretch>
        </p:blipFill>
        <p:spPr bwMode="auto">
          <a:xfrm>
            <a:off x="8203223" y="6319091"/>
            <a:ext cx="552450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75350683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80"/>
        </a:spcBef>
        <a:buClr>
          <a:schemeClr val="tx2"/>
        </a:buClr>
        <a:buFont typeface="Wingdings" pitchFamily="2" charset="2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1600" indent="-284400" algn="l" defTabSz="914400" rtl="0" eaLnBrk="1" latinLnBrk="0" hangingPunct="1">
        <a:spcBef>
          <a:spcPts val="672"/>
        </a:spcBef>
        <a:buClr>
          <a:schemeClr val="tx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800" indent="-228600" algn="l" defTabSz="914400" rtl="0" eaLnBrk="1" latinLnBrk="0" hangingPunct="1">
        <a:spcBef>
          <a:spcPts val="384"/>
        </a:spcBef>
        <a:buClr>
          <a:schemeClr val="tx2"/>
        </a:buClr>
        <a:buFont typeface="Wingdings" pitchFamily="2" charset="2"/>
        <a:buChar char="Ø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2000" indent="-230400" algn="l" defTabSz="914400" rtl="0" eaLnBrk="1" latinLnBrk="0" hangingPunct="1">
        <a:spcBef>
          <a:spcPts val="336"/>
        </a:spcBef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36"/>
        </a:spcBef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8584" y="273600"/>
            <a:ext cx="8231262" cy="6228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nl-NL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8584" y="1274400"/>
            <a:ext cx="8231262" cy="4852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l-NL" noProof="0" dirty="0"/>
          </a:p>
        </p:txBody>
      </p:sp>
      <p:sp>
        <p:nvSpPr>
          <p:cNvPr id="9" name="Line 42"/>
          <p:cNvSpPr>
            <a:spLocks noChangeShapeType="1"/>
          </p:cNvSpPr>
          <p:nvPr>
            <p:custDataLst>
              <p:tags r:id="rId2"/>
            </p:custDataLst>
          </p:nvPr>
        </p:nvSpPr>
        <p:spPr bwMode="gray">
          <a:xfrm>
            <a:off x="392723" y="908050"/>
            <a:ext cx="835415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  <a:defRPr/>
            </a:pPr>
            <a:endParaRPr lang="nl-NL" dirty="0">
              <a:solidFill>
                <a:srgbClr val="262626"/>
              </a:solidFill>
            </a:endParaRPr>
          </a:p>
        </p:txBody>
      </p:sp>
      <p:pic>
        <p:nvPicPr>
          <p:cNvPr id="11" name="Picture 4" descr="Logo_VION-FoodGroup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4" cstate="print"/>
          <a:srcRect l="6052" r="5138" b="12993"/>
          <a:stretch>
            <a:fillRect/>
          </a:stretch>
        </p:blipFill>
        <p:spPr bwMode="auto">
          <a:xfrm>
            <a:off x="8203223" y="6319077"/>
            <a:ext cx="552450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75350683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80"/>
        </a:spcBef>
        <a:buClr>
          <a:schemeClr val="tx2"/>
        </a:buClr>
        <a:buFont typeface="Wingdings" pitchFamily="2" charset="2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1600" indent="-284400" algn="l" defTabSz="914400" rtl="0" eaLnBrk="1" latinLnBrk="0" hangingPunct="1">
        <a:spcBef>
          <a:spcPts val="672"/>
        </a:spcBef>
        <a:buClr>
          <a:schemeClr val="tx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800" indent="-228600" algn="l" defTabSz="914400" rtl="0" eaLnBrk="1" latinLnBrk="0" hangingPunct="1">
        <a:spcBef>
          <a:spcPts val="384"/>
        </a:spcBef>
        <a:buClr>
          <a:schemeClr val="tx2"/>
        </a:buClr>
        <a:buFont typeface="Wingdings" pitchFamily="2" charset="2"/>
        <a:buChar char="Ø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2000" indent="-230400" algn="l" defTabSz="914400" rtl="0" eaLnBrk="1" latinLnBrk="0" hangingPunct="1">
        <a:spcBef>
          <a:spcPts val="336"/>
        </a:spcBef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36"/>
        </a:spcBef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35" descr="new_banner_0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125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81" y="17467"/>
            <a:ext cx="6913563" cy="981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nl-BE" smtClean="0"/>
              <a:t>Click to edit Master title style</a:t>
            </a:r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5" y="1412875"/>
            <a:ext cx="8642350" cy="489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nl-BE" smtClean="0"/>
              <a:t>Click to edit Master text styles</a:t>
            </a:r>
          </a:p>
          <a:p>
            <a:pPr lvl="1"/>
            <a:r>
              <a:rPr lang="en-GB" altLang="nl-BE" smtClean="0"/>
              <a:t>Second level</a:t>
            </a:r>
          </a:p>
          <a:p>
            <a:pPr lvl="2"/>
            <a:r>
              <a:rPr lang="en-GB" altLang="nl-BE" smtClean="0"/>
              <a:t>Third level</a:t>
            </a:r>
          </a:p>
          <a:p>
            <a:pPr lvl="3"/>
            <a:r>
              <a:rPr lang="en-GB" altLang="nl-BE" smtClean="0"/>
              <a:t>Fourth level</a:t>
            </a:r>
          </a:p>
          <a:p>
            <a:pPr lvl="4"/>
            <a:r>
              <a:rPr lang="en-GB" altLang="nl-BE" smtClean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50829" y="6453300"/>
            <a:ext cx="1008063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solidFill>
                  <a:srgbClr val="06317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E580177-9575-41AA-B10B-83C1395E741A}" type="slidenum">
              <a:rPr lang="en-GB" altLang="nl-BE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altLang="nl-BE" smtClean="0">
              <a:latin typeface="Arial" charset="0"/>
            </a:endParaRPr>
          </a:p>
        </p:txBody>
      </p:sp>
      <p:pic>
        <p:nvPicPr>
          <p:cNvPr id="2" name="Picture 37" descr="logo_original_gradient_shadow_light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332" y="6346937"/>
            <a:ext cx="2714625" cy="33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27025" algn="l" rtl="0" eaLnBrk="0" fontAlgn="base" hangingPunct="0">
        <a:spcBef>
          <a:spcPct val="20000"/>
        </a:spcBef>
        <a:spcAft>
          <a:spcPct val="0"/>
        </a:spcAft>
        <a:defRPr sz="2400">
          <a:solidFill>
            <a:srgbClr val="063170"/>
          </a:solidFill>
          <a:latin typeface="+mn-lt"/>
          <a:ea typeface="+mn-ea"/>
          <a:cs typeface="+mn-cs"/>
        </a:defRPr>
      </a:lvl1pPr>
      <a:lvl2pPr marL="835025" indent="-285750" algn="l" rtl="0" eaLnBrk="0" fontAlgn="base" hangingPunct="0">
        <a:spcBef>
          <a:spcPct val="20000"/>
        </a:spcBef>
        <a:spcAft>
          <a:spcPct val="0"/>
        </a:spcAft>
        <a:buSzPct val="85000"/>
        <a:buChar char="•"/>
        <a:defRPr sz="2400">
          <a:solidFill>
            <a:srgbClr val="063170"/>
          </a:solidFill>
          <a:latin typeface="+mn-lt"/>
        </a:defRPr>
      </a:lvl2pPr>
      <a:lvl3pPr marL="1243013" indent="-2286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063170"/>
          </a:solidFill>
          <a:latin typeface="+mn-lt"/>
        </a:defRPr>
      </a:lvl3pPr>
      <a:lvl4pPr marL="1651000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rgbClr val="063170"/>
          </a:solidFill>
          <a:latin typeface="+mn-lt"/>
        </a:defRPr>
      </a:lvl4pPr>
      <a:lvl5pPr marL="2058988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rgbClr val="063170"/>
          </a:solidFill>
          <a:latin typeface="+mn-lt"/>
        </a:defRPr>
      </a:lvl5pPr>
      <a:lvl6pPr marL="2516188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rgbClr val="063170"/>
          </a:solidFill>
          <a:latin typeface="+mn-lt"/>
        </a:defRPr>
      </a:lvl6pPr>
      <a:lvl7pPr marL="2973388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rgbClr val="063170"/>
          </a:solidFill>
          <a:latin typeface="+mn-lt"/>
        </a:defRPr>
      </a:lvl7pPr>
      <a:lvl8pPr marL="3430588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rgbClr val="063170"/>
          </a:solidFill>
          <a:latin typeface="+mn-lt"/>
        </a:defRPr>
      </a:lvl8pPr>
      <a:lvl9pPr marL="3887788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rgbClr val="063170"/>
          </a:solidFill>
          <a:latin typeface="+mn-lt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8584" y="273600"/>
            <a:ext cx="8231262" cy="622800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nl-NL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8584" y="1274400"/>
            <a:ext cx="8231262" cy="48528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l-NL" noProof="0" dirty="0"/>
          </a:p>
        </p:txBody>
      </p:sp>
      <p:sp>
        <p:nvSpPr>
          <p:cNvPr id="9" name="Line 42"/>
          <p:cNvSpPr>
            <a:spLocks noChangeShapeType="1"/>
          </p:cNvSpPr>
          <p:nvPr>
            <p:custDataLst>
              <p:tags r:id="rId2"/>
            </p:custDataLst>
          </p:nvPr>
        </p:nvSpPr>
        <p:spPr bwMode="gray">
          <a:xfrm>
            <a:off x="392723" y="908050"/>
            <a:ext cx="8354158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spcBef>
                <a:spcPct val="50000"/>
              </a:spcBef>
              <a:defRPr/>
            </a:pPr>
            <a:endParaRPr lang="nl-NL" dirty="0">
              <a:solidFill>
                <a:srgbClr val="262626"/>
              </a:solidFill>
            </a:endParaRPr>
          </a:p>
        </p:txBody>
      </p:sp>
      <p:pic>
        <p:nvPicPr>
          <p:cNvPr id="11" name="Picture 4" descr="Logo_VION-FoodGroup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4" cstate="print"/>
          <a:srcRect l="6052" r="5138" b="12993"/>
          <a:stretch>
            <a:fillRect/>
          </a:stretch>
        </p:blipFill>
        <p:spPr bwMode="auto">
          <a:xfrm>
            <a:off x="8203223" y="6319061"/>
            <a:ext cx="552450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75350683"/>
      </p:ext>
    </p:extLst>
  </p:cSld>
  <p:clrMap bg1="lt1" tx1="dk1" bg2="lt2" tx2="dk2" accent1="accent1" accent2="accent2" accent3="accent3" accent4="accent4" accent5="accent5" accent6="accent6" hlink="hlink" folHlink="folHlink"/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80"/>
        </a:spcBef>
        <a:buClr>
          <a:schemeClr val="tx2"/>
        </a:buClr>
        <a:buFont typeface="Wingdings" pitchFamily="2" charset="2"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741600" indent="-284400" algn="l" defTabSz="914400" rtl="0" eaLnBrk="1" latinLnBrk="0" hangingPunct="1">
        <a:spcBef>
          <a:spcPts val="672"/>
        </a:spcBef>
        <a:buClr>
          <a:schemeClr val="tx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800" indent="-228600" algn="l" defTabSz="914400" rtl="0" eaLnBrk="1" latinLnBrk="0" hangingPunct="1">
        <a:spcBef>
          <a:spcPts val="384"/>
        </a:spcBef>
        <a:buClr>
          <a:schemeClr val="tx2"/>
        </a:buClr>
        <a:buFont typeface="Wingdings" pitchFamily="2" charset="2"/>
        <a:buChar char="Ø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2000" indent="-230400" algn="l" defTabSz="914400" rtl="0" eaLnBrk="1" latinLnBrk="0" hangingPunct="1">
        <a:spcBef>
          <a:spcPts val="336"/>
        </a:spcBef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ts val="336"/>
        </a:spcBef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35" descr="new_banner_0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125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9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50881" y="17467"/>
            <a:ext cx="6913563" cy="981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nl-BE" smtClean="0"/>
              <a:t>Click to edit Master title style</a:t>
            </a:r>
          </a:p>
        </p:txBody>
      </p:sp>
      <p:sp>
        <p:nvSpPr>
          <p:cNvPr id="4100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250825" y="1412875"/>
            <a:ext cx="8642350" cy="489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nl-BE" smtClean="0"/>
              <a:t>Click to edit Master text styles</a:t>
            </a:r>
          </a:p>
          <a:p>
            <a:pPr lvl="1"/>
            <a:r>
              <a:rPr lang="en-GB" altLang="nl-BE" smtClean="0"/>
              <a:t>Second level</a:t>
            </a:r>
          </a:p>
          <a:p>
            <a:pPr lvl="2"/>
            <a:r>
              <a:rPr lang="en-GB" altLang="nl-BE" smtClean="0"/>
              <a:t>Third level</a:t>
            </a:r>
          </a:p>
          <a:p>
            <a:pPr lvl="3"/>
            <a:r>
              <a:rPr lang="en-GB" altLang="nl-BE" smtClean="0"/>
              <a:t>Fourth level</a:t>
            </a:r>
          </a:p>
          <a:p>
            <a:pPr lvl="4"/>
            <a:r>
              <a:rPr lang="en-GB" altLang="nl-BE" smtClean="0"/>
              <a:t>Fifth level</a:t>
            </a: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50829" y="6453300"/>
            <a:ext cx="1008063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>
                <a:solidFill>
                  <a:srgbClr val="063170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6C70006-20AF-43E7-8F74-1FB604D2D4AF}" type="slidenum">
              <a:rPr lang="en-GB" altLang="nl-BE" smtClean="0"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altLang="nl-BE" smtClean="0">
              <a:latin typeface="Arial" charset="0"/>
            </a:endParaRPr>
          </a:p>
        </p:txBody>
      </p:sp>
      <p:pic>
        <p:nvPicPr>
          <p:cNvPr id="4102" name="Picture 37" descr="logo_original_gradient_shadow_light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56332" y="6346937"/>
            <a:ext cx="2714625" cy="334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 b="1">
          <a:solidFill>
            <a:schemeClr val="bg1"/>
          </a:solidFill>
          <a:latin typeface="Verdana" pitchFamily="34" charset="0"/>
        </a:defRPr>
      </a:lvl9pPr>
    </p:titleStyle>
    <p:bodyStyle>
      <a:lvl1pPr marL="342900" indent="-327025" algn="l" rtl="0" eaLnBrk="0" fontAlgn="base" hangingPunct="0">
        <a:spcBef>
          <a:spcPct val="20000"/>
        </a:spcBef>
        <a:spcAft>
          <a:spcPct val="0"/>
        </a:spcAft>
        <a:defRPr sz="2400">
          <a:solidFill>
            <a:srgbClr val="063170"/>
          </a:solidFill>
          <a:latin typeface="+mn-lt"/>
          <a:ea typeface="+mn-ea"/>
          <a:cs typeface="+mn-cs"/>
        </a:defRPr>
      </a:lvl1pPr>
      <a:lvl2pPr marL="835025" indent="-285750" algn="l" rtl="0" eaLnBrk="0" fontAlgn="base" hangingPunct="0">
        <a:spcBef>
          <a:spcPct val="20000"/>
        </a:spcBef>
        <a:spcAft>
          <a:spcPct val="0"/>
        </a:spcAft>
        <a:buSzPct val="85000"/>
        <a:buChar char="•"/>
        <a:defRPr sz="2400">
          <a:solidFill>
            <a:srgbClr val="063170"/>
          </a:solidFill>
          <a:latin typeface="+mn-lt"/>
        </a:defRPr>
      </a:lvl2pPr>
      <a:lvl3pPr marL="1243013" indent="-2286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rgbClr val="063170"/>
          </a:solidFill>
          <a:latin typeface="+mn-lt"/>
        </a:defRPr>
      </a:lvl3pPr>
      <a:lvl4pPr marL="1651000" indent="-228600" algn="l" rtl="0" eaLnBrk="0" fontAlgn="base" hangingPunct="0">
        <a:spcBef>
          <a:spcPct val="20000"/>
        </a:spcBef>
        <a:spcAft>
          <a:spcPct val="0"/>
        </a:spcAft>
        <a:buChar char="–"/>
        <a:defRPr>
          <a:solidFill>
            <a:srgbClr val="063170"/>
          </a:solidFill>
          <a:latin typeface="+mn-lt"/>
        </a:defRPr>
      </a:lvl4pPr>
      <a:lvl5pPr marL="2058988" indent="-22860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rgbClr val="063170"/>
          </a:solidFill>
          <a:latin typeface="+mn-lt"/>
        </a:defRPr>
      </a:lvl5pPr>
      <a:lvl6pPr marL="2516188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rgbClr val="063170"/>
          </a:solidFill>
          <a:latin typeface="+mn-lt"/>
        </a:defRPr>
      </a:lvl6pPr>
      <a:lvl7pPr marL="2973388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rgbClr val="063170"/>
          </a:solidFill>
          <a:latin typeface="+mn-lt"/>
        </a:defRPr>
      </a:lvl7pPr>
      <a:lvl8pPr marL="3430588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rgbClr val="063170"/>
          </a:solidFill>
          <a:latin typeface="+mn-lt"/>
        </a:defRPr>
      </a:lvl8pPr>
      <a:lvl9pPr marL="3887788" indent="-228600" algn="l" rtl="0" fontAlgn="base">
        <a:spcBef>
          <a:spcPct val="20000"/>
        </a:spcBef>
        <a:spcAft>
          <a:spcPct val="0"/>
        </a:spcAft>
        <a:buChar char="»"/>
        <a:defRPr sz="1600">
          <a:solidFill>
            <a:srgbClr val="063170"/>
          </a:solidFill>
          <a:latin typeface="+mn-lt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30262" y="522926"/>
            <a:ext cx="7505701" cy="955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itle style</a:t>
            </a:r>
            <a:endParaRPr lang="en-US" altLang="en-US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0262" y="1821041"/>
            <a:ext cx="7505701" cy="3809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ext styles</a:t>
            </a:r>
          </a:p>
          <a:p>
            <a:pPr lvl="1"/>
            <a:r>
              <a:rPr lang="en-GB" altLang="en-US" dirty="0" smtClean="0"/>
              <a:t>Second level</a:t>
            </a:r>
          </a:p>
          <a:p>
            <a:pPr lvl="2"/>
            <a:r>
              <a:rPr lang="en-GB" altLang="en-US" dirty="0" smtClean="0"/>
              <a:t>Third level</a:t>
            </a:r>
          </a:p>
          <a:p>
            <a:pPr lvl="3"/>
            <a:r>
              <a:rPr lang="en-GB" altLang="en-US" dirty="0" smtClean="0"/>
              <a:t>Fourth level</a:t>
            </a:r>
          </a:p>
          <a:p>
            <a:pPr lvl="4"/>
            <a:r>
              <a:rPr lang="en-GB" altLang="en-US" dirty="0" smtClean="0"/>
              <a:t>Fifth level</a:t>
            </a:r>
            <a:endParaRPr lang="en-US" alt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320836" y="6381637"/>
            <a:ext cx="1589316" cy="180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rgbClr val="505150"/>
                </a:solidFill>
                <a:latin typeface="+mn-l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ea typeface="ＭＳ Ｐゴシック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55478" y="6381637"/>
            <a:ext cx="2457992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56023" y="6381637"/>
            <a:ext cx="1031966" cy="180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rgbClr val="898989"/>
                </a:solidFill>
                <a:latin typeface="+mn-l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F10C90A-5023-4C4E-BC59-225613EEF096}" type="slidenum">
              <a:rPr lang="en-US" altLang="en-US" smtClean="0"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ea typeface="ＭＳ Ｐゴシック" pitchFamily="34" charset="-128"/>
            </a:endParaRPr>
          </a:p>
        </p:txBody>
      </p:sp>
      <p:pic>
        <p:nvPicPr>
          <p:cNvPr id="9" name="Picture 19" descr="MASTER FSA colour logo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2563" y="6070712"/>
            <a:ext cx="1014412" cy="50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Straight Connector 9"/>
          <p:cNvCxnSpPr/>
          <p:nvPr userDrawn="1"/>
        </p:nvCxnSpPr>
        <p:spPr>
          <a:xfrm>
            <a:off x="822414" y="461963"/>
            <a:ext cx="7524000" cy="0"/>
          </a:xfrm>
          <a:prstGeom prst="line">
            <a:avLst/>
          </a:prstGeom>
          <a:ln w="50800" cap="rnd" cmpd="sng">
            <a:solidFill>
              <a:srgbClr val="0080B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 userDrawn="1"/>
        </p:nvSpPr>
        <p:spPr>
          <a:xfrm>
            <a:off x="361024" y="6360256"/>
            <a:ext cx="165782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800" dirty="0" smtClean="0">
                <a:solidFill>
                  <a:prstClr val="black"/>
                </a:solidFill>
                <a:ea typeface="ＭＳ Ｐゴシック" pitchFamily="34" charset="-128"/>
              </a:rPr>
              <a:t>© 2015 Food Standards Agency</a:t>
            </a:r>
            <a:endParaRPr lang="en-US" altLang="en-US" sz="800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</p:sldLayoutIdLst>
  <p:txStyles>
    <p:titleStyle>
      <a:lvl1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ＭＳ Ｐゴシック" charset="-128"/>
          <a:cs typeface="ＭＳ Ｐゴシック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0" indent="0" algn="l" defTabSz="457200" rtl="0" eaLnBrk="0" fontAlgn="base" hangingPunct="0">
        <a:lnSpc>
          <a:spcPct val="150000"/>
        </a:lnSpc>
        <a:spcBef>
          <a:spcPts val="0"/>
        </a:spcBef>
        <a:spcAft>
          <a:spcPct val="0"/>
        </a:spcAft>
        <a:buFont typeface="Arial" pitchFamily="34" charset="0"/>
        <a:buNone/>
        <a:defRPr sz="1800" kern="1200">
          <a:solidFill>
            <a:srgbClr val="505150"/>
          </a:solidFill>
          <a:latin typeface="+mn-lt"/>
          <a:ea typeface="ＭＳ Ｐゴシック" charset="-128"/>
          <a:cs typeface="ＭＳ Ｐゴシック" charset="-128"/>
        </a:defRPr>
      </a:lvl1pPr>
      <a:lvl2pPr marL="182563" indent="-182563" algn="l" defTabSz="457200" rtl="0" eaLnBrk="0" fontAlgn="base" hangingPunct="0">
        <a:lnSpc>
          <a:spcPct val="150000"/>
        </a:lnSpc>
        <a:spcBef>
          <a:spcPts val="0"/>
        </a:spcBef>
        <a:spcAft>
          <a:spcPct val="0"/>
        </a:spcAft>
        <a:buClr>
          <a:schemeClr val="tx2"/>
        </a:buClr>
        <a:buFont typeface="Arial" pitchFamily="34" charset="0"/>
        <a:buChar char="•"/>
        <a:tabLst/>
        <a:defRPr sz="1800" kern="1200">
          <a:solidFill>
            <a:srgbClr val="505150"/>
          </a:solidFill>
          <a:latin typeface="+mn-lt"/>
          <a:ea typeface="ＭＳ Ｐゴシック" charset="-128"/>
          <a:cs typeface="+mn-cs"/>
        </a:defRPr>
      </a:lvl2pPr>
      <a:lvl3pPr marL="357188" indent="-174625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rgbClr val="505150"/>
          </a:solidFill>
          <a:latin typeface="+mn-lt"/>
          <a:ea typeface="ＭＳ Ｐゴシック" charset="-128"/>
          <a:cs typeface="+mn-cs"/>
        </a:defRPr>
      </a:lvl3pPr>
      <a:lvl4pPr marL="539750" indent="-182563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1400" kern="1200">
          <a:solidFill>
            <a:srgbClr val="505150"/>
          </a:solidFill>
          <a:latin typeface="+mn-lt"/>
          <a:ea typeface="ＭＳ Ｐゴシック" charset="-128"/>
          <a:cs typeface="+mn-cs"/>
        </a:defRPr>
      </a:lvl4pPr>
      <a:lvl5pPr marL="714375" indent="-174625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05150"/>
          </a:solidFill>
          <a:latin typeface="+mn-lt"/>
          <a:ea typeface="ＭＳ Ｐゴシック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30262" y="522926"/>
            <a:ext cx="7505701" cy="955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itle style</a:t>
            </a:r>
            <a:endParaRPr lang="en-US" altLang="en-US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0262" y="1821041"/>
            <a:ext cx="7505701" cy="3809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ext styles</a:t>
            </a:r>
          </a:p>
          <a:p>
            <a:pPr lvl="1"/>
            <a:r>
              <a:rPr lang="en-GB" altLang="en-US" dirty="0" smtClean="0"/>
              <a:t>Second level</a:t>
            </a:r>
          </a:p>
          <a:p>
            <a:pPr lvl="2"/>
            <a:r>
              <a:rPr lang="en-GB" altLang="en-US" dirty="0" smtClean="0"/>
              <a:t>Third level</a:t>
            </a:r>
          </a:p>
          <a:p>
            <a:pPr lvl="3"/>
            <a:r>
              <a:rPr lang="en-GB" altLang="en-US" dirty="0" smtClean="0"/>
              <a:t>Fourth level</a:t>
            </a:r>
          </a:p>
          <a:p>
            <a:pPr lvl="4"/>
            <a:r>
              <a:rPr lang="en-GB" altLang="en-US" dirty="0" smtClean="0"/>
              <a:t>Fifth level</a:t>
            </a:r>
            <a:endParaRPr lang="en-US" alt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320836" y="6381637"/>
            <a:ext cx="1589316" cy="180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rgbClr val="505150"/>
                </a:solidFill>
                <a:latin typeface="+mn-l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ea typeface="ＭＳ Ｐゴシック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55478" y="6381637"/>
            <a:ext cx="2457992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56023" y="6381637"/>
            <a:ext cx="1031966" cy="180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rgbClr val="898989"/>
                </a:solidFill>
                <a:latin typeface="+mn-l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F10C90A-5023-4C4E-BC59-225613EEF096}" type="slidenum">
              <a:rPr lang="en-US" altLang="en-US" smtClean="0"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ea typeface="ＭＳ Ｐゴシック" pitchFamily="34" charset="-128"/>
            </a:endParaRPr>
          </a:p>
        </p:txBody>
      </p:sp>
      <p:pic>
        <p:nvPicPr>
          <p:cNvPr id="9" name="Picture 19" descr="MASTER FSA colour logo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2563" y="6070712"/>
            <a:ext cx="1014412" cy="50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Straight Connector 9"/>
          <p:cNvCxnSpPr/>
          <p:nvPr userDrawn="1"/>
        </p:nvCxnSpPr>
        <p:spPr>
          <a:xfrm>
            <a:off x="822414" y="461963"/>
            <a:ext cx="7524000" cy="0"/>
          </a:xfrm>
          <a:prstGeom prst="line">
            <a:avLst/>
          </a:prstGeom>
          <a:ln w="50800" cap="rnd" cmpd="sng">
            <a:solidFill>
              <a:srgbClr val="0080B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 userDrawn="1"/>
        </p:nvSpPr>
        <p:spPr>
          <a:xfrm>
            <a:off x="361024" y="6360256"/>
            <a:ext cx="165782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800" dirty="0" smtClean="0">
                <a:solidFill>
                  <a:prstClr val="black"/>
                </a:solidFill>
                <a:ea typeface="ＭＳ Ｐゴシック" pitchFamily="34" charset="-128"/>
              </a:rPr>
              <a:t>© 2015 Food Standards Agency</a:t>
            </a:r>
            <a:endParaRPr lang="en-US" altLang="en-US" sz="800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</p:sldLayoutIdLst>
  <p:txStyles>
    <p:titleStyle>
      <a:lvl1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ＭＳ Ｐゴシック" charset="-128"/>
          <a:cs typeface="ＭＳ Ｐゴシック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0" indent="0" algn="l" defTabSz="457200" rtl="0" eaLnBrk="0" fontAlgn="base" hangingPunct="0">
        <a:lnSpc>
          <a:spcPct val="150000"/>
        </a:lnSpc>
        <a:spcBef>
          <a:spcPts val="0"/>
        </a:spcBef>
        <a:spcAft>
          <a:spcPct val="0"/>
        </a:spcAft>
        <a:buFont typeface="Arial" pitchFamily="34" charset="0"/>
        <a:buNone/>
        <a:defRPr sz="1800" kern="1200">
          <a:solidFill>
            <a:srgbClr val="505150"/>
          </a:solidFill>
          <a:latin typeface="+mn-lt"/>
          <a:ea typeface="ＭＳ Ｐゴシック" charset="-128"/>
          <a:cs typeface="ＭＳ Ｐゴシック" charset="-128"/>
        </a:defRPr>
      </a:lvl1pPr>
      <a:lvl2pPr marL="182563" indent="-182563" algn="l" defTabSz="457200" rtl="0" eaLnBrk="0" fontAlgn="base" hangingPunct="0">
        <a:lnSpc>
          <a:spcPct val="150000"/>
        </a:lnSpc>
        <a:spcBef>
          <a:spcPts val="0"/>
        </a:spcBef>
        <a:spcAft>
          <a:spcPct val="0"/>
        </a:spcAft>
        <a:buClr>
          <a:schemeClr val="tx2"/>
        </a:buClr>
        <a:buFont typeface="Arial" pitchFamily="34" charset="0"/>
        <a:buChar char="•"/>
        <a:tabLst/>
        <a:defRPr sz="1800" kern="1200">
          <a:solidFill>
            <a:srgbClr val="505150"/>
          </a:solidFill>
          <a:latin typeface="+mn-lt"/>
          <a:ea typeface="ＭＳ Ｐゴシック" charset="-128"/>
          <a:cs typeface="+mn-cs"/>
        </a:defRPr>
      </a:lvl2pPr>
      <a:lvl3pPr marL="357188" indent="-174625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rgbClr val="505150"/>
          </a:solidFill>
          <a:latin typeface="+mn-lt"/>
          <a:ea typeface="ＭＳ Ｐゴシック" charset="-128"/>
          <a:cs typeface="+mn-cs"/>
        </a:defRPr>
      </a:lvl3pPr>
      <a:lvl4pPr marL="539750" indent="-182563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1400" kern="1200">
          <a:solidFill>
            <a:srgbClr val="505150"/>
          </a:solidFill>
          <a:latin typeface="+mn-lt"/>
          <a:ea typeface="ＭＳ Ｐゴシック" charset="-128"/>
          <a:cs typeface="+mn-cs"/>
        </a:defRPr>
      </a:lvl4pPr>
      <a:lvl5pPr marL="714375" indent="-174625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05150"/>
          </a:solidFill>
          <a:latin typeface="+mn-lt"/>
          <a:ea typeface="ＭＳ Ｐゴシック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30262" y="522926"/>
            <a:ext cx="7505701" cy="955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itle style</a:t>
            </a:r>
            <a:endParaRPr lang="en-US" altLang="en-US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0262" y="1821041"/>
            <a:ext cx="7505701" cy="3809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ext styles</a:t>
            </a:r>
          </a:p>
          <a:p>
            <a:pPr lvl="1"/>
            <a:r>
              <a:rPr lang="en-GB" altLang="en-US" dirty="0" smtClean="0"/>
              <a:t>Second level</a:t>
            </a:r>
          </a:p>
          <a:p>
            <a:pPr lvl="2"/>
            <a:r>
              <a:rPr lang="en-GB" altLang="en-US" dirty="0" smtClean="0"/>
              <a:t>Third level</a:t>
            </a:r>
          </a:p>
          <a:p>
            <a:pPr lvl="3"/>
            <a:r>
              <a:rPr lang="en-GB" altLang="en-US" dirty="0" smtClean="0"/>
              <a:t>Fourth level</a:t>
            </a:r>
          </a:p>
          <a:p>
            <a:pPr lvl="4"/>
            <a:r>
              <a:rPr lang="en-GB" altLang="en-US" dirty="0" smtClean="0"/>
              <a:t>Fifth level</a:t>
            </a:r>
            <a:endParaRPr lang="en-US" alt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320836" y="6381637"/>
            <a:ext cx="1589316" cy="180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rgbClr val="505150"/>
                </a:solidFill>
                <a:latin typeface="+mn-l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ea typeface="ＭＳ Ｐゴシック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55478" y="6381637"/>
            <a:ext cx="2457992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56023" y="6381637"/>
            <a:ext cx="1031966" cy="180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rgbClr val="898989"/>
                </a:solidFill>
                <a:latin typeface="+mn-l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F10C90A-5023-4C4E-BC59-225613EEF096}" type="slidenum">
              <a:rPr lang="en-US" altLang="en-US" smtClean="0"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ea typeface="ＭＳ Ｐゴシック" pitchFamily="34" charset="-128"/>
            </a:endParaRPr>
          </a:p>
        </p:txBody>
      </p:sp>
      <p:pic>
        <p:nvPicPr>
          <p:cNvPr id="9" name="Picture 19" descr="MASTER FSA colour logo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2563" y="6070712"/>
            <a:ext cx="1014412" cy="50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Straight Connector 9"/>
          <p:cNvCxnSpPr/>
          <p:nvPr userDrawn="1"/>
        </p:nvCxnSpPr>
        <p:spPr>
          <a:xfrm>
            <a:off x="822414" y="461963"/>
            <a:ext cx="7524000" cy="0"/>
          </a:xfrm>
          <a:prstGeom prst="line">
            <a:avLst/>
          </a:prstGeom>
          <a:ln w="50800" cap="rnd" cmpd="sng">
            <a:solidFill>
              <a:srgbClr val="0080B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 userDrawn="1"/>
        </p:nvSpPr>
        <p:spPr>
          <a:xfrm>
            <a:off x="361024" y="6360256"/>
            <a:ext cx="165782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800" dirty="0" smtClean="0">
                <a:solidFill>
                  <a:prstClr val="black"/>
                </a:solidFill>
                <a:ea typeface="ＭＳ Ｐゴシック" pitchFamily="34" charset="-128"/>
              </a:rPr>
              <a:t>© 2015 Food Standards Agency</a:t>
            </a:r>
            <a:endParaRPr lang="en-US" altLang="en-US" sz="800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</p:sldLayoutIdLst>
  <p:txStyles>
    <p:titleStyle>
      <a:lvl1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ＭＳ Ｐゴシック" charset="-128"/>
          <a:cs typeface="ＭＳ Ｐゴシック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0" indent="0" algn="l" defTabSz="457200" rtl="0" eaLnBrk="0" fontAlgn="base" hangingPunct="0">
        <a:lnSpc>
          <a:spcPct val="150000"/>
        </a:lnSpc>
        <a:spcBef>
          <a:spcPts val="0"/>
        </a:spcBef>
        <a:spcAft>
          <a:spcPct val="0"/>
        </a:spcAft>
        <a:buFont typeface="Arial" pitchFamily="34" charset="0"/>
        <a:buNone/>
        <a:defRPr sz="1800" kern="1200">
          <a:solidFill>
            <a:srgbClr val="505150"/>
          </a:solidFill>
          <a:latin typeface="+mn-lt"/>
          <a:ea typeface="ＭＳ Ｐゴシック" charset="-128"/>
          <a:cs typeface="ＭＳ Ｐゴシック" charset="-128"/>
        </a:defRPr>
      </a:lvl1pPr>
      <a:lvl2pPr marL="182563" indent="-182563" algn="l" defTabSz="457200" rtl="0" eaLnBrk="0" fontAlgn="base" hangingPunct="0">
        <a:lnSpc>
          <a:spcPct val="150000"/>
        </a:lnSpc>
        <a:spcBef>
          <a:spcPts val="0"/>
        </a:spcBef>
        <a:spcAft>
          <a:spcPct val="0"/>
        </a:spcAft>
        <a:buClr>
          <a:schemeClr val="tx2"/>
        </a:buClr>
        <a:buFont typeface="Arial" pitchFamily="34" charset="0"/>
        <a:buChar char="•"/>
        <a:tabLst/>
        <a:defRPr sz="1800" kern="1200">
          <a:solidFill>
            <a:srgbClr val="505150"/>
          </a:solidFill>
          <a:latin typeface="+mn-lt"/>
          <a:ea typeface="ＭＳ Ｐゴシック" charset="-128"/>
          <a:cs typeface="+mn-cs"/>
        </a:defRPr>
      </a:lvl2pPr>
      <a:lvl3pPr marL="357188" indent="-174625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rgbClr val="505150"/>
          </a:solidFill>
          <a:latin typeface="+mn-lt"/>
          <a:ea typeface="ＭＳ Ｐゴシック" charset="-128"/>
          <a:cs typeface="+mn-cs"/>
        </a:defRPr>
      </a:lvl3pPr>
      <a:lvl4pPr marL="539750" indent="-182563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1400" kern="1200">
          <a:solidFill>
            <a:srgbClr val="505150"/>
          </a:solidFill>
          <a:latin typeface="+mn-lt"/>
          <a:ea typeface="ＭＳ Ｐゴシック" charset="-128"/>
          <a:cs typeface="+mn-cs"/>
        </a:defRPr>
      </a:lvl4pPr>
      <a:lvl5pPr marL="714375" indent="-174625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05150"/>
          </a:solidFill>
          <a:latin typeface="+mn-lt"/>
          <a:ea typeface="ＭＳ Ｐゴシック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30262" y="522926"/>
            <a:ext cx="7505701" cy="955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itle style</a:t>
            </a:r>
            <a:endParaRPr lang="en-US" altLang="en-US" dirty="0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0262" y="1821041"/>
            <a:ext cx="7505701" cy="38098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ext styles</a:t>
            </a:r>
          </a:p>
          <a:p>
            <a:pPr lvl="1"/>
            <a:r>
              <a:rPr lang="en-GB" altLang="en-US" dirty="0" smtClean="0"/>
              <a:t>Second level</a:t>
            </a:r>
          </a:p>
          <a:p>
            <a:pPr lvl="2"/>
            <a:r>
              <a:rPr lang="en-GB" altLang="en-US" dirty="0" smtClean="0"/>
              <a:t>Third level</a:t>
            </a:r>
          </a:p>
          <a:p>
            <a:pPr lvl="3"/>
            <a:r>
              <a:rPr lang="en-GB" altLang="en-US" dirty="0" smtClean="0"/>
              <a:t>Fourth level</a:t>
            </a:r>
          </a:p>
          <a:p>
            <a:pPr lvl="4"/>
            <a:r>
              <a:rPr lang="en-GB" altLang="en-US" dirty="0" smtClean="0"/>
              <a:t>Fifth level</a:t>
            </a:r>
            <a:endParaRPr lang="en-US" alt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320836" y="6381637"/>
            <a:ext cx="1589316" cy="180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sz="800">
                <a:solidFill>
                  <a:srgbClr val="505150"/>
                </a:solidFill>
                <a:latin typeface="+mn-l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altLang="en-US" dirty="0">
              <a:ea typeface="ＭＳ Ｐゴシック" pitchFamily="34" charset="-128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55478" y="6381637"/>
            <a:ext cx="2457992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8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>
              <a:defRPr/>
            </a:pP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56023" y="6381637"/>
            <a:ext cx="1031966" cy="180000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>
              <a:defRPr sz="800">
                <a:solidFill>
                  <a:srgbClr val="898989"/>
                </a:solidFill>
                <a:latin typeface="+mn-lt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FF10C90A-5023-4C4E-BC59-225613EEF096}" type="slidenum">
              <a:rPr lang="en-US" altLang="en-US" smtClean="0"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en-US">
              <a:ea typeface="ＭＳ Ｐゴシック" pitchFamily="34" charset="-128"/>
            </a:endParaRPr>
          </a:p>
        </p:txBody>
      </p:sp>
      <p:pic>
        <p:nvPicPr>
          <p:cNvPr id="9" name="Picture 19" descr="MASTER FSA colour logo.jp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2563" y="6070712"/>
            <a:ext cx="1014412" cy="506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Straight Connector 9"/>
          <p:cNvCxnSpPr/>
          <p:nvPr userDrawn="1"/>
        </p:nvCxnSpPr>
        <p:spPr>
          <a:xfrm>
            <a:off x="822414" y="461963"/>
            <a:ext cx="7524000" cy="0"/>
          </a:xfrm>
          <a:prstGeom prst="line">
            <a:avLst/>
          </a:prstGeom>
          <a:ln w="50800" cap="rnd" cmpd="sng">
            <a:solidFill>
              <a:srgbClr val="0080B1"/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 userDrawn="1"/>
        </p:nvSpPr>
        <p:spPr>
          <a:xfrm>
            <a:off x="361024" y="6360256"/>
            <a:ext cx="165782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800" dirty="0" smtClean="0">
                <a:solidFill>
                  <a:prstClr val="black"/>
                </a:solidFill>
                <a:ea typeface="ＭＳ Ｐゴシック" pitchFamily="34" charset="-128"/>
              </a:rPr>
              <a:t>© 2015 Food Standards Agency</a:t>
            </a:r>
            <a:endParaRPr lang="en-US" altLang="en-US" sz="800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</p:sldLayoutIdLst>
  <p:txStyles>
    <p:titleStyle>
      <a:lvl1pPr algn="l" defTabSz="45720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j-lt"/>
          <a:ea typeface="ＭＳ Ｐゴシック" charset="-128"/>
          <a:cs typeface="ＭＳ Ｐゴシック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0" indent="0" algn="l" defTabSz="457200" rtl="0" eaLnBrk="0" fontAlgn="base" hangingPunct="0">
        <a:lnSpc>
          <a:spcPct val="150000"/>
        </a:lnSpc>
        <a:spcBef>
          <a:spcPts val="0"/>
        </a:spcBef>
        <a:spcAft>
          <a:spcPct val="0"/>
        </a:spcAft>
        <a:buFont typeface="Arial" pitchFamily="34" charset="0"/>
        <a:buNone/>
        <a:defRPr sz="1800" kern="1200">
          <a:solidFill>
            <a:srgbClr val="505150"/>
          </a:solidFill>
          <a:latin typeface="+mn-lt"/>
          <a:ea typeface="ＭＳ Ｐゴシック" charset="-128"/>
          <a:cs typeface="ＭＳ Ｐゴシック" charset="-128"/>
        </a:defRPr>
      </a:lvl1pPr>
      <a:lvl2pPr marL="182563" indent="-182563" algn="l" defTabSz="457200" rtl="0" eaLnBrk="0" fontAlgn="base" hangingPunct="0">
        <a:lnSpc>
          <a:spcPct val="150000"/>
        </a:lnSpc>
        <a:spcBef>
          <a:spcPts val="0"/>
        </a:spcBef>
        <a:spcAft>
          <a:spcPct val="0"/>
        </a:spcAft>
        <a:buClr>
          <a:schemeClr val="tx2"/>
        </a:buClr>
        <a:buFont typeface="Arial" pitchFamily="34" charset="0"/>
        <a:buChar char="•"/>
        <a:tabLst/>
        <a:defRPr sz="1800" kern="1200">
          <a:solidFill>
            <a:srgbClr val="505150"/>
          </a:solidFill>
          <a:latin typeface="+mn-lt"/>
          <a:ea typeface="ＭＳ Ｐゴシック" charset="-128"/>
          <a:cs typeface="+mn-cs"/>
        </a:defRPr>
      </a:lvl2pPr>
      <a:lvl3pPr marL="357188" indent="-174625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1600" kern="1200">
          <a:solidFill>
            <a:srgbClr val="505150"/>
          </a:solidFill>
          <a:latin typeface="+mn-lt"/>
          <a:ea typeface="ＭＳ Ｐゴシック" charset="-128"/>
          <a:cs typeface="+mn-cs"/>
        </a:defRPr>
      </a:lvl3pPr>
      <a:lvl4pPr marL="539750" indent="-182563" algn="l" defTabSz="457200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pitchFamily="34" charset="0"/>
        <a:buChar char="•"/>
        <a:defRPr sz="1400" kern="1200">
          <a:solidFill>
            <a:srgbClr val="505150"/>
          </a:solidFill>
          <a:latin typeface="+mn-lt"/>
          <a:ea typeface="ＭＳ Ｐゴシック" charset="-128"/>
          <a:cs typeface="+mn-cs"/>
        </a:defRPr>
      </a:lvl4pPr>
      <a:lvl5pPr marL="714375" indent="-174625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1200" kern="1200">
          <a:solidFill>
            <a:srgbClr val="505150"/>
          </a:solidFill>
          <a:latin typeface="+mn-lt"/>
          <a:ea typeface="ＭＳ Ｐゴシック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4" Type="http://schemas.openxmlformats.org/officeDocument/2006/relationships/image" Target="../media/image15.png"/><Relationship Id="rId5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3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36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notesSlide" Target="../notesSlides/notesSlide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4" Type="http://schemas.openxmlformats.org/officeDocument/2006/relationships/image" Target="../media/image39.png"/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37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40.jpeg"/><Relationship Id="rId3" Type="http://schemas.openxmlformats.org/officeDocument/2006/relationships/image" Target="../media/image4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4" Type="http://schemas.openxmlformats.org/officeDocument/2006/relationships/image" Target="../media/image44.jpeg"/><Relationship Id="rId5" Type="http://schemas.openxmlformats.org/officeDocument/2006/relationships/image" Target="../media/image45.jpeg"/><Relationship Id="rId6" Type="http://schemas.openxmlformats.org/officeDocument/2006/relationships/image" Target="../media/image46.jpeg"/><Relationship Id="rId7" Type="http://schemas.openxmlformats.org/officeDocument/2006/relationships/image" Target="../media/image36.png"/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42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notesSlide" Target="../notesSlides/notesSlide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36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47.jpe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Relationship Id="rId2" Type="http://schemas.openxmlformats.org/officeDocument/2006/relationships/image" Target="../media/image48.png"/><Relationship Id="rId3" Type="http://schemas.openxmlformats.org/officeDocument/2006/relationships/image" Target="../media/image49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6.jpeg"/><Relationship Id="rId12" Type="http://schemas.openxmlformats.org/officeDocument/2006/relationships/image" Target="../media/image27.png"/><Relationship Id="rId13" Type="http://schemas.openxmlformats.org/officeDocument/2006/relationships/image" Target="../media/image28.png"/><Relationship Id="rId14" Type="http://schemas.openxmlformats.org/officeDocument/2006/relationships/image" Target="../media/image29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7.png"/><Relationship Id="rId3" Type="http://schemas.openxmlformats.org/officeDocument/2006/relationships/image" Target="../media/image18.png"/><Relationship Id="rId4" Type="http://schemas.openxmlformats.org/officeDocument/2006/relationships/image" Target="../media/image19.png"/><Relationship Id="rId5" Type="http://schemas.openxmlformats.org/officeDocument/2006/relationships/image" Target="../media/image20.png"/><Relationship Id="rId6" Type="http://schemas.openxmlformats.org/officeDocument/2006/relationships/image" Target="../media/image21.png"/><Relationship Id="rId7" Type="http://schemas.openxmlformats.org/officeDocument/2006/relationships/image" Target="../media/image22.png"/><Relationship Id="rId8" Type="http://schemas.openxmlformats.org/officeDocument/2006/relationships/image" Target="../media/image23.png"/><Relationship Id="rId9" Type="http://schemas.openxmlformats.org/officeDocument/2006/relationships/image" Target="../media/image24.png"/><Relationship Id="rId10" Type="http://schemas.openxmlformats.org/officeDocument/2006/relationships/image" Target="../media/image25.png"/></Relationships>
</file>

<file path=ppt/slides/_rels/slide20.xml.rels><?xml version="1.0" encoding="UTF-8" standalone="yes"?>
<Relationships xmlns="http://schemas.openxmlformats.org/package/2006/relationships"><Relationship Id="rId9" Type="http://schemas.openxmlformats.org/officeDocument/2006/relationships/image" Target="../media/image56.jpeg"/><Relationship Id="rId20" Type="http://schemas.openxmlformats.org/officeDocument/2006/relationships/image" Target="../media/image67.png"/><Relationship Id="rId21" Type="http://schemas.openxmlformats.org/officeDocument/2006/relationships/image" Target="../media/image68.png"/><Relationship Id="rId10" Type="http://schemas.openxmlformats.org/officeDocument/2006/relationships/image" Target="../media/image57.wmf"/><Relationship Id="rId11" Type="http://schemas.openxmlformats.org/officeDocument/2006/relationships/image" Target="../media/image58.wmf"/><Relationship Id="rId12" Type="http://schemas.openxmlformats.org/officeDocument/2006/relationships/image" Target="../media/image59.png"/><Relationship Id="rId13" Type="http://schemas.openxmlformats.org/officeDocument/2006/relationships/image" Target="../media/image60.png"/><Relationship Id="rId14" Type="http://schemas.openxmlformats.org/officeDocument/2006/relationships/image" Target="../media/image61.png"/><Relationship Id="rId15" Type="http://schemas.openxmlformats.org/officeDocument/2006/relationships/image" Target="../media/image62.jpeg"/><Relationship Id="rId16" Type="http://schemas.openxmlformats.org/officeDocument/2006/relationships/image" Target="../media/image63.png"/><Relationship Id="rId17" Type="http://schemas.openxmlformats.org/officeDocument/2006/relationships/image" Target="../media/image64.png"/><Relationship Id="rId18" Type="http://schemas.openxmlformats.org/officeDocument/2006/relationships/image" Target="../media/image65.jpeg"/><Relationship Id="rId19" Type="http://schemas.openxmlformats.org/officeDocument/2006/relationships/image" Target="../media/image66.png"/><Relationship Id="rId1" Type="http://schemas.openxmlformats.org/officeDocument/2006/relationships/slideLayout" Target="../slideLayouts/slideLayout30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50.wmf"/><Relationship Id="rId4" Type="http://schemas.openxmlformats.org/officeDocument/2006/relationships/image" Target="../media/image51.png"/><Relationship Id="rId5" Type="http://schemas.openxmlformats.org/officeDocument/2006/relationships/image" Target="../media/image52.png"/><Relationship Id="rId6" Type="http://schemas.openxmlformats.org/officeDocument/2006/relationships/image" Target="../media/image53.png"/><Relationship Id="rId7" Type="http://schemas.openxmlformats.org/officeDocument/2006/relationships/image" Target="../media/image54.wmf"/><Relationship Id="rId8" Type="http://schemas.openxmlformats.org/officeDocument/2006/relationships/image" Target="../media/image55.png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Relationship Id="rId2" Type="http://schemas.openxmlformats.org/officeDocument/2006/relationships/image" Target="../media/image36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Relationship Id="rId2" Type="http://schemas.openxmlformats.org/officeDocument/2006/relationships/image" Target="../media/image69.jpe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Relationship Id="rId2" Type="http://schemas.openxmlformats.org/officeDocument/2006/relationships/image" Target="../media/image70.jpe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Relationship Id="rId2" Type="http://schemas.openxmlformats.org/officeDocument/2006/relationships/image" Target="../media/image71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jpeg"/><Relationship Id="rId4" Type="http://schemas.openxmlformats.org/officeDocument/2006/relationships/image" Target="../media/image74.png"/><Relationship Id="rId1" Type="http://schemas.openxmlformats.org/officeDocument/2006/relationships/slideLayout" Target="../slideLayouts/slideLayout30.xml"/><Relationship Id="rId2" Type="http://schemas.openxmlformats.org/officeDocument/2006/relationships/image" Target="../media/image72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Relationship Id="rId2" Type="http://schemas.openxmlformats.org/officeDocument/2006/relationships/image" Target="../media/image75.png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Relationship Id="rId2" Type="http://schemas.openxmlformats.org/officeDocument/2006/relationships/image" Target="../media/image76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Relationship Id="rId2" Type="http://schemas.openxmlformats.org/officeDocument/2006/relationships/image" Target="../media/image77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Relationship Id="rId2" Type="http://schemas.openxmlformats.org/officeDocument/2006/relationships/image" Target="../media/image7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0.png"/></Relationships>
</file>

<file path=ppt/slides/_rels/slide30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6.jpeg"/><Relationship Id="rId12" Type="http://schemas.openxmlformats.org/officeDocument/2006/relationships/image" Target="../media/image27.png"/><Relationship Id="rId13" Type="http://schemas.openxmlformats.org/officeDocument/2006/relationships/image" Target="../media/image28.png"/><Relationship Id="rId14" Type="http://schemas.openxmlformats.org/officeDocument/2006/relationships/image" Target="../media/image29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7.png"/><Relationship Id="rId3" Type="http://schemas.openxmlformats.org/officeDocument/2006/relationships/image" Target="../media/image18.png"/><Relationship Id="rId4" Type="http://schemas.openxmlformats.org/officeDocument/2006/relationships/image" Target="../media/image19.png"/><Relationship Id="rId5" Type="http://schemas.openxmlformats.org/officeDocument/2006/relationships/image" Target="../media/image20.png"/><Relationship Id="rId6" Type="http://schemas.openxmlformats.org/officeDocument/2006/relationships/image" Target="../media/image21.png"/><Relationship Id="rId7" Type="http://schemas.openxmlformats.org/officeDocument/2006/relationships/image" Target="../media/image22.png"/><Relationship Id="rId8" Type="http://schemas.openxmlformats.org/officeDocument/2006/relationships/image" Target="../media/image23.png"/><Relationship Id="rId9" Type="http://schemas.openxmlformats.org/officeDocument/2006/relationships/image" Target="../media/image24.png"/><Relationship Id="rId10" Type="http://schemas.openxmlformats.org/officeDocument/2006/relationships/image" Target="../media/image25.png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9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4" Type="http://schemas.openxmlformats.org/officeDocument/2006/relationships/image" Target="../media/image82.png"/><Relationship Id="rId5" Type="http://schemas.openxmlformats.org/officeDocument/2006/relationships/image" Target="../media/image83.png"/><Relationship Id="rId6" Type="http://schemas.openxmlformats.org/officeDocument/2006/relationships/image" Target="../media/image84.png"/><Relationship Id="rId7" Type="http://schemas.openxmlformats.org/officeDocument/2006/relationships/image" Target="../media/image85.png"/><Relationship Id="rId8" Type="http://schemas.openxmlformats.org/officeDocument/2006/relationships/image" Target="../media/image86.png"/><Relationship Id="rId1" Type="http://schemas.openxmlformats.org/officeDocument/2006/relationships/slideLayout" Target="../slideLayouts/slideLayout32.xml"/><Relationship Id="rId2" Type="http://schemas.openxmlformats.org/officeDocument/2006/relationships/image" Target="../media/image80.png"/></Relationships>
</file>

<file path=ppt/slides/_rels/slide33.xml.rels><?xml version="1.0" encoding="UTF-8" standalone="yes"?>
<Relationships xmlns="http://schemas.openxmlformats.org/package/2006/relationships"><Relationship Id="rId11" Type="http://schemas.openxmlformats.org/officeDocument/2006/relationships/image" Target="../media/image94.png"/><Relationship Id="rId12" Type="http://schemas.openxmlformats.org/officeDocument/2006/relationships/image" Target="../media/image95.png"/><Relationship Id="rId13" Type="http://schemas.openxmlformats.org/officeDocument/2006/relationships/image" Target="../media/image96.png"/><Relationship Id="rId14" Type="http://schemas.openxmlformats.org/officeDocument/2006/relationships/image" Target="../media/image97.png"/><Relationship Id="rId1" Type="http://schemas.openxmlformats.org/officeDocument/2006/relationships/slideLayout" Target="../slideLayouts/slideLayout32.xml"/><Relationship Id="rId2" Type="http://schemas.openxmlformats.org/officeDocument/2006/relationships/image" Target="../media/image80.png"/><Relationship Id="rId3" Type="http://schemas.openxmlformats.org/officeDocument/2006/relationships/image" Target="../media/image87.png"/><Relationship Id="rId4" Type="http://schemas.openxmlformats.org/officeDocument/2006/relationships/image" Target="../media/image85.png"/><Relationship Id="rId5" Type="http://schemas.openxmlformats.org/officeDocument/2006/relationships/image" Target="../media/image88.png"/><Relationship Id="rId6" Type="http://schemas.openxmlformats.org/officeDocument/2006/relationships/image" Target="../media/image89.png"/><Relationship Id="rId7" Type="http://schemas.openxmlformats.org/officeDocument/2006/relationships/image" Target="../media/image90.png"/><Relationship Id="rId8" Type="http://schemas.openxmlformats.org/officeDocument/2006/relationships/image" Target="../media/image91.png"/><Relationship Id="rId9" Type="http://schemas.openxmlformats.org/officeDocument/2006/relationships/image" Target="../media/image92.png"/><Relationship Id="rId10" Type="http://schemas.openxmlformats.org/officeDocument/2006/relationships/image" Target="../media/image93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4" Type="http://schemas.openxmlformats.org/officeDocument/2006/relationships/image" Target="../media/image85.png"/><Relationship Id="rId5" Type="http://schemas.openxmlformats.org/officeDocument/2006/relationships/image" Target="../media/image88.png"/><Relationship Id="rId6" Type="http://schemas.openxmlformats.org/officeDocument/2006/relationships/image" Target="../media/image98.png"/><Relationship Id="rId7" Type="http://schemas.openxmlformats.org/officeDocument/2006/relationships/image" Target="../media/image99.png"/><Relationship Id="rId1" Type="http://schemas.openxmlformats.org/officeDocument/2006/relationships/slideLayout" Target="../slideLayouts/slideLayout32.xml"/><Relationship Id="rId2" Type="http://schemas.openxmlformats.org/officeDocument/2006/relationships/image" Target="../media/image80.png"/></Relationships>
</file>

<file path=ppt/slides/_rels/slide35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04.png"/><Relationship Id="rId12" Type="http://schemas.openxmlformats.org/officeDocument/2006/relationships/image" Target="../media/image105.png"/><Relationship Id="rId13" Type="http://schemas.openxmlformats.org/officeDocument/2006/relationships/image" Target="../media/image106.png"/><Relationship Id="rId14" Type="http://schemas.openxmlformats.org/officeDocument/2006/relationships/image" Target="../media/image107.png"/><Relationship Id="rId15" Type="http://schemas.openxmlformats.org/officeDocument/2006/relationships/image" Target="../media/image108.png"/><Relationship Id="rId16" Type="http://schemas.openxmlformats.org/officeDocument/2006/relationships/image" Target="../media/image109.png"/><Relationship Id="rId17" Type="http://schemas.openxmlformats.org/officeDocument/2006/relationships/image" Target="../media/image110.png"/><Relationship Id="rId1" Type="http://schemas.openxmlformats.org/officeDocument/2006/relationships/slideLayout" Target="../slideLayouts/slideLayout32.xml"/><Relationship Id="rId2" Type="http://schemas.openxmlformats.org/officeDocument/2006/relationships/image" Target="../media/image80.png"/><Relationship Id="rId3" Type="http://schemas.openxmlformats.org/officeDocument/2006/relationships/image" Target="../media/image87.png"/><Relationship Id="rId4" Type="http://schemas.openxmlformats.org/officeDocument/2006/relationships/image" Target="../media/image85.png"/><Relationship Id="rId5" Type="http://schemas.openxmlformats.org/officeDocument/2006/relationships/image" Target="../media/image88.png"/><Relationship Id="rId6" Type="http://schemas.openxmlformats.org/officeDocument/2006/relationships/image" Target="../media/image100.png"/><Relationship Id="rId7" Type="http://schemas.openxmlformats.org/officeDocument/2006/relationships/image" Target="../media/image101.png"/><Relationship Id="rId8" Type="http://schemas.openxmlformats.org/officeDocument/2006/relationships/image" Target="../media/image98.png"/><Relationship Id="rId9" Type="http://schemas.openxmlformats.org/officeDocument/2006/relationships/image" Target="../media/image102.png"/><Relationship Id="rId10" Type="http://schemas.openxmlformats.org/officeDocument/2006/relationships/image" Target="../media/image103.png"/></Relationships>
</file>

<file path=ppt/slides/_rels/slide36.xml.rels><?xml version="1.0" encoding="UTF-8" standalone="yes"?>
<Relationships xmlns="http://schemas.openxmlformats.org/package/2006/relationships"><Relationship Id="rId9" Type="http://schemas.openxmlformats.org/officeDocument/2006/relationships/image" Target="../media/image114.png"/><Relationship Id="rId20" Type="http://schemas.openxmlformats.org/officeDocument/2006/relationships/image" Target="../media/image125.png"/><Relationship Id="rId21" Type="http://schemas.openxmlformats.org/officeDocument/2006/relationships/image" Target="../media/image126.png"/><Relationship Id="rId22" Type="http://schemas.openxmlformats.org/officeDocument/2006/relationships/image" Target="../media/image127.png"/><Relationship Id="rId10" Type="http://schemas.openxmlformats.org/officeDocument/2006/relationships/image" Target="../media/image115.png"/><Relationship Id="rId11" Type="http://schemas.openxmlformats.org/officeDocument/2006/relationships/image" Target="../media/image116.png"/><Relationship Id="rId12" Type="http://schemas.openxmlformats.org/officeDocument/2006/relationships/image" Target="../media/image117.png"/><Relationship Id="rId13" Type="http://schemas.openxmlformats.org/officeDocument/2006/relationships/image" Target="../media/image118.png"/><Relationship Id="rId14" Type="http://schemas.openxmlformats.org/officeDocument/2006/relationships/image" Target="../media/image119.png"/><Relationship Id="rId15" Type="http://schemas.openxmlformats.org/officeDocument/2006/relationships/image" Target="../media/image120.png"/><Relationship Id="rId16" Type="http://schemas.openxmlformats.org/officeDocument/2006/relationships/image" Target="../media/image121.png"/><Relationship Id="rId17" Type="http://schemas.openxmlformats.org/officeDocument/2006/relationships/image" Target="../media/image122.png"/><Relationship Id="rId18" Type="http://schemas.openxmlformats.org/officeDocument/2006/relationships/image" Target="../media/image123.png"/><Relationship Id="rId19" Type="http://schemas.openxmlformats.org/officeDocument/2006/relationships/image" Target="../media/image124.png"/><Relationship Id="rId1" Type="http://schemas.openxmlformats.org/officeDocument/2006/relationships/slideLayout" Target="../slideLayouts/slideLayout32.xml"/><Relationship Id="rId2" Type="http://schemas.openxmlformats.org/officeDocument/2006/relationships/image" Target="../media/image80.png"/><Relationship Id="rId3" Type="http://schemas.openxmlformats.org/officeDocument/2006/relationships/image" Target="../media/image87.png"/><Relationship Id="rId4" Type="http://schemas.openxmlformats.org/officeDocument/2006/relationships/image" Target="../media/image85.png"/><Relationship Id="rId5" Type="http://schemas.openxmlformats.org/officeDocument/2006/relationships/image" Target="../media/image88.png"/><Relationship Id="rId6" Type="http://schemas.openxmlformats.org/officeDocument/2006/relationships/image" Target="../media/image111.png"/><Relationship Id="rId7" Type="http://schemas.openxmlformats.org/officeDocument/2006/relationships/image" Target="../media/image112.png"/><Relationship Id="rId8" Type="http://schemas.openxmlformats.org/officeDocument/2006/relationships/image" Target="../media/image113.png"/></Relationships>
</file>

<file path=ppt/slides/_rels/slide37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32.png"/><Relationship Id="rId12" Type="http://schemas.openxmlformats.org/officeDocument/2006/relationships/image" Target="../media/image133.png"/><Relationship Id="rId13" Type="http://schemas.openxmlformats.org/officeDocument/2006/relationships/image" Target="../media/image134.png"/><Relationship Id="rId14" Type="http://schemas.openxmlformats.org/officeDocument/2006/relationships/image" Target="../media/image135.png"/><Relationship Id="rId15" Type="http://schemas.openxmlformats.org/officeDocument/2006/relationships/image" Target="../media/image136.png"/><Relationship Id="rId16" Type="http://schemas.openxmlformats.org/officeDocument/2006/relationships/image" Target="../media/image137.png"/><Relationship Id="rId1" Type="http://schemas.openxmlformats.org/officeDocument/2006/relationships/slideLayout" Target="../slideLayouts/slideLayout32.xml"/><Relationship Id="rId2" Type="http://schemas.openxmlformats.org/officeDocument/2006/relationships/image" Target="../media/image80.png"/><Relationship Id="rId3" Type="http://schemas.openxmlformats.org/officeDocument/2006/relationships/image" Target="../media/image87.png"/><Relationship Id="rId4" Type="http://schemas.openxmlformats.org/officeDocument/2006/relationships/image" Target="../media/image85.png"/><Relationship Id="rId5" Type="http://schemas.openxmlformats.org/officeDocument/2006/relationships/image" Target="../media/image88.png"/><Relationship Id="rId6" Type="http://schemas.openxmlformats.org/officeDocument/2006/relationships/image" Target="../media/image128.png"/><Relationship Id="rId7" Type="http://schemas.openxmlformats.org/officeDocument/2006/relationships/image" Target="../media/image129.png"/><Relationship Id="rId8" Type="http://schemas.openxmlformats.org/officeDocument/2006/relationships/image" Target="../media/image130.png"/><Relationship Id="rId9" Type="http://schemas.openxmlformats.org/officeDocument/2006/relationships/image" Target="../media/image120.png"/><Relationship Id="rId10" Type="http://schemas.openxmlformats.org/officeDocument/2006/relationships/image" Target="../media/image131.png"/></Relationships>
</file>

<file path=ppt/slides/_rels/slide38.xml.rels><?xml version="1.0" encoding="UTF-8" standalone="yes"?>
<Relationships xmlns="http://schemas.openxmlformats.org/package/2006/relationships"><Relationship Id="rId9" Type="http://schemas.openxmlformats.org/officeDocument/2006/relationships/image" Target="../media/image141.png"/><Relationship Id="rId20" Type="http://schemas.openxmlformats.org/officeDocument/2006/relationships/image" Target="../media/image152.png"/><Relationship Id="rId21" Type="http://schemas.openxmlformats.org/officeDocument/2006/relationships/hyperlink" Target="http://ec.europa.eu/anti_fraud/media-corner/press-releases/press-releases/2014/20140429_01_nl.htm" TargetMode="External"/><Relationship Id="rId22" Type="http://schemas.openxmlformats.org/officeDocument/2006/relationships/image" Target="../media/image153.png"/><Relationship Id="rId10" Type="http://schemas.openxmlformats.org/officeDocument/2006/relationships/image" Target="../media/image142.png"/><Relationship Id="rId11" Type="http://schemas.openxmlformats.org/officeDocument/2006/relationships/image" Target="../media/image143.png"/><Relationship Id="rId12" Type="http://schemas.openxmlformats.org/officeDocument/2006/relationships/image" Target="../media/image144.png"/><Relationship Id="rId13" Type="http://schemas.openxmlformats.org/officeDocument/2006/relationships/image" Target="../media/image145.png"/><Relationship Id="rId14" Type="http://schemas.openxmlformats.org/officeDocument/2006/relationships/image" Target="../media/image146.png"/><Relationship Id="rId15" Type="http://schemas.openxmlformats.org/officeDocument/2006/relationships/image" Target="../media/image147.png"/><Relationship Id="rId16" Type="http://schemas.openxmlformats.org/officeDocument/2006/relationships/image" Target="../media/image148.png"/><Relationship Id="rId17" Type="http://schemas.openxmlformats.org/officeDocument/2006/relationships/image" Target="../media/image149.png"/><Relationship Id="rId18" Type="http://schemas.openxmlformats.org/officeDocument/2006/relationships/image" Target="../media/image150.png"/><Relationship Id="rId19" Type="http://schemas.openxmlformats.org/officeDocument/2006/relationships/image" Target="../media/image151.png"/><Relationship Id="rId1" Type="http://schemas.openxmlformats.org/officeDocument/2006/relationships/slideLayout" Target="../slideLayouts/slideLayout32.xml"/><Relationship Id="rId2" Type="http://schemas.openxmlformats.org/officeDocument/2006/relationships/image" Target="../media/image80.png"/><Relationship Id="rId3" Type="http://schemas.openxmlformats.org/officeDocument/2006/relationships/image" Target="../media/image87.png"/><Relationship Id="rId4" Type="http://schemas.openxmlformats.org/officeDocument/2006/relationships/image" Target="../media/image85.png"/><Relationship Id="rId5" Type="http://schemas.openxmlformats.org/officeDocument/2006/relationships/image" Target="../media/image88.png"/><Relationship Id="rId6" Type="http://schemas.openxmlformats.org/officeDocument/2006/relationships/image" Target="../media/image138.png"/><Relationship Id="rId7" Type="http://schemas.openxmlformats.org/officeDocument/2006/relationships/image" Target="../media/image139.png"/><Relationship Id="rId8" Type="http://schemas.openxmlformats.org/officeDocument/2006/relationships/image" Target="../media/image140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4" Type="http://schemas.openxmlformats.org/officeDocument/2006/relationships/image" Target="../media/image85.png"/><Relationship Id="rId5" Type="http://schemas.openxmlformats.org/officeDocument/2006/relationships/image" Target="../media/image88.png"/><Relationship Id="rId6" Type="http://schemas.openxmlformats.org/officeDocument/2006/relationships/image" Target="../media/image154.png"/><Relationship Id="rId1" Type="http://schemas.openxmlformats.org/officeDocument/2006/relationships/slideLayout" Target="../slideLayouts/slideLayout32.xml"/><Relationship Id="rId2" Type="http://schemas.openxmlformats.org/officeDocument/2006/relationships/image" Target="../media/image80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1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4" Type="http://schemas.openxmlformats.org/officeDocument/2006/relationships/image" Target="../media/image82.png"/><Relationship Id="rId5" Type="http://schemas.openxmlformats.org/officeDocument/2006/relationships/image" Target="../media/image83.png"/><Relationship Id="rId6" Type="http://schemas.openxmlformats.org/officeDocument/2006/relationships/image" Target="../media/image84.png"/><Relationship Id="rId7" Type="http://schemas.openxmlformats.org/officeDocument/2006/relationships/image" Target="../media/image85.png"/><Relationship Id="rId8" Type="http://schemas.openxmlformats.org/officeDocument/2006/relationships/image" Target="../media/image155.png"/><Relationship Id="rId9" Type="http://schemas.openxmlformats.org/officeDocument/2006/relationships/image" Target="../media/image156.png"/><Relationship Id="rId10" Type="http://schemas.openxmlformats.org/officeDocument/2006/relationships/image" Target="../media/image157.png"/><Relationship Id="rId11" Type="http://schemas.openxmlformats.org/officeDocument/2006/relationships/image" Target="../media/image158.png"/><Relationship Id="rId1" Type="http://schemas.openxmlformats.org/officeDocument/2006/relationships/slideLayout" Target="../slideLayouts/slideLayout32.xml"/><Relationship Id="rId2" Type="http://schemas.openxmlformats.org/officeDocument/2006/relationships/image" Target="../media/image80.png"/></Relationships>
</file>

<file path=ppt/slides/_rels/slide41.xml.rels><?xml version="1.0" encoding="UTF-8" standalone="yes"?>
<Relationships xmlns="http://schemas.openxmlformats.org/package/2006/relationships"><Relationship Id="rId9" Type="http://schemas.openxmlformats.org/officeDocument/2006/relationships/image" Target="../media/image162.png"/><Relationship Id="rId20" Type="http://schemas.openxmlformats.org/officeDocument/2006/relationships/image" Target="../media/image173.png"/><Relationship Id="rId21" Type="http://schemas.openxmlformats.org/officeDocument/2006/relationships/image" Target="../media/image174.png"/><Relationship Id="rId22" Type="http://schemas.openxmlformats.org/officeDocument/2006/relationships/image" Target="../media/image175.png"/><Relationship Id="rId23" Type="http://schemas.openxmlformats.org/officeDocument/2006/relationships/image" Target="../media/image176.png"/><Relationship Id="rId24" Type="http://schemas.openxmlformats.org/officeDocument/2006/relationships/image" Target="../media/image177.png"/><Relationship Id="rId25" Type="http://schemas.openxmlformats.org/officeDocument/2006/relationships/image" Target="../media/image120.png"/><Relationship Id="rId26" Type="http://schemas.openxmlformats.org/officeDocument/2006/relationships/image" Target="../media/image178.png"/><Relationship Id="rId27" Type="http://schemas.openxmlformats.org/officeDocument/2006/relationships/image" Target="../media/image179.png"/><Relationship Id="rId28" Type="http://schemas.openxmlformats.org/officeDocument/2006/relationships/image" Target="../media/image180.png"/><Relationship Id="rId10" Type="http://schemas.openxmlformats.org/officeDocument/2006/relationships/image" Target="../media/image163.png"/><Relationship Id="rId11" Type="http://schemas.openxmlformats.org/officeDocument/2006/relationships/image" Target="../media/image164.png"/><Relationship Id="rId12" Type="http://schemas.openxmlformats.org/officeDocument/2006/relationships/image" Target="../media/image165.png"/><Relationship Id="rId13" Type="http://schemas.openxmlformats.org/officeDocument/2006/relationships/image" Target="../media/image166.png"/><Relationship Id="rId14" Type="http://schemas.openxmlformats.org/officeDocument/2006/relationships/image" Target="../media/image167.png"/><Relationship Id="rId15" Type="http://schemas.openxmlformats.org/officeDocument/2006/relationships/image" Target="../media/image168.png"/><Relationship Id="rId16" Type="http://schemas.openxmlformats.org/officeDocument/2006/relationships/image" Target="../media/image169.png"/><Relationship Id="rId17" Type="http://schemas.openxmlformats.org/officeDocument/2006/relationships/image" Target="../media/image170.png"/><Relationship Id="rId18" Type="http://schemas.openxmlformats.org/officeDocument/2006/relationships/image" Target="../media/image171.png"/><Relationship Id="rId19" Type="http://schemas.openxmlformats.org/officeDocument/2006/relationships/image" Target="../media/image172.png"/><Relationship Id="rId1" Type="http://schemas.openxmlformats.org/officeDocument/2006/relationships/slideLayout" Target="../slideLayouts/slideLayout32.xml"/><Relationship Id="rId2" Type="http://schemas.openxmlformats.org/officeDocument/2006/relationships/image" Target="../media/image80.png"/><Relationship Id="rId3" Type="http://schemas.openxmlformats.org/officeDocument/2006/relationships/image" Target="../media/image87.png"/><Relationship Id="rId4" Type="http://schemas.openxmlformats.org/officeDocument/2006/relationships/image" Target="../media/image85.png"/><Relationship Id="rId5" Type="http://schemas.openxmlformats.org/officeDocument/2006/relationships/image" Target="../media/image88.png"/><Relationship Id="rId6" Type="http://schemas.openxmlformats.org/officeDocument/2006/relationships/image" Target="../media/image159.png"/><Relationship Id="rId7" Type="http://schemas.openxmlformats.org/officeDocument/2006/relationships/image" Target="../media/image160.png"/><Relationship Id="rId8" Type="http://schemas.openxmlformats.org/officeDocument/2006/relationships/image" Target="../media/image161.png"/></Relationships>
</file>

<file path=ppt/slides/_rels/slide42.xml.rels><?xml version="1.0" encoding="UTF-8" standalone="yes"?>
<Relationships xmlns="http://schemas.openxmlformats.org/package/2006/relationships"><Relationship Id="rId9" Type="http://schemas.openxmlformats.org/officeDocument/2006/relationships/image" Target="../media/image182.png"/><Relationship Id="rId20" Type="http://schemas.openxmlformats.org/officeDocument/2006/relationships/image" Target="../media/image193.png"/><Relationship Id="rId10" Type="http://schemas.openxmlformats.org/officeDocument/2006/relationships/image" Target="../media/image183.png"/><Relationship Id="rId11" Type="http://schemas.openxmlformats.org/officeDocument/2006/relationships/image" Target="../media/image184.png"/><Relationship Id="rId12" Type="http://schemas.openxmlformats.org/officeDocument/2006/relationships/image" Target="../media/image185.png"/><Relationship Id="rId13" Type="http://schemas.openxmlformats.org/officeDocument/2006/relationships/image" Target="../media/image186.png"/><Relationship Id="rId14" Type="http://schemas.openxmlformats.org/officeDocument/2006/relationships/image" Target="../media/image187.png"/><Relationship Id="rId15" Type="http://schemas.openxmlformats.org/officeDocument/2006/relationships/image" Target="../media/image188.png"/><Relationship Id="rId16" Type="http://schemas.openxmlformats.org/officeDocument/2006/relationships/image" Target="../media/image189.png"/><Relationship Id="rId17" Type="http://schemas.openxmlformats.org/officeDocument/2006/relationships/image" Target="../media/image190.png"/><Relationship Id="rId18" Type="http://schemas.openxmlformats.org/officeDocument/2006/relationships/image" Target="../media/image191.png"/><Relationship Id="rId19" Type="http://schemas.openxmlformats.org/officeDocument/2006/relationships/image" Target="../media/image192.png"/><Relationship Id="rId1" Type="http://schemas.openxmlformats.org/officeDocument/2006/relationships/slideLayout" Target="../slideLayouts/slideLayout32.xml"/><Relationship Id="rId2" Type="http://schemas.openxmlformats.org/officeDocument/2006/relationships/image" Target="../media/image80.png"/><Relationship Id="rId3" Type="http://schemas.openxmlformats.org/officeDocument/2006/relationships/image" Target="../media/image87.png"/><Relationship Id="rId4" Type="http://schemas.openxmlformats.org/officeDocument/2006/relationships/image" Target="../media/image85.png"/><Relationship Id="rId5" Type="http://schemas.openxmlformats.org/officeDocument/2006/relationships/image" Target="../media/image88.png"/><Relationship Id="rId6" Type="http://schemas.openxmlformats.org/officeDocument/2006/relationships/image" Target="../media/image156.png"/><Relationship Id="rId7" Type="http://schemas.openxmlformats.org/officeDocument/2006/relationships/image" Target="../media/image157.png"/><Relationship Id="rId8" Type="http://schemas.openxmlformats.org/officeDocument/2006/relationships/image" Target="../media/image181.png"/></Relationships>
</file>

<file path=ppt/slides/_rels/slide43.xml.rels><?xml version="1.0" encoding="UTF-8" standalone="yes"?>
<Relationships xmlns="http://schemas.openxmlformats.org/package/2006/relationships"><Relationship Id="rId9" Type="http://schemas.openxmlformats.org/officeDocument/2006/relationships/image" Target="../media/image195.png"/><Relationship Id="rId20" Type="http://schemas.openxmlformats.org/officeDocument/2006/relationships/image" Target="../media/image206.png"/><Relationship Id="rId21" Type="http://schemas.openxmlformats.org/officeDocument/2006/relationships/image" Target="../media/image207.png"/><Relationship Id="rId22" Type="http://schemas.openxmlformats.org/officeDocument/2006/relationships/image" Target="../media/image208.png"/><Relationship Id="rId23" Type="http://schemas.openxmlformats.org/officeDocument/2006/relationships/image" Target="../media/image209.png"/><Relationship Id="rId24" Type="http://schemas.openxmlformats.org/officeDocument/2006/relationships/image" Target="../media/image210.png"/><Relationship Id="rId10" Type="http://schemas.openxmlformats.org/officeDocument/2006/relationships/image" Target="../media/image196.png"/><Relationship Id="rId11" Type="http://schemas.openxmlformats.org/officeDocument/2006/relationships/image" Target="../media/image197.png"/><Relationship Id="rId12" Type="http://schemas.openxmlformats.org/officeDocument/2006/relationships/image" Target="../media/image198.png"/><Relationship Id="rId13" Type="http://schemas.openxmlformats.org/officeDocument/2006/relationships/image" Target="../media/image199.png"/><Relationship Id="rId14" Type="http://schemas.openxmlformats.org/officeDocument/2006/relationships/image" Target="../media/image200.png"/><Relationship Id="rId15" Type="http://schemas.openxmlformats.org/officeDocument/2006/relationships/image" Target="../media/image201.png"/><Relationship Id="rId16" Type="http://schemas.openxmlformats.org/officeDocument/2006/relationships/image" Target="../media/image202.png"/><Relationship Id="rId17" Type="http://schemas.openxmlformats.org/officeDocument/2006/relationships/image" Target="../media/image203.png"/><Relationship Id="rId18" Type="http://schemas.openxmlformats.org/officeDocument/2006/relationships/image" Target="../media/image204.png"/><Relationship Id="rId19" Type="http://schemas.openxmlformats.org/officeDocument/2006/relationships/image" Target="../media/image205.png"/><Relationship Id="rId1" Type="http://schemas.openxmlformats.org/officeDocument/2006/relationships/slideLayout" Target="../slideLayouts/slideLayout32.xml"/><Relationship Id="rId2" Type="http://schemas.openxmlformats.org/officeDocument/2006/relationships/image" Target="../media/image80.png"/><Relationship Id="rId3" Type="http://schemas.openxmlformats.org/officeDocument/2006/relationships/image" Target="../media/image87.png"/><Relationship Id="rId4" Type="http://schemas.openxmlformats.org/officeDocument/2006/relationships/image" Target="../media/image85.png"/><Relationship Id="rId5" Type="http://schemas.openxmlformats.org/officeDocument/2006/relationships/image" Target="../media/image88.png"/><Relationship Id="rId6" Type="http://schemas.openxmlformats.org/officeDocument/2006/relationships/image" Target="../media/image156.png"/><Relationship Id="rId7" Type="http://schemas.openxmlformats.org/officeDocument/2006/relationships/image" Target="../media/image157.png"/><Relationship Id="rId8" Type="http://schemas.openxmlformats.org/officeDocument/2006/relationships/image" Target="../media/image194.png"/></Relationships>
</file>

<file path=ppt/slides/_rels/slide44.xml.rels><?xml version="1.0" encoding="UTF-8" standalone="yes"?>
<Relationships xmlns="http://schemas.openxmlformats.org/package/2006/relationships"><Relationship Id="rId9" Type="http://schemas.openxmlformats.org/officeDocument/2006/relationships/image" Target="../media/image212.png"/><Relationship Id="rId20" Type="http://schemas.openxmlformats.org/officeDocument/2006/relationships/image" Target="../media/image223.png"/><Relationship Id="rId21" Type="http://schemas.openxmlformats.org/officeDocument/2006/relationships/image" Target="../media/image224.png"/><Relationship Id="rId22" Type="http://schemas.openxmlformats.org/officeDocument/2006/relationships/image" Target="../media/image225.png"/><Relationship Id="rId23" Type="http://schemas.openxmlformats.org/officeDocument/2006/relationships/image" Target="../media/image226.png"/><Relationship Id="rId24" Type="http://schemas.openxmlformats.org/officeDocument/2006/relationships/image" Target="../media/image227.png"/><Relationship Id="rId25" Type="http://schemas.openxmlformats.org/officeDocument/2006/relationships/image" Target="../media/image228.png"/><Relationship Id="rId26" Type="http://schemas.openxmlformats.org/officeDocument/2006/relationships/image" Target="../media/image229.png"/><Relationship Id="rId27" Type="http://schemas.openxmlformats.org/officeDocument/2006/relationships/image" Target="../media/image230.png"/><Relationship Id="rId10" Type="http://schemas.openxmlformats.org/officeDocument/2006/relationships/image" Target="../media/image213.png"/><Relationship Id="rId11" Type="http://schemas.openxmlformats.org/officeDocument/2006/relationships/image" Target="../media/image214.png"/><Relationship Id="rId12" Type="http://schemas.openxmlformats.org/officeDocument/2006/relationships/image" Target="../media/image215.png"/><Relationship Id="rId13" Type="http://schemas.openxmlformats.org/officeDocument/2006/relationships/image" Target="../media/image216.png"/><Relationship Id="rId14" Type="http://schemas.openxmlformats.org/officeDocument/2006/relationships/image" Target="../media/image217.png"/><Relationship Id="rId15" Type="http://schemas.openxmlformats.org/officeDocument/2006/relationships/image" Target="../media/image218.png"/><Relationship Id="rId16" Type="http://schemas.openxmlformats.org/officeDocument/2006/relationships/image" Target="../media/image219.png"/><Relationship Id="rId17" Type="http://schemas.openxmlformats.org/officeDocument/2006/relationships/image" Target="../media/image220.png"/><Relationship Id="rId18" Type="http://schemas.openxmlformats.org/officeDocument/2006/relationships/image" Target="../media/image221.png"/><Relationship Id="rId19" Type="http://schemas.openxmlformats.org/officeDocument/2006/relationships/image" Target="../media/image222.png"/><Relationship Id="rId1" Type="http://schemas.openxmlformats.org/officeDocument/2006/relationships/slideLayout" Target="../slideLayouts/slideLayout32.xml"/><Relationship Id="rId2" Type="http://schemas.openxmlformats.org/officeDocument/2006/relationships/image" Target="../media/image80.png"/><Relationship Id="rId3" Type="http://schemas.openxmlformats.org/officeDocument/2006/relationships/image" Target="../media/image87.png"/><Relationship Id="rId4" Type="http://schemas.openxmlformats.org/officeDocument/2006/relationships/image" Target="../media/image85.png"/><Relationship Id="rId5" Type="http://schemas.openxmlformats.org/officeDocument/2006/relationships/image" Target="../media/image88.png"/><Relationship Id="rId6" Type="http://schemas.openxmlformats.org/officeDocument/2006/relationships/image" Target="../media/image156.png"/><Relationship Id="rId7" Type="http://schemas.openxmlformats.org/officeDocument/2006/relationships/image" Target="../media/image157.png"/><Relationship Id="rId8" Type="http://schemas.openxmlformats.org/officeDocument/2006/relationships/image" Target="../media/image211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4" Type="http://schemas.openxmlformats.org/officeDocument/2006/relationships/image" Target="../media/image85.png"/><Relationship Id="rId5" Type="http://schemas.openxmlformats.org/officeDocument/2006/relationships/image" Target="../media/image88.png"/><Relationship Id="rId6" Type="http://schemas.openxmlformats.org/officeDocument/2006/relationships/image" Target="../media/image156.png"/><Relationship Id="rId7" Type="http://schemas.openxmlformats.org/officeDocument/2006/relationships/image" Target="../media/image157.png"/><Relationship Id="rId8" Type="http://schemas.openxmlformats.org/officeDocument/2006/relationships/image" Target="../media/image231.png"/><Relationship Id="rId9" Type="http://schemas.openxmlformats.org/officeDocument/2006/relationships/image" Target="../media/image232.png"/><Relationship Id="rId10" Type="http://schemas.openxmlformats.org/officeDocument/2006/relationships/image" Target="../media/image233.png"/><Relationship Id="rId11" Type="http://schemas.openxmlformats.org/officeDocument/2006/relationships/image" Target="../media/image234.png"/><Relationship Id="rId1" Type="http://schemas.openxmlformats.org/officeDocument/2006/relationships/slideLayout" Target="../slideLayouts/slideLayout32.xml"/><Relationship Id="rId2" Type="http://schemas.openxmlformats.org/officeDocument/2006/relationships/image" Target="../media/image80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4" Type="http://schemas.openxmlformats.org/officeDocument/2006/relationships/image" Target="../media/image85.png"/><Relationship Id="rId5" Type="http://schemas.openxmlformats.org/officeDocument/2006/relationships/image" Target="../media/image88.png"/><Relationship Id="rId6" Type="http://schemas.openxmlformats.org/officeDocument/2006/relationships/image" Target="../media/image235.png"/><Relationship Id="rId7" Type="http://schemas.openxmlformats.org/officeDocument/2006/relationships/image" Target="../media/image236.png"/><Relationship Id="rId8" Type="http://schemas.openxmlformats.org/officeDocument/2006/relationships/image" Target="../media/image237.png"/><Relationship Id="rId9" Type="http://schemas.openxmlformats.org/officeDocument/2006/relationships/image" Target="../media/image238.png"/><Relationship Id="rId1" Type="http://schemas.openxmlformats.org/officeDocument/2006/relationships/slideLayout" Target="../slideLayouts/slideLayout32.xml"/><Relationship Id="rId2" Type="http://schemas.openxmlformats.org/officeDocument/2006/relationships/image" Target="../media/image80.pn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4" Type="http://schemas.openxmlformats.org/officeDocument/2006/relationships/image" Target="../media/image85.png"/><Relationship Id="rId5" Type="http://schemas.openxmlformats.org/officeDocument/2006/relationships/image" Target="../media/image88.png"/><Relationship Id="rId6" Type="http://schemas.openxmlformats.org/officeDocument/2006/relationships/image" Target="../media/image239.png"/><Relationship Id="rId7" Type="http://schemas.openxmlformats.org/officeDocument/2006/relationships/image" Target="../media/image240.png"/><Relationship Id="rId8" Type="http://schemas.openxmlformats.org/officeDocument/2006/relationships/image" Target="../media/image241.png"/><Relationship Id="rId9" Type="http://schemas.openxmlformats.org/officeDocument/2006/relationships/image" Target="../media/image242.png"/><Relationship Id="rId10" Type="http://schemas.openxmlformats.org/officeDocument/2006/relationships/image" Target="../media/image243.png"/><Relationship Id="rId11" Type="http://schemas.openxmlformats.org/officeDocument/2006/relationships/image" Target="../media/image244.png"/><Relationship Id="rId1" Type="http://schemas.openxmlformats.org/officeDocument/2006/relationships/slideLayout" Target="../slideLayouts/slideLayout32.xml"/><Relationship Id="rId2" Type="http://schemas.openxmlformats.org/officeDocument/2006/relationships/image" Target="../media/image80.png"/></Relationships>
</file>

<file path=ppt/slides/_rels/slide48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53.png"/><Relationship Id="rId12" Type="http://schemas.openxmlformats.org/officeDocument/2006/relationships/image" Target="../media/image254.png"/><Relationship Id="rId1" Type="http://schemas.openxmlformats.org/officeDocument/2006/relationships/slideLayout" Target="../slideLayouts/slideLayout32.xml"/><Relationship Id="rId2" Type="http://schemas.openxmlformats.org/officeDocument/2006/relationships/image" Target="../media/image80.png"/><Relationship Id="rId3" Type="http://schemas.openxmlformats.org/officeDocument/2006/relationships/image" Target="../media/image245.png"/><Relationship Id="rId4" Type="http://schemas.openxmlformats.org/officeDocument/2006/relationships/image" Target="../media/image246.png"/><Relationship Id="rId5" Type="http://schemas.openxmlformats.org/officeDocument/2006/relationships/image" Target="../media/image247.png"/><Relationship Id="rId6" Type="http://schemas.openxmlformats.org/officeDocument/2006/relationships/image" Target="../media/image248.png"/><Relationship Id="rId7" Type="http://schemas.openxmlformats.org/officeDocument/2006/relationships/image" Target="../media/image249.png"/><Relationship Id="rId8" Type="http://schemas.openxmlformats.org/officeDocument/2006/relationships/image" Target="../media/image250.png"/><Relationship Id="rId9" Type="http://schemas.openxmlformats.org/officeDocument/2006/relationships/image" Target="../media/image251.png"/><Relationship Id="rId10" Type="http://schemas.openxmlformats.org/officeDocument/2006/relationships/image" Target="../media/image252.png"/></Relationships>
</file>

<file path=ppt/slides/_rels/slide49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6.jpeg"/><Relationship Id="rId12" Type="http://schemas.openxmlformats.org/officeDocument/2006/relationships/image" Target="../media/image27.png"/><Relationship Id="rId13" Type="http://schemas.openxmlformats.org/officeDocument/2006/relationships/image" Target="../media/image28.png"/><Relationship Id="rId14" Type="http://schemas.openxmlformats.org/officeDocument/2006/relationships/image" Target="../media/image29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7.png"/><Relationship Id="rId3" Type="http://schemas.openxmlformats.org/officeDocument/2006/relationships/image" Target="../media/image18.png"/><Relationship Id="rId4" Type="http://schemas.openxmlformats.org/officeDocument/2006/relationships/image" Target="../media/image19.png"/><Relationship Id="rId5" Type="http://schemas.openxmlformats.org/officeDocument/2006/relationships/image" Target="../media/image20.png"/><Relationship Id="rId6" Type="http://schemas.openxmlformats.org/officeDocument/2006/relationships/image" Target="../media/image21.png"/><Relationship Id="rId7" Type="http://schemas.openxmlformats.org/officeDocument/2006/relationships/image" Target="../media/image22.png"/><Relationship Id="rId8" Type="http://schemas.openxmlformats.org/officeDocument/2006/relationships/image" Target="../media/image23.png"/><Relationship Id="rId9" Type="http://schemas.openxmlformats.org/officeDocument/2006/relationships/image" Target="../media/image24.png"/><Relationship Id="rId10" Type="http://schemas.openxmlformats.org/officeDocument/2006/relationships/image" Target="../media/image25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2.png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55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6.png"/><Relationship Id="rId4" Type="http://schemas.openxmlformats.org/officeDocument/2006/relationships/image" Target="../media/image257.png"/><Relationship Id="rId5" Type="http://schemas.openxmlformats.org/officeDocument/2006/relationships/image" Target="../media/image258.png"/><Relationship Id="rId1" Type="http://schemas.openxmlformats.org/officeDocument/2006/relationships/slideLayout" Target="../slideLayouts/slideLayout32.xml"/><Relationship Id="rId2" Type="http://schemas.openxmlformats.org/officeDocument/2006/relationships/image" Target="../media/image80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9.png"/><Relationship Id="rId4" Type="http://schemas.openxmlformats.org/officeDocument/2006/relationships/image" Target="../media/image260.png"/><Relationship Id="rId5" Type="http://schemas.openxmlformats.org/officeDocument/2006/relationships/image" Target="../media/image261.png"/><Relationship Id="rId6" Type="http://schemas.openxmlformats.org/officeDocument/2006/relationships/image" Target="../media/image262.png"/><Relationship Id="rId7" Type="http://schemas.openxmlformats.org/officeDocument/2006/relationships/image" Target="../media/image263.png"/><Relationship Id="rId1" Type="http://schemas.openxmlformats.org/officeDocument/2006/relationships/slideLayout" Target="../slideLayouts/slideLayout32.xml"/><Relationship Id="rId2" Type="http://schemas.openxmlformats.org/officeDocument/2006/relationships/image" Target="../media/image80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9.png"/><Relationship Id="rId4" Type="http://schemas.openxmlformats.org/officeDocument/2006/relationships/image" Target="../media/image260.png"/><Relationship Id="rId5" Type="http://schemas.openxmlformats.org/officeDocument/2006/relationships/image" Target="../media/image261.png"/><Relationship Id="rId1" Type="http://schemas.openxmlformats.org/officeDocument/2006/relationships/slideLayout" Target="../slideLayouts/slideLayout32.xml"/><Relationship Id="rId2" Type="http://schemas.openxmlformats.org/officeDocument/2006/relationships/image" Target="../media/image80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9.png"/><Relationship Id="rId4" Type="http://schemas.openxmlformats.org/officeDocument/2006/relationships/image" Target="../media/image260.png"/><Relationship Id="rId5" Type="http://schemas.openxmlformats.org/officeDocument/2006/relationships/image" Target="../media/image261.png"/><Relationship Id="rId6" Type="http://schemas.openxmlformats.org/officeDocument/2006/relationships/image" Target="../media/image264.png"/><Relationship Id="rId7" Type="http://schemas.openxmlformats.org/officeDocument/2006/relationships/image" Target="../media/image265.png"/><Relationship Id="rId1" Type="http://schemas.openxmlformats.org/officeDocument/2006/relationships/slideLayout" Target="../slideLayouts/slideLayout32.xml"/><Relationship Id="rId2" Type="http://schemas.openxmlformats.org/officeDocument/2006/relationships/image" Target="../media/image80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9.png"/><Relationship Id="rId4" Type="http://schemas.openxmlformats.org/officeDocument/2006/relationships/image" Target="../media/image260.png"/><Relationship Id="rId5" Type="http://schemas.openxmlformats.org/officeDocument/2006/relationships/image" Target="../media/image261.png"/><Relationship Id="rId1" Type="http://schemas.openxmlformats.org/officeDocument/2006/relationships/slideLayout" Target="../slideLayouts/slideLayout32.xml"/><Relationship Id="rId2" Type="http://schemas.openxmlformats.org/officeDocument/2006/relationships/image" Target="../media/image80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9.png"/><Relationship Id="rId4" Type="http://schemas.openxmlformats.org/officeDocument/2006/relationships/image" Target="../media/image260.png"/><Relationship Id="rId5" Type="http://schemas.openxmlformats.org/officeDocument/2006/relationships/image" Target="../media/image261.png"/><Relationship Id="rId6" Type="http://schemas.openxmlformats.org/officeDocument/2006/relationships/image" Target="../media/image266.png"/><Relationship Id="rId1" Type="http://schemas.openxmlformats.org/officeDocument/2006/relationships/slideLayout" Target="../slideLayouts/slideLayout32.xml"/><Relationship Id="rId2" Type="http://schemas.openxmlformats.org/officeDocument/2006/relationships/image" Target="../media/image80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9.png"/><Relationship Id="rId4" Type="http://schemas.openxmlformats.org/officeDocument/2006/relationships/image" Target="../media/image260.png"/><Relationship Id="rId5" Type="http://schemas.openxmlformats.org/officeDocument/2006/relationships/image" Target="../media/image261.png"/><Relationship Id="rId6" Type="http://schemas.openxmlformats.org/officeDocument/2006/relationships/image" Target="../media/image267.png"/><Relationship Id="rId1" Type="http://schemas.openxmlformats.org/officeDocument/2006/relationships/slideLayout" Target="../slideLayouts/slideLayout32.xml"/><Relationship Id="rId2" Type="http://schemas.openxmlformats.org/officeDocument/2006/relationships/image" Target="../media/image80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9.png"/><Relationship Id="rId4" Type="http://schemas.openxmlformats.org/officeDocument/2006/relationships/image" Target="../media/image260.png"/><Relationship Id="rId5" Type="http://schemas.openxmlformats.org/officeDocument/2006/relationships/image" Target="../media/image261.png"/><Relationship Id="rId6" Type="http://schemas.openxmlformats.org/officeDocument/2006/relationships/image" Target="../media/image268.png"/><Relationship Id="rId1" Type="http://schemas.openxmlformats.org/officeDocument/2006/relationships/slideLayout" Target="../slideLayouts/slideLayout32.xml"/><Relationship Id="rId2" Type="http://schemas.openxmlformats.org/officeDocument/2006/relationships/image" Target="../media/image80.pn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9.png"/><Relationship Id="rId4" Type="http://schemas.openxmlformats.org/officeDocument/2006/relationships/image" Target="../media/image260.png"/><Relationship Id="rId5" Type="http://schemas.openxmlformats.org/officeDocument/2006/relationships/image" Target="../media/image261.png"/><Relationship Id="rId6" Type="http://schemas.openxmlformats.org/officeDocument/2006/relationships/image" Target="../media/image269.png"/><Relationship Id="rId1" Type="http://schemas.openxmlformats.org/officeDocument/2006/relationships/slideLayout" Target="../slideLayouts/slideLayout32.xml"/><Relationship Id="rId2" Type="http://schemas.openxmlformats.org/officeDocument/2006/relationships/image" Target="../media/image8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3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9.png"/><Relationship Id="rId4" Type="http://schemas.openxmlformats.org/officeDocument/2006/relationships/image" Target="../media/image260.png"/><Relationship Id="rId5" Type="http://schemas.openxmlformats.org/officeDocument/2006/relationships/image" Target="../media/image261.png"/><Relationship Id="rId1" Type="http://schemas.openxmlformats.org/officeDocument/2006/relationships/slideLayout" Target="../slideLayouts/slideLayout32.xml"/><Relationship Id="rId2" Type="http://schemas.openxmlformats.org/officeDocument/2006/relationships/image" Target="../media/image80.pn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9.png"/><Relationship Id="rId4" Type="http://schemas.openxmlformats.org/officeDocument/2006/relationships/image" Target="../media/image260.png"/><Relationship Id="rId5" Type="http://schemas.openxmlformats.org/officeDocument/2006/relationships/image" Target="../media/image261.png"/><Relationship Id="rId1" Type="http://schemas.openxmlformats.org/officeDocument/2006/relationships/slideLayout" Target="../slideLayouts/slideLayout32.xml"/><Relationship Id="rId2" Type="http://schemas.openxmlformats.org/officeDocument/2006/relationships/image" Target="../media/image80.png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Relationship Id="rId2" Type="http://schemas.openxmlformats.org/officeDocument/2006/relationships/image" Target="../media/image270.jpeg"/></Relationships>
</file>

<file path=ppt/slides/_rels/slide63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6.jpeg"/><Relationship Id="rId12" Type="http://schemas.openxmlformats.org/officeDocument/2006/relationships/image" Target="../media/image27.png"/><Relationship Id="rId13" Type="http://schemas.openxmlformats.org/officeDocument/2006/relationships/image" Target="../media/image28.png"/><Relationship Id="rId14" Type="http://schemas.openxmlformats.org/officeDocument/2006/relationships/image" Target="../media/image29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7.png"/><Relationship Id="rId3" Type="http://schemas.openxmlformats.org/officeDocument/2006/relationships/image" Target="../media/image18.png"/><Relationship Id="rId4" Type="http://schemas.openxmlformats.org/officeDocument/2006/relationships/image" Target="../media/image19.png"/><Relationship Id="rId5" Type="http://schemas.openxmlformats.org/officeDocument/2006/relationships/image" Target="../media/image20.png"/><Relationship Id="rId6" Type="http://schemas.openxmlformats.org/officeDocument/2006/relationships/image" Target="../media/image21.png"/><Relationship Id="rId7" Type="http://schemas.openxmlformats.org/officeDocument/2006/relationships/image" Target="../media/image22.png"/><Relationship Id="rId8" Type="http://schemas.openxmlformats.org/officeDocument/2006/relationships/image" Target="../media/image23.png"/><Relationship Id="rId9" Type="http://schemas.openxmlformats.org/officeDocument/2006/relationships/image" Target="../media/image24.png"/><Relationship Id="rId10" Type="http://schemas.openxmlformats.org/officeDocument/2006/relationships/image" Target="../media/image25.png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71.png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2.png"/><Relationship Id="rId4" Type="http://schemas.openxmlformats.org/officeDocument/2006/relationships/image" Target="../media/image273.png"/><Relationship Id="rId1" Type="http://schemas.openxmlformats.org/officeDocument/2006/relationships/slideLayout" Target="../slideLayouts/slideLayout34.xml"/><Relationship Id="rId2" Type="http://schemas.openxmlformats.org/officeDocument/2006/relationships/notesSlide" Target="../notesSlides/notesSlide9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Relationship Id="rId2" Type="http://schemas.openxmlformats.org/officeDocument/2006/relationships/image" Target="../media/image274.jpg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275.jpg"/></Relationships>
</file>

<file path=ppt/slides/_rels/slide6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4.png"/></Relationships>
</file>

<file path=ppt/slides/_rels/slide7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39.xml"/><Relationship Id="rId2" Type="http://schemas.openxmlformats.org/officeDocument/2006/relationships/diagramData" Target="../diagrams/data1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7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1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276.jpeg"/></Relationships>
</file>

<file path=ppt/slides/_rels/slide7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7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4" Type="http://schemas.openxmlformats.org/officeDocument/2006/relationships/diagramLayout" Target="../diagrams/layout2.xml"/><Relationship Id="rId5" Type="http://schemas.openxmlformats.org/officeDocument/2006/relationships/diagramQuickStyle" Target="../diagrams/quickStyle2.xml"/><Relationship Id="rId6" Type="http://schemas.openxmlformats.org/officeDocument/2006/relationships/diagramColors" Target="../diagrams/colors2.xml"/><Relationship Id="rId7" Type="http://schemas.microsoft.com/office/2007/relationships/diagramDrawing" Target="../diagrams/drawing2.xml"/><Relationship Id="rId1" Type="http://schemas.openxmlformats.org/officeDocument/2006/relationships/slideLayout" Target="../slideLayouts/slideLayout43.xml"/><Relationship Id="rId2" Type="http://schemas.openxmlformats.org/officeDocument/2006/relationships/notesSlide" Target="../notesSlides/notesSlide12.xml"/></Relationships>
</file>

<file path=ppt/slides/_rels/slide7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Relationship Id="rId2" Type="http://schemas.openxmlformats.org/officeDocument/2006/relationships/notesSlide" Target="../notesSlides/notesSlide13.xml"/><Relationship Id="rId3" Type="http://schemas.openxmlformats.org/officeDocument/2006/relationships/image" Target="../media/image277.jpeg"/></Relationships>
</file>

<file path=ppt/slides/_rels/slide7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5.xml"/><Relationship Id="rId2" Type="http://schemas.openxmlformats.org/officeDocument/2006/relationships/image" Target="../media/image278.jpeg"/></Relationships>
</file>

<file path=ppt/slides/_rels/slide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9.jpg"/><Relationship Id="rId4" Type="http://schemas.openxmlformats.org/officeDocument/2006/relationships/image" Target="../media/image280.jpeg"/><Relationship Id="rId5" Type="http://schemas.openxmlformats.org/officeDocument/2006/relationships/image" Target="../media/image281.jpeg"/><Relationship Id="rId6" Type="http://schemas.openxmlformats.org/officeDocument/2006/relationships/image" Target="../media/image282.jpeg"/><Relationship Id="rId7" Type="http://schemas.openxmlformats.org/officeDocument/2006/relationships/image" Target="../media/image283.jpeg"/><Relationship Id="rId1" Type="http://schemas.openxmlformats.org/officeDocument/2006/relationships/slideLayout" Target="../slideLayouts/slideLayout46.xml"/><Relationship Id="rId2" Type="http://schemas.openxmlformats.org/officeDocument/2006/relationships/notesSlide" Target="../notesSlides/notesSlide14.xml"/></Relationships>
</file>

<file path=ppt/slides/_rels/slide7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Relationship Id="rId2" Type="http://schemas.openxmlformats.org/officeDocument/2006/relationships/image" Target="../media/image284.jpeg"/><Relationship Id="rId3" Type="http://schemas.openxmlformats.org/officeDocument/2006/relationships/image" Target="../media/image285.png"/></Relationships>
</file>

<file path=ppt/slides/_rels/slide7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6.xml"/><Relationship Id="rId2" Type="http://schemas.openxmlformats.org/officeDocument/2006/relationships/image" Target="../media/image286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Relationship Id="rId2" Type="http://schemas.openxmlformats.org/officeDocument/2006/relationships/notesSlide" Target="../notesSlides/notesSlide1.xml"/></Relationships>
</file>

<file path=ppt/slides/_rels/slide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8.jpg"/><Relationship Id="rId4" Type="http://schemas.openxmlformats.org/officeDocument/2006/relationships/image" Target="../media/image289.jpeg"/><Relationship Id="rId1" Type="http://schemas.openxmlformats.org/officeDocument/2006/relationships/slideLayout" Target="../slideLayouts/slideLayout47.xml"/><Relationship Id="rId2" Type="http://schemas.openxmlformats.org/officeDocument/2006/relationships/image" Target="../media/image287.jpeg"/></Relationships>
</file>

<file path=ppt/slides/_rels/slide8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4" Type="http://schemas.openxmlformats.org/officeDocument/2006/relationships/diagramQuickStyle" Target="../diagrams/quickStyle3.xml"/><Relationship Id="rId5" Type="http://schemas.openxmlformats.org/officeDocument/2006/relationships/diagramColors" Target="../diagrams/colors3.xml"/><Relationship Id="rId6" Type="http://schemas.microsoft.com/office/2007/relationships/diagramDrawing" Target="../diagrams/drawing3.xml"/><Relationship Id="rId7" Type="http://schemas.openxmlformats.org/officeDocument/2006/relationships/image" Target="../media/image293.jpeg"/><Relationship Id="rId1" Type="http://schemas.openxmlformats.org/officeDocument/2006/relationships/slideLayout" Target="../slideLayouts/slideLayout48.xml"/><Relationship Id="rId2" Type="http://schemas.openxmlformats.org/officeDocument/2006/relationships/diagramData" Target="../diagrams/data3.xml"/></Relationships>
</file>

<file path=ppt/slides/_rels/slide82.xml.rels><?xml version="1.0" encoding="UTF-8" standalone="yes"?>
<Relationships xmlns="http://schemas.openxmlformats.org/package/2006/relationships"><Relationship Id="rId20" Type="http://schemas.openxmlformats.org/officeDocument/2006/relationships/image" Target="../media/image311.jpeg"/><Relationship Id="rId21" Type="http://schemas.openxmlformats.org/officeDocument/2006/relationships/image" Target="../media/image312.jpeg"/><Relationship Id="rId22" Type="http://schemas.openxmlformats.org/officeDocument/2006/relationships/image" Target="../media/image313.jpeg"/><Relationship Id="rId23" Type="http://schemas.openxmlformats.org/officeDocument/2006/relationships/image" Target="../media/image314.jpeg"/><Relationship Id="rId24" Type="http://schemas.openxmlformats.org/officeDocument/2006/relationships/image" Target="../media/image315.png"/><Relationship Id="rId25" Type="http://schemas.openxmlformats.org/officeDocument/2006/relationships/image" Target="../media/image316.jpeg"/><Relationship Id="rId26" Type="http://schemas.openxmlformats.org/officeDocument/2006/relationships/image" Target="../media/image317.jpeg"/><Relationship Id="rId27" Type="http://schemas.openxmlformats.org/officeDocument/2006/relationships/image" Target="../media/image318.jpeg"/><Relationship Id="rId28" Type="http://schemas.openxmlformats.org/officeDocument/2006/relationships/image" Target="../media/image319.png"/><Relationship Id="rId29" Type="http://schemas.openxmlformats.org/officeDocument/2006/relationships/image" Target="../media/image320.jpeg"/><Relationship Id="rId1" Type="http://schemas.openxmlformats.org/officeDocument/2006/relationships/slideLayout" Target="../slideLayouts/slideLayout48.xml"/><Relationship Id="rId2" Type="http://schemas.openxmlformats.org/officeDocument/2006/relationships/image" Target="../media/image293.jpeg"/><Relationship Id="rId3" Type="http://schemas.openxmlformats.org/officeDocument/2006/relationships/image" Target="../media/image294.png"/><Relationship Id="rId4" Type="http://schemas.openxmlformats.org/officeDocument/2006/relationships/image" Target="../media/image295.jpeg"/><Relationship Id="rId5" Type="http://schemas.openxmlformats.org/officeDocument/2006/relationships/image" Target="../media/image296.jpeg"/><Relationship Id="rId30" Type="http://schemas.openxmlformats.org/officeDocument/2006/relationships/image" Target="../media/image321.jpeg"/><Relationship Id="rId31" Type="http://schemas.openxmlformats.org/officeDocument/2006/relationships/image" Target="../media/image322.jpeg"/><Relationship Id="rId32" Type="http://schemas.openxmlformats.org/officeDocument/2006/relationships/image" Target="../media/image323.jpeg"/><Relationship Id="rId9" Type="http://schemas.openxmlformats.org/officeDocument/2006/relationships/image" Target="../media/image300.jpeg"/><Relationship Id="rId6" Type="http://schemas.openxmlformats.org/officeDocument/2006/relationships/image" Target="../media/image297.jpeg"/><Relationship Id="rId7" Type="http://schemas.openxmlformats.org/officeDocument/2006/relationships/image" Target="../media/image298.jpeg"/><Relationship Id="rId8" Type="http://schemas.openxmlformats.org/officeDocument/2006/relationships/image" Target="../media/image299.png"/><Relationship Id="rId33" Type="http://schemas.openxmlformats.org/officeDocument/2006/relationships/image" Target="../media/image324.png"/><Relationship Id="rId34" Type="http://schemas.openxmlformats.org/officeDocument/2006/relationships/image" Target="../media/image325.jpeg"/><Relationship Id="rId35" Type="http://schemas.openxmlformats.org/officeDocument/2006/relationships/image" Target="../media/image326.jpeg"/><Relationship Id="rId36" Type="http://schemas.openxmlformats.org/officeDocument/2006/relationships/image" Target="../media/image327.jpeg"/><Relationship Id="rId10" Type="http://schemas.openxmlformats.org/officeDocument/2006/relationships/image" Target="../media/image301.jpeg"/><Relationship Id="rId11" Type="http://schemas.openxmlformats.org/officeDocument/2006/relationships/image" Target="../media/image302.jpeg"/><Relationship Id="rId12" Type="http://schemas.openxmlformats.org/officeDocument/2006/relationships/image" Target="../media/image303.jpeg"/><Relationship Id="rId13" Type="http://schemas.openxmlformats.org/officeDocument/2006/relationships/image" Target="../media/image304.png"/><Relationship Id="rId14" Type="http://schemas.openxmlformats.org/officeDocument/2006/relationships/image" Target="../media/image305.jpeg"/><Relationship Id="rId15" Type="http://schemas.openxmlformats.org/officeDocument/2006/relationships/image" Target="../media/image306.jpeg"/><Relationship Id="rId16" Type="http://schemas.openxmlformats.org/officeDocument/2006/relationships/image" Target="../media/image307.jpeg"/><Relationship Id="rId17" Type="http://schemas.openxmlformats.org/officeDocument/2006/relationships/image" Target="../media/image308.jpeg"/><Relationship Id="rId18" Type="http://schemas.openxmlformats.org/officeDocument/2006/relationships/image" Target="../media/image309.png"/><Relationship Id="rId19" Type="http://schemas.openxmlformats.org/officeDocument/2006/relationships/image" Target="../media/image310.jpeg"/><Relationship Id="rId37" Type="http://schemas.openxmlformats.org/officeDocument/2006/relationships/image" Target="../media/image328.jpeg"/><Relationship Id="rId38" Type="http://schemas.openxmlformats.org/officeDocument/2006/relationships/image" Target="../media/image329.jpeg"/><Relationship Id="rId39" Type="http://schemas.openxmlformats.org/officeDocument/2006/relationships/image" Target="../media/image330.png"/><Relationship Id="rId40" Type="http://schemas.openxmlformats.org/officeDocument/2006/relationships/image" Target="../media/image331.png"/><Relationship Id="rId41" Type="http://schemas.openxmlformats.org/officeDocument/2006/relationships/image" Target="../media/image332.png"/></Relationships>
</file>

<file path=ppt/slides/_rels/slide8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Relationship Id="rId2" Type="http://schemas.openxmlformats.org/officeDocument/2006/relationships/image" Target="../media/image293.jpeg"/></Relationships>
</file>

<file path=ppt/slides/_rels/slide8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4" Type="http://schemas.openxmlformats.org/officeDocument/2006/relationships/image" Target="../media/image334.png"/><Relationship Id="rId5" Type="http://schemas.openxmlformats.org/officeDocument/2006/relationships/image" Target="../media/image335.png"/><Relationship Id="rId1" Type="http://schemas.openxmlformats.org/officeDocument/2006/relationships/slideLayout" Target="../slideLayouts/slideLayout49.xml"/><Relationship Id="rId2" Type="http://schemas.openxmlformats.org/officeDocument/2006/relationships/image" Target="../media/image333.png"/></Relationships>
</file>

<file path=ppt/slides/_rels/slide8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86.xml.rels><?xml version="1.0" encoding="UTF-8" standalone="yes"?>
<Relationships xmlns="http://schemas.openxmlformats.org/package/2006/relationships"><Relationship Id="rId9" Type="http://schemas.openxmlformats.org/officeDocument/2006/relationships/image" Target="../media/image337.png"/><Relationship Id="rId20" Type="http://schemas.openxmlformats.org/officeDocument/2006/relationships/image" Target="../media/image347.png"/><Relationship Id="rId21" Type="http://schemas.openxmlformats.org/officeDocument/2006/relationships/image" Target="../media/image348.png"/><Relationship Id="rId22" Type="http://schemas.openxmlformats.org/officeDocument/2006/relationships/image" Target="../media/image349.jpeg"/><Relationship Id="rId23" Type="http://schemas.openxmlformats.org/officeDocument/2006/relationships/image" Target="../media/image350.jpeg"/><Relationship Id="rId10" Type="http://schemas.openxmlformats.org/officeDocument/2006/relationships/image" Target="../media/image338.png"/><Relationship Id="rId11" Type="http://schemas.openxmlformats.org/officeDocument/2006/relationships/image" Target="../media/image339.png"/><Relationship Id="rId12" Type="http://schemas.openxmlformats.org/officeDocument/2006/relationships/image" Target="../media/image340.png"/><Relationship Id="rId13" Type="http://schemas.openxmlformats.org/officeDocument/2006/relationships/image" Target="../media/image341.png"/><Relationship Id="rId14" Type="http://schemas.openxmlformats.org/officeDocument/2006/relationships/image" Target="../media/image342.png"/><Relationship Id="rId15" Type="http://schemas.openxmlformats.org/officeDocument/2006/relationships/image" Target="../media/image343.jpeg"/><Relationship Id="rId16" Type="http://schemas.openxmlformats.org/officeDocument/2006/relationships/image" Target="../media/image344.jpeg"/><Relationship Id="rId17" Type="http://schemas.openxmlformats.org/officeDocument/2006/relationships/image" Target="../media/image345.png"/><Relationship Id="rId18" Type="http://schemas.openxmlformats.org/officeDocument/2006/relationships/image" Target="../media/image346.jpeg"/><Relationship Id="rId19" Type="http://schemas.openxmlformats.org/officeDocument/2006/relationships/image" Target="../media/image320.jpeg"/><Relationship Id="rId1" Type="http://schemas.openxmlformats.org/officeDocument/2006/relationships/slideLayout" Target="../slideLayouts/slideLayout49.xml"/><Relationship Id="rId2" Type="http://schemas.openxmlformats.org/officeDocument/2006/relationships/notesSlide" Target="../notesSlides/notesSlide15.xml"/><Relationship Id="rId3" Type="http://schemas.openxmlformats.org/officeDocument/2006/relationships/image" Target="../media/image336.gif"/><Relationship Id="rId4" Type="http://schemas.openxmlformats.org/officeDocument/2006/relationships/diagramData" Target="../diagrams/data4.xml"/><Relationship Id="rId5" Type="http://schemas.openxmlformats.org/officeDocument/2006/relationships/diagramLayout" Target="../diagrams/layout4.xml"/><Relationship Id="rId6" Type="http://schemas.openxmlformats.org/officeDocument/2006/relationships/diagramQuickStyle" Target="../diagrams/quickStyle4.xml"/><Relationship Id="rId7" Type="http://schemas.openxmlformats.org/officeDocument/2006/relationships/diagramColors" Target="../diagrams/colors4.xml"/><Relationship Id="rId8" Type="http://schemas.microsoft.com/office/2007/relationships/diagramDrawing" Target="../diagrams/drawing4.xml"/></Relationships>
</file>

<file path=ppt/slides/_rels/slide8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8.xml"/><Relationship Id="rId2" Type="http://schemas.openxmlformats.org/officeDocument/2006/relationships/image" Target="../media/image351.jpeg"/></Relationships>
</file>

<file path=ppt/slides/_rels/slide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2.png"/><Relationship Id="rId4" Type="http://schemas.openxmlformats.org/officeDocument/2006/relationships/image" Target="../media/image353.png"/><Relationship Id="rId5" Type="http://schemas.openxmlformats.org/officeDocument/2006/relationships/slide" Target="slide83.xml"/><Relationship Id="rId1" Type="http://schemas.openxmlformats.org/officeDocument/2006/relationships/slideLayout" Target="../slideLayouts/slideLayout49.xml"/><Relationship Id="rId2" Type="http://schemas.openxmlformats.org/officeDocument/2006/relationships/slide" Target="slide73.xml"/></Relationships>
</file>

<file path=ppt/slides/_rels/slide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2.png"/><Relationship Id="rId4" Type="http://schemas.openxmlformats.org/officeDocument/2006/relationships/image" Target="../media/image353.png"/><Relationship Id="rId5" Type="http://schemas.openxmlformats.org/officeDocument/2006/relationships/slide" Target="slide83.xml"/><Relationship Id="rId1" Type="http://schemas.openxmlformats.org/officeDocument/2006/relationships/slideLayout" Target="../slideLayouts/slideLayout49.xml"/><Relationship Id="rId2" Type="http://schemas.openxmlformats.org/officeDocument/2006/relationships/slide" Target="slide7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Relationship Id="rId2" Type="http://schemas.openxmlformats.org/officeDocument/2006/relationships/image" Target="../media/image35.png"/></Relationships>
</file>

<file path=ppt/slides/_rels/slide90.xml.rels><?xml version="1.0" encoding="UTF-8" standalone="yes"?>
<Relationships xmlns="http://schemas.openxmlformats.org/package/2006/relationships"><Relationship Id="rId3" Type="http://schemas.openxmlformats.org/officeDocument/2006/relationships/slide" Target="slide75.xml"/><Relationship Id="rId4" Type="http://schemas.openxmlformats.org/officeDocument/2006/relationships/image" Target="../media/image353.png"/><Relationship Id="rId5" Type="http://schemas.openxmlformats.org/officeDocument/2006/relationships/slide" Target="slide83.xml"/><Relationship Id="rId6" Type="http://schemas.openxmlformats.org/officeDocument/2006/relationships/image" Target="../media/image354.png"/><Relationship Id="rId1" Type="http://schemas.openxmlformats.org/officeDocument/2006/relationships/slideLayout" Target="../slideLayouts/slideLayout49.xml"/><Relationship Id="rId2" Type="http://schemas.openxmlformats.org/officeDocument/2006/relationships/image" Target="../media/image352.png"/></Relationships>
</file>

<file path=ppt/slides/_rels/slide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5.png"/><Relationship Id="rId4" Type="http://schemas.openxmlformats.org/officeDocument/2006/relationships/image" Target="../media/image356.png"/><Relationship Id="rId5" Type="http://schemas.openxmlformats.org/officeDocument/2006/relationships/image" Target="../media/image357.png"/><Relationship Id="rId1" Type="http://schemas.openxmlformats.org/officeDocument/2006/relationships/slideLayout" Target="../slideLayouts/slideLayout49.xml"/><Relationship Id="rId2" Type="http://schemas.openxmlformats.org/officeDocument/2006/relationships/slide" Target="slide43.xml"/></Relationships>
</file>

<file path=ppt/slides/_rels/slide9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/Relationships>
</file>

<file path=ppt/slides/_rels/slide9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8.jpg"/><Relationship Id="rId4" Type="http://schemas.openxmlformats.org/officeDocument/2006/relationships/hyperlink" Target="http://www.foodintegrity.eu/" TargetMode="External"/><Relationship Id="rId5" Type="http://schemas.openxmlformats.org/officeDocument/2006/relationships/image" Target="../media/image288.jpg"/><Relationship Id="rId6" Type="http://schemas.openxmlformats.org/officeDocument/2006/relationships/hyperlink" Target="mailto:Foodintegrity@fera.gsi.gov.uk" TargetMode="External"/><Relationship Id="rId7" Type="http://schemas.openxmlformats.org/officeDocument/2006/relationships/image" Target="../media/image359.jpg"/><Relationship Id="rId8" Type="http://schemas.openxmlformats.org/officeDocument/2006/relationships/image" Target="../media/image360.png"/><Relationship Id="rId9" Type="http://schemas.openxmlformats.org/officeDocument/2006/relationships/image" Target="../media/image361.png"/><Relationship Id="rId1" Type="http://schemas.openxmlformats.org/officeDocument/2006/relationships/slideLayout" Target="../slideLayouts/slideLayout49.xml"/><Relationship Id="rId2" Type="http://schemas.openxmlformats.org/officeDocument/2006/relationships/image" Target="../media/image293.jpeg"/></Relationships>
</file>

<file path=ppt/slides/_rels/slide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3.jpeg"/><Relationship Id="rId4" Type="http://schemas.openxmlformats.org/officeDocument/2006/relationships/image" Target="../media/image364.jpeg"/><Relationship Id="rId5" Type="http://schemas.openxmlformats.org/officeDocument/2006/relationships/image" Target="../media/image365.jpeg"/><Relationship Id="rId6" Type="http://schemas.openxmlformats.org/officeDocument/2006/relationships/image" Target="../media/image366.jpeg"/><Relationship Id="rId7" Type="http://schemas.openxmlformats.org/officeDocument/2006/relationships/image" Target="../media/image367.emf"/><Relationship Id="rId8" Type="http://schemas.openxmlformats.org/officeDocument/2006/relationships/image" Target="../media/image368.png"/><Relationship Id="rId1" Type="http://schemas.openxmlformats.org/officeDocument/2006/relationships/slideLayout" Target="../slideLayouts/slideLayout51.xml"/><Relationship Id="rId2" Type="http://schemas.openxmlformats.org/officeDocument/2006/relationships/image" Target="../media/image362.jpeg"/></Relationships>
</file>

<file path=ppt/slides/_rels/slide9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Relationship Id="rId2" Type="http://schemas.openxmlformats.org/officeDocument/2006/relationships/image" Target="../media/image369.png"/><Relationship Id="rId3" Type="http://schemas.openxmlformats.org/officeDocument/2006/relationships/image" Target="../media/image370.jpeg"/></Relationships>
</file>

<file path=ppt/slides/_rels/slide97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6.jpeg"/><Relationship Id="rId12" Type="http://schemas.openxmlformats.org/officeDocument/2006/relationships/image" Target="../media/image27.png"/><Relationship Id="rId13" Type="http://schemas.openxmlformats.org/officeDocument/2006/relationships/image" Target="../media/image28.png"/><Relationship Id="rId14" Type="http://schemas.openxmlformats.org/officeDocument/2006/relationships/image" Target="../media/image29.png"/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7.png"/><Relationship Id="rId3" Type="http://schemas.openxmlformats.org/officeDocument/2006/relationships/image" Target="../media/image18.png"/><Relationship Id="rId4" Type="http://schemas.openxmlformats.org/officeDocument/2006/relationships/image" Target="../media/image19.png"/><Relationship Id="rId5" Type="http://schemas.openxmlformats.org/officeDocument/2006/relationships/image" Target="../media/image20.png"/><Relationship Id="rId6" Type="http://schemas.openxmlformats.org/officeDocument/2006/relationships/image" Target="../media/image21.png"/><Relationship Id="rId7" Type="http://schemas.openxmlformats.org/officeDocument/2006/relationships/image" Target="../media/image22.png"/><Relationship Id="rId8" Type="http://schemas.openxmlformats.org/officeDocument/2006/relationships/image" Target="../media/image23.png"/><Relationship Id="rId9" Type="http://schemas.openxmlformats.org/officeDocument/2006/relationships/image" Target="../media/image24.png"/><Relationship Id="rId10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0072" y="162874"/>
            <a:ext cx="3933825" cy="237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05" y="226144"/>
            <a:ext cx="5590009" cy="52042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0646" y="5373328"/>
            <a:ext cx="7867650" cy="151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43500" y="2425750"/>
            <a:ext cx="3933825" cy="2371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7509921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" name="CustomShape 1"/>
          <p:cNvSpPr/>
          <p:nvPr/>
        </p:nvSpPr>
        <p:spPr>
          <a:xfrm>
            <a:off x="1258944" y="216012"/>
            <a:ext cx="6911975" cy="9810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4400" smtClean="0">
                <a:solidFill>
                  <a:srgbClr val="FFFFFF"/>
                </a:solidFill>
                <a:latin typeface="Calibri" pitchFamily="34" charset="0"/>
              </a:rPr>
              <a:t>Food Crime, the beginning...</a:t>
            </a:r>
            <a:endParaRPr lang="en-US" altLang="en-US" smtClean="0">
              <a:solidFill>
                <a:srgbClr val="FFFFFF"/>
              </a:solidFill>
            </a:endParaRPr>
          </a:p>
        </p:txBody>
      </p:sp>
      <p:sp>
        <p:nvSpPr>
          <p:cNvPr id="164" name="CustomShape 2"/>
          <p:cNvSpPr/>
          <p:nvPr/>
        </p:nvSpPr>
        <p:spPr>
          <a:xfrm>
            <a:off x="107957" y="1196976"/>
            <a:ext cx="8856663" cy="496411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>
            <a:lvl1pPr marL="342900" indent="-315913"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63170"/>
              </a:buClr>
              <a:buSzPct val="45000"/>
              <a:buFont typeface="Wingdings" pitchFamily="2" charset="2"/>
              <a:buChar char=""/>
            </a:pPr>
            <a:r>
              <a:rPr lang="en-US" altLang="en-US" sz="2200" b="1" smtClean="0">
                <a:solidFill>
                  <a:srgbClr val="00437A"/>
                </a:solidFill>
                <a:latin typeface="Verdana" pitchFamily="34" charset="0"/>
              </a:rPr>
              <a:t>Italian initiative: </a:t>
            </a:r>
            <a:r>
              <a:rPr lang="en-US" altLang="en-US" sz="2200" smtClean="0">
                <a:solidFill>
                  <a:srgbClr val="00437A"/>
                </a:solidFill>
                <a:latin typeface="Verdana" pitchFamily="34" charset="0"/>
              </a:rPr>
              <a:t>April 2010, 1</a:t>
            </a:r>
            <a:r>
              <a:rPr lang="en-US" altLang="en-US" sz="2200" baseline="30000" smtClean="0">
                <a:solidFill>
                  <a:srgbClr val="00437A"/>
                </a:solidFill>
                <a:latin typeface="Verdana" pitchFamily="34" charset="0"/>
              </a:rPr>
              <a:t>st</a:t>
            </a:r>
            <a:r>
              <a:rPr lang="en-US" altLang="en-US" sz="2200" smtClean="0">
                <a:solidFill>
                  <a:srgbClr val="00437A"/>
                </a:solidFill>
                <a:latin typeface="Verdana" pitchFamily="34" charset="0"/>
              </a:rPr>
              <a:t> International Meeting on Counterfeit and Protected Food Products, jointly organised by the Corpo Forestale dello Stato and the Interpol National Central Bureau Rome</a:t>
            </a:r>
            <a:endParaRPr lang="en-US" altLang="en-US" sz="2200" smtClean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63170"/>
              </a:buClr>
              <a:buSzPct val="45000"/>
              <a:buFont typeface="Wingdings" pitchFamily="2" charset="2"/>
              <a:buChar char=""/>
            </a:pPr>
            <a:r>
              <a:rPr lang="en-US" altLang="en-US" sz="2200" b="1" smtClean="0">
                <a:solidFill>
                  <a:srgbClr val="00437A"/>
                </a:solidFill>
                <a:latin typeface="Verdana" pitchFamily="34" charset="0"/>
              </a:rPr>
              <a:t>Global problem: </a:t>
            </a:r>
            <a:r>
              <a:rPr lang="en-US" altLang="en-US" sz="2200" smtClean="0">
                <a:solidFill>
                  <a:srgbClr val="00437A"/>
                </a:solidFill>
                <a:latin typeface="Verdana" pitchFamily="34" charset="0"/>
              </a:rPr>
              <a:t>in 2010, 3 millions items seized at the EU borders (24 cases)</a:t>
            </a:r>
            <a:endParaRPr lang="en-US" altLang="en-US" sz="2200" smtClean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63170"/>
              </a:buClr>
              <a:buSzPct val="45000"/>
              <a:buFont typeface="Wingdings" pitchFamily="2" charset="2"/>
              <a:buChar char=""/>
            </a:pPr>
            <a:r>
              <a:rPr lang="en-US" altLang="en-US" sz="2200" b="1" smtClean="0">
                <a:solidFill>
                  <a:srgbClr val="00437A"/>
                </a:solidFill>
                <a:latin typeface="Verdana" pitchFamily="34" charset="0"/>
              </a:rPr>
              <a:t>Joint concern EUROPOL &amp; INTERPOL: </a:t>
            </a:r>
            <a:r>
              <a:rPr lang="en-US" altLang="en-US" sz="2200" smtClean="0">
                <a:solidFill>
                  <a:srgbClr val="00437A"/>
                </a:solidFill>
                <a:latin typeface="Verdana" pitchFamily="34" charset="0"/>
              </a:rPr>
              <a:t>invitations launched in March 2011</a:t>
            </a:r>
            <a:endParaRPr lang="en-US" altLang="en-US" sz="2200" smtClean="0">
              <a:solidFill>
                <a:srgbClr val="000000"/>
              </a:solidFill>
            </a:endParaRPr>
          </a:p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en-US" sz="2200" smtClean="0">
              <a:solidFill>
                <a:srgbClr val="000000"/>
              </a:solidFill>
            </a:endParaRPr>
          </a:p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2200" b="1" smtClean="0">
                <a:solidFill>
                  <a:srgbClr val="00437A"/>
                </a:solidFill>
                <a:latin typeface="Verdana" pitchFamily="34" charset="0"/>
              </a:rPr>
              <a:t>Main Objectives of the joint efforts</a:t>
            </a:r>
            <a:endParaRPr lang="en-US" altLang="en-US" sz="2200" smtClean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37A"/>
              </a:buClr>
              <a:buFont typeface="Wingdings" pitchFamily="2" charset="2"/>
              <a:buChar char=""/>
            </a:pPr>
            <a:r>
              <a:rPr lang="en-US" altLang="en-US" sz="2200" smtClean="0">
                <a:solidFill>
                  <a:srgbClr val="00437A"/>
                </a:solidFill>
                <a:latin typeface="Verdana" pitchFamily="34" charset="0"/>
              </a:rPr>
              <a:t>Dismantle Organised Crime Groups involved in this area</a:t>
            </a:r>
            <a:endParaRPr lang="en-US" altLang="en-US" sz="2200" smtClean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37A"/>
              </a:buClr>
              <a:buFont typeface="Wingdings" pitchFamily="2" charset="2"/>
              <a:buChar char=""/>
            </a:pPr>
            <a:r>
              <a:rPr lang="en-US" altLang="en-US" sz="2200" smtClean="0">
                <a:solidFill>
                  <a:srgbClr val="00437A"/>
                </a:solidFill>
                <a:latin typeface="Verdana" pitchFamily="34" charset="0"/>
              </a:rPr>
              <a:t>Raise awareness on the phenomenon  - consumers/LEAs</a:t>
            </a:r>
            <a:endParaRPr lang="en-US" altLang="en-US" sz="2200" smtClean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37A"/>
              </a:buClr>
              <a:buFont typeface="Wingdings" pitchFamily="2" charset="2"/>
              <a:buChar char=""/>
            </a:pPr>
            <a:r>
              <a:rPr lang="en-US" altLang="en-US" sz="2200" smtClean="0">
                <a:solidFill>
                  <a:srgbClr val="00437A"/>
                </a:solidFill>
                <a:latin typeface="Verdana" pitchFamily="34" charset="0"/>
              </a:rPr>
              <a:t>Enhance cooperation between involved stakeholders (LEAs, Food Agencies, PS)</a:t>
            </a:r>
            <a:endParaRPr lang="en-US" altLang="en-US" sz="2200" smtClean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>
                <a:srgbClr val="00437A"/>
              </a:buClr>
            </a:pPr>
            <a:endParaRPr lang="en-US" altLang="en-US" sz="2200" smtClean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2200" smtClean="0">
                <a:solidFill>
                  <a:srgbClr val="00437A"/>
                </a:solidFill>
                <a:latin typeface="Verdana" pitchFamily="34" charset="0"/>
              </a:rPr>
              <a:t>10 countries: 263 tons, 35,700 litres</a:t>
            </a:r>
            <a:endParaRPr lang="en-US" altLang="en-US" sz="2200" smtClean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en-US" smtClean="0">
              <a:solidFill>
                <a:srgbClr val="000000"/>
              </a:solidFill>
            </a:endParaRPr>
          </a:p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en-US" smtClean="0">
              <a:solidFill>
                <a:srgbClr val="000000"/>
              </a:solidFill>
            </a:endParaRPr>
          </a:p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en-US" smtClean="0">
              <a:solidFill>
                <a:srgbClr val="000000"/>
              </a:solidFill>
            </a:endParaRPr>
          </a:p>
        </p:txBody>
      </p:sp>
      <p:pic>
        <p:nvPicPr>
          <p:cNvPr id="27652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19756" y="6161200"/>
            <a:ext cx="792163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2914706" y="92075"/>
            <a:ext cx="3960813" cy="260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EUROPOL UNCLASSIFIED – BASIC PROTECTION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" name="CustomShape 1"/>
          <p:cNvSpPr/>
          <p:nvPr/>
        </p:nvSpPr>
        <p:spPr>
          <a:xfrm>
            <a:off x="-3074987" y="525464"/>
            <a:ext cx="5164138" cy="6884987"/>
          </a:xfrm>
          <a:prstGeom prst="blockArc">
            <a:avLst>
              <a:gd name="adj1" fmla="val 18250481"/>
              <a:gd name="adj2" fmla="val 3384059"/>
              <a:gd name="adj3" fmla="val 0"/>
            </a:avLst>
          </a:prstGeom>
          <a:noFill/>
          <a:ln w="44450">
            <a:solidFill>
              <a:schemeClr val="accent1">
                <a:shade val="60000"/>
                <a:hueOff val="0"/>
                <a:satOff val="0"/>
                <a:lumOff val="0"/>
                <a:alphaOff val="0"/>
              </a:schemeClr>
            </a:solidFill>
            <a:round/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68" name="CustomShape 2"/>
          <p:cNvSpPr/>
          <p:nvPr/>
        </p:nvSpPr>
        <p:spPr>
          <a:xfrm>
            <a:off x="1844678" y="1893888"/>
            <a:ext cx="6110288" cy="102076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lt1">
                <a:hueOff val="0"/>
                <a:satOff val="0"/>
                <a:lumOff val="0"/>
                <a:alphaOff val="0"/>
              </a:schemeClr>
            </a:solidFill>
            <a:round/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08760" tIns="101520" rIns="101520" bIns="101520" anchor="ctr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4000" smtClean="0">
                <a:solidFill>
                  <a:srgbClr val="FFFFFF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Global Phenomenon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169" name="CustomShape 3"/>
          <p:cNvSpPr/>
          <p:nvPr/>
        </p:nvSpPr>
        <p:spPr>
          <a:xfrm>
            <a:off x="971551" y="1795575"/>
            <a:ext cx="1300163" cy="1277937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accent1">
                <a:hueOff val="0"/>
                <a:satOff val="0"/>
                <a:lumOff val="0"/>
                <a:alphaOff val="0"/>
              </a:schemeClr>
            </a:solidFill>
            <a:round/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70" name="CustomShape 4"/>
          <p:cNvSpPr/>
          <p:nvPr/>
        </p:nvSpPr>
        <p:spPr>
          <a:xfrm>
            <a:off x="2071744" y="3457575"/>
            <a:ext cx="5832475" cy="102235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lt1">
                <a:hueOff val="0"/>
                <a:satOff val="0"/>
                <a:lumOff val="0"/>
                <a:alphaOff val="0"/>
              </a:schemeClr>
            </a:solidFill>
            <a:round/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08760" tIns="101520" rIns="101520" bIns="101520" anchor="ctr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4000" smtClean="0">
                <a:solidFill>
                  <a:srgbClr val="FFFFFF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Health and Safety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171" name="CustomShape 5"/>
          <p:cNvSpPr/>
          <p:nvPr/>
        </p:nvSpPr>
        <p:spPr>
          <a:xfrm>
            <a:off x="1258888" y="3328989"/>
            <a:ext cx="1292225" cy="1277937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accent1">
                <a:hueOff val="0"/>
                <a:satOff val="0"/>
                <a:lumOff val="0"/>
                <a:alphaOff val="0"/>
              </a:schemeClr>
            </a:solidFill>
            <a:round/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72" name="CustomShape 6"/>
          <p:cNvSpPr/>
          <p:nvPr/>
        </p:nvSpPr>
        <p:spPr>
          <a:xfrm>
            <a:off x="1793875" y="4991100"/>
            <a:ext cx="6110288" cy="102235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lt1">
                <a:hueOff val="0"/>
                <a:satOff val="0"/>
                <a:lumOff val="0"/>
                <a:alphaOff val="0"/>
              </a:schemeClr>
            </a:solidFill>
            <a:round/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08760" tIns="101520" rIns="101520" bIns="101520" anchor="ctr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4000" smtClean="0">
                <a:solidFill>
                  <a:srgbClr val="FFFFFF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Organized Crime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173" name="CustomShape 7"/>
          <p:cNvSpPr/>
          <p:nvPr/>
        </p:nvSpPr>
        <p:spPr>
          <a:xfrm>
            <a:off x="971551" y="4864100"/>
            <a:ext cx="1300163" cy="1276350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solidFill>
              <a:schemeClr val="accent1">
                <a:hueOff val="0"/>
                <a:satOff val="0"/>
                <a:lumOff val="0"/>
                <a:alphaOff val="0"/>
              </a:schemeClr>
            </a:solidFill>
            <a:round/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2" name="CustomShape 1"/>
          <p:cNvSpPr/>
          <p:nvPr/>
        </p:nvSpPr>
        <p:spPr>
          <a:xfrm>
            <a:off x="1258944" y="288925"/>
            <a:ext cx="6911975" cy="9794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4400" smtClean="0">
                <a:solidFill>
                  <a:srgbClr val="FFFFFF"/>
                </a:solidFill>
                <a:latin typeface="Calibri" pitchFamily="34" charset="0"/>
              </a:rPr>
              <a:t>Food Crime</a:t>
            </a:r>
            <a:endParaRPr lang="en-US" altLang="en-US" smtClean="0">
              <a:solidFill>
                <a:srgbClr val="FFFFFF"/>
              </a:solidFill>
            </a:endParaRPr>
          </a:p>
        </p:txBody>
      </p:sp>
      <p:sp>
        <p:nvSpPr>
          <p:cNvPr id="13" name="TextBox 6"/>
          <p:cNvSpPr txBox="1"/>
          <p:nvPr/>
        </p:nvSpPr>
        <p:spPr>
          <a:xfrm>
            <a:off x="2914706" y="92075"/>
            <a:ext cx="3960813" cy="260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EUROPOL UNCLASSIFIED – BASIC PROTECTION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CustomShape 2"/>
          <p:cNvSpPr/>
          <p:nvPr/>
        </p:nvSpPr>
        <p:spPr>
          <a:xfrm>
            <a:off x="1516069" y="1463787"/>
            <a:ext cx="5719762" cy="4857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800" b="1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TYPES OF INFRINGEMENT ON FOOD CRIME</a:t>
            </a:r>
            <a:endParaRPr lang="en-US" altLang="en-US" sz="2800" smtClean="0">
              <a:solidFill>
                <a:srgbClr val="000000"/>
              </a:solidFill>
            </a:endParaRPr>
          </a:p>
        </p:txBody>
      </p:sp>
      <p:sp>
        <p:nvSpPr>
          <p:cNvPr id="180" name="CustomShape 3"/>
          <p:cNvSpPr/>
          <p:nvPr/>
        </p:nvSpPr>
        <p:spPr>
          <a:xfrm>
            <a:off x="1535115" y="2492487"/>
            <a:ext cx="3181350" cy="12731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400" smtClean="0">
                <a:solidFill>
                  <a:srgbClr val="C00000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Counterfeiting</a:t>
            </a:r>
            <a:endParaRPr lang="en-US" altLang="en-US" sz="2400" smtClean="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400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e.g. Counterfeit branded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400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spirits</a:t>
            </a:r>
            <a:endParaRPr lang="en-US" altLang="en-US" sz="2400" smtClean="0">
              <a:solidFill>
                <a:srgbClr val="000000"/>
              </a:solidFill>
            </a:endParaRPr>
          </a:p>
        </p:txBody>
      </p:sp>
      <p:sp>
        <p:nvSpPr>
          <p:cNvPr id="182" name="CustomShape 4"/>
          <p:cNvSpPr/>
          <p:nvPr/>
        </p:nvSpPr>
        <p:spPr>
          <a:xfrm>
            <a:off x="6389688" y="2870200"/>
            <a:ext cx="2646362" cy="14224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400" smtClean="0">
                <a:solidFill>
                  <a:srgbClr val="C00000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Substitution</a:t>
            </a:r>
            <a:endParaRPr lang="en-US" altLang="en-US" sz="2400" smtClean="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400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e.g. Horsemeat scandal</a:t>
            </a:r>
            <a:endParaRPr lang="en-US" altLang="en-US" sz="2400" smtClean="0">
              <a:solidFill>
                <a:srgbClr val="000000"/>
              </a:solidFill>
            </a:endParaRPr>
          </a:p>
        </p:txBody>
      </p:sp>
      <p:sp>
        <p:nvSpPr>
          <p:cNvPr id="183" name="CustomShape 5"/>
          <p:cNvSpPr/>
          <p:nvPr/>
        </p:nvSpPr>
        <p:spPr>
          <a:xfrm>
            <a:off x="220665" y="4706938"/>
            <a:ext cx="4510087" cy="174625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400" smtClean="0">
                <a:solidFill>
                  <a:srgbClr val="C00000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Substitution/Adulteration</a:t>
            </a:r>
            <a:endParaRPr lang="en-US" altLang="en-US" sz="2400" smtClean="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400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e.g. Olive oil substituted  or diluted with lower-cost oil (nut, sunflower, palm …)</a:t>
            </a:r>
            <a:endParaRPr lang="en-US" altLang="en-US" sz="2400" smtClean="0">
              <a:solidFill>
                <a:srgbClr val="000000"/>
              </a:solidFill>
            </a:endParaRPr>
          </a:p>
        </p:txBody>
      </p:sp>
      <p:sp>
        <p:nvSpPr>
          <p:cNvPr id="12" name="CustomShape 1"/>
          <p:cNvSpPr/>
          <p:nvPr/>
        </p:nvSpPr>
        <p:spPr>
          <a:xfrm>
            <a:off x="1258944" y="288925"/>
            <a:ext cx="6911975" cy="9794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4400" smtClean="0">
                <a:solidFill>
                  <a:srgbClr val="FFFFFF"/>
                </a:solidFill>
                <a:latin typeface="Calibri" pitchFamily="34" charset="0"/>
              </a:rPr>
              <a:t>Scope of Food Crime</a:t>
            </a:r>
            <a:endParaRPr lang="en-US" altLang="en-US" smtClean="0">
              <a:solidFill>
                <a:srgbClr val="FFFFFF"/>
              </a:solidFill>
            </a:endParaRPr>
          </a:p>
        </p:txBody>
      </p:sp>
      <p:pic>
        <p:nvPicPr>
          <p:cNvPr id="29703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388" y="2462213"/>
            <a:ext cx="1295400" cy="1225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0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7925" y="2871788"/>
            <a:ext cx="1303338" cy="1301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705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6307" y="4581637"/>
            <a:ext cx="1604963" cy="1744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TextBox 6"/>
          <p:cNvSpPr txBox="1"/>
          <p:nvPr/>
        </p:nvSpPr>
        <p:spPr>
          <a:xfrm>
            <a:off x="2914706" y="92075"/>
            <a:ext cx="3960813" cy="260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EUROPOL UNCLASSIFIED – BASIC PROTECTION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CustomShape 1"/>
          <p:cNvSpPr/>
          <p:nvPr/>
        </p:nvSpPr>
        <p:spPr>
          <a:xfrm>
            <a:off x="881065" y="5607162"/>
            <a:ext cx="1746250" cy="4857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400" smtClean="0">
                <a:solidFill>
                  <a:srgbClr val="C00000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Expired products</a:t>
            </a:r>
            <a:endParaRPr lang="en-US" altLang="en-US" sz="2400" smtClean="0">
              <a:solidFill>
                <a:srgbClr val="000000"/>
              </a:solidFill>
            </a:endParaRPr>
          </a:p>
        </p:txBody>
      </p:sp>
      <p:sp>
        <p:nvSpPr>
          <p:cNvPr id="191" name="CustomShape 2"/>
          <p:cNvSpPr/>
          <p:nvPr/>
        </p:nvSpPr>
        <p:spPr>
          <a:xfrm>
            <a:off x="2555875" y="2416175"/>
            <a:ext cx="6337300" cy="230822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400" smtClean="0">
                <a:solidFill>
                  <a:srgbClr val="C00000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Substitution/Mislabelling</a:t>
            </a:r>
            <a:endParaRPr lang="en-US" altLang="en-US" sz="2400" smtClean="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400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e.g. Substitution of expensive fish with cheaper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400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Species. Labelled as wild fish but are farmed fish</a:t>
            </a:r>
            <a:endParaRPr lang="en-US" altLang="en-US" sz="2400" smtClean="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400" smtClean="0">
                <a:solidFill>
                  <a:srgbClr val="C00000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Modification of seafood product</a:t>
            </a:r>
            <a:endParaRPr lang="en-US" altLang="en-US" sz="2400" smtClean="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400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e.g. Increasing weight (over icing) or use of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400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unapproved additives</a:t>
            </a:r>
            <a:endParaRPr lang="en-US" altLang="en-US" sz="2400" smtClean="0">
              <a:solidFill>
                <a:srgbClr val="000000"/>
              </a:solidFill>
            </a:endParaRPr>
          </a:p>
        </p:txBody>
      </p:sp>
      <p:sp>
        <p:nvSpPr>
          <p:cNvPr id="8" name="CustomShape 2"/>
          <p:cNvSpPr/>
          <p:nvPr/>
        </p:nvSpPr>
        <p:spPr>
          <a:xfrm>
            <a:off x="1516069" y="1463787"/>
            <a:ext cx="5719762" cy="4857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800" b="1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TYPES OF INFRINGEMENT ON FOOD CRIME </a:t>
            </a:r>
            <a:r>
              <a:rPr lang="en-US" altLang="en-US" b="1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(ctd.)</a:t>
            </a:r>
            <a:endParaRPr lang="en-US" altLang="en-US" sz="2800" smtClean="0">
              <a:solidFill>
                <a:srgbClr val="000000"/>
              </a:solidFill>
            </a:endParaRPr>
          </a:p>
        </p:txBody>
      </p:sp>
      <p:sp>
        <p:nvSpPr>
          <p:cNvPr id="9" name="CustomShape 1"/>
          <p:cNvSpPr/>
          <p:nvPr/>
        </p:nvSpPr>
        <p:spPr>
          <a:xfrm>
            <a:off x="1258944" y="288925"/>
            <a:ext cx="6911975" cy="9794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4400" smtClean="0">
                <a:solidFill>
                  <a:srgbClr val="FFFFFF"/>
                </a:solidFill>
                <a:latin typeface="Calibri" pitchFamily="34" charset="0"/>
              </a:rPr>
              <a:t>Scope of Food Crime </a:t>
            </a:r>
            <a:r>
              <a:rPr lang="en-US" altLang="en-US" sz="3200" smtClean="0">
                <a:solidFill>
                  <a:srgbClr val="FFFFFF"/>
                </a:solidFill>
                <a:latin typeface="Calibri" pitchFamily="34" charset="0"/>
              </a:rPr>
              <a:t>(ctd.)</a:t>
            </a:r>
            <a:endParaRPr lang="en-US" altLang="en-US" smtClean="0">
              <a:solidFill>
                <a:srgbClr val="FFFFFF"/>
              </a:solidFill>
            </a:endParaRPr>
          </a:p>
        </p:txBody>
      </p:sp>
      <p:pic>
        <p:nvPicPr>
          <p:cNvPr id="30726" name="Imag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9281" y="2648062"/>
            <a:ext cx="2219325" cy="152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6594" y="5008675"/>
            <a:ext cx="2474912" cy="1228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Box 6"/>
          <p:cNvSpPr txBox="1"/>
          <p:nvPr/>
        </p:nvSpPr>
        <p:spPr>
          <a:xfrm>
            <a:off x="2914706" y="92075"/>
            <a:ext cx="3960813" cy="260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EUROPOL UNCLASSIFIED – BASIC PROTECTION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CustomShape 2"/>
          <p:cNvSpPr/>
          <p:nvPr/>
        </p:nvSpPr>
        <p:spPr>
          <a:xfrm>
            <a:off x="1474788" y="1341550"/>
            <a:ext cx="6553200" cy="2236787"/>
          </a:xfrm>
          <a:prstGeom prst="roundRect">
            <a:avLst>
              <a:gd name="adj" fmla="val 16667"/>
            </a:avLst>
          </a:prstGeom>
          <a:ln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ctr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4400" b="1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Fight against counterfeit/substandard </a:t>
            </a:r>
            <a:endParaRPr lang="en-US" altLang="en-US" sz="3200" smtClean="0">
              <a:solidFill>
                <a:srgbClr val="000000"/>
              </a:solidFill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4400" b="1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food and beverages</a:t>
            </a:r>
            <a:endParaRPr lang="en-US" altLang="en-US" sz="3200" smtClean="0">
              <a:solidFill>
                <a:srgbClr val="000000"/>
              </a:solidFill>
            </a:endParaRPr>
          </a:p>
        </p:txBody>
      </p:sp>
      <p:sp>
        <p:nvSpPr>
          <p:cNvPr id="11" name="CustomShape 1"/>
          <p:cNvSpPr/>
          <p:nvPr/>
        </p:nvSpPr>
        <p:spPr>
          <a:xfrm>
            <a:off x="1258944" y="360475"/>
            <a:ext cx="6911975" cy="98107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4400" smtClean="0">
                <a:solidFill>
                  <a:srgbClr val="FFFFFF"/>
                </a:solidFill>
                <a:latin typeface="Calibri" pitchFamily="34" charset="0"/>
              </a:rPr>
              <a:t>THE OPSON MODEL</a:t>
            </a:r>
            <a:endParaRPr lang="en-US" altLang="en-US" smtClean="0">
              <a:solidFill>
                <a:srgbClr val="FFFFFF"/>
              </a:solidFill>
            </a:endParaRPr>
          </a:p>
        </p:txBody>
      </p:sp>
      <p:pic>
        <p:nvPicPr>
          <p:cNvPr id="31748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444" y="4221163"/>
            <a:ext cx="1341437" cy="133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49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17781" y="3860800"/>
            <a:ext cx="969963" cy="180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7750" y="4256088"/>
            <a:ext cx="1511300" cy="1306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1" name="Picture 1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0675" y="4311762"/>
            <a:ext cx="1741488" cy="122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2" name="Picture 8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0819" y="4311762"/>
            <a:ext cx="1666875" cy="1249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3" name="Picture 8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21289" y="6175487"/>
            <a:ext cx="790575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6"/>
          <p:cNvSpPr txBox="1"/>
          <p:nvPr/>
        </p:nvSpPr>
        <p:spPr>
          <a:xfrm>
            <a:off x="2914706" y="92075"/>
            <a:ext cx="3960813" cy="260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EUROPOL UNCLASSIFIED – BASIC PROTECTION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CustomShape 1"/>
          <p:cNvSpPr/>
          <p:nvPr/>
        </p:nvSpPr>
        <p:spPr>
          <a:xfrm>
            <a:off x="5021263" y="1628775"/>
            <a:ext cx="2646362" cy="1835150"/>
          </a:xfrm>
          <a:prstGeom prst="rect">
            <a:avLst/>
          </a:prstGeom>
          <a:solidFill>
            <a:srgbClr val="FFFF66"/>
          </a:solidFill>
          <a:ln>
            <a:solidFill>
              <a:schemeClr val="lt1">
                <a:hueOff val="0"/>
                <a:satOff val="0"/>
                <a:lumOff val="0"/>
                <a:alphaOff val="0"/>
              </a:schemeClr>
            </a:solidFill>
            <a:round/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8760" tIns="68760" rIns="68760" bIns="68760" anchor="ctr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3200" b="1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Protect public health</a:t>
            </a:r>
            <a:endParaRPr lang="en-US" altLang="en-US" sz="3200" smtClean="0">
              <a:solidFill>
                <a:srgbClr val="000000"/>
              </a:solidFill>
            </a:endParaRPr>
          </a:p>
        </p:txBody>
      </p:sp>
      <p:sp>
        <p:nvSpPr>
          <p:cNvPr id="203" name="CustomShape 2"/>
          <p:cNvSpPr/>
          <p:nvPr/>
        </p:nvSpPr>
        <p:spPr>
          <a:xfrm>
            <a:off x="1619306" y="1628775"/>
            <a:ext cx="2678113" cy="1835150"/>
          </a:xfrm>
          <a:prstGeom prst="rect">
            <a:avLst/>
          </a:prstGeom>
          <a:solidFill>
            <a:srgbClr val="FFFF66"/>
          </a:solidFill>
          <a:ln>
            <a:solidFill>
              <a:schemeClr val="lt1">
                <a:hueOff val="0"/>
                <a:satOff val="0"/>
                <a:lumOff val="0"/>
                <a:alphaOff val="0"/>
              </a:schemeClr>
            </a:solidFill>
            <a:round/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8760" tIns="68760" rIns="68760" bIns="68760" anchor="ctr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3200" b="1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Fight against OCG involved in food crime</a:t>
            </a:r>
            <a:endParaRPr lang="en-US" altLang="en-US" sz="3200" smtClean="0">
              <a:solidFill>
                <a:srgbClr val="000000"/>
              </a:solidFill>
            </a:endParaRPr>
          </a:p>
        </p:txBody>
      </p:sp>
      <p:sp>
        <p:nvSpPr>
          <p:cNvPr id="204" name="CustomShape 3"/>
          <p:cNvSpPr/>
          <p:nvPr/>
        </p:nvSpPr>
        <p:spPr>
          <a:xfrm>
            <a:off x="250881" y="4241800"/>
            <a:ext cx="2449513" cy="183515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lt1">
                <a:hueOff val="0"/>
                <a:satOff val="0"/>
                <a:lumOff val="0"/>
                <a:alphaOff val="0"/>
              </a:schemeClr>
            </a:solidFill>
            <a:round/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8760" tIns="68760" rIns="68760" bIns="68760" anchor="ctr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3200" b="1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Enhance inter-agency cooperation </a:t>
            </a:r>
            <a:endParaRPr lang="en-US" altLang="en-US" sz="3200" smtClean="0">
              <a:solidFill>
                <a:srgbClr val="000000"/>
              </a:solidFill>
            </a:endParaRPr>
          </a:p>
        </p:txBody>
      </p:sp>
      <p:sp>
        <p:nvSpPr>
          <p:cNvPr id="205" name="CustomShape 4"/>
          <p:cNvSpPr/>
          <p:nvPr/>
        </p:nvSpPr>
        <p:spPr>
          <a:xfrm>
            <a:off x="5940426" y="4260850"/>
            <a:ext cx="2879725" cy="183515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lt1">
                <a:hueOff val="0"/>
                <a:satOff val="0"/>
                <a:lumOff val="0"/>
                <a:alphaOff val="0"/>
              </a:schemeClr>
            </a:solidFill>
            <a:round/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8760" tIns="68760" rIns="68760" bIns="68760" anchor="ctr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3200" b="1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Improve public/private cooperation</a:t>
            </a:r>
            <a:endParaRPr lang="en-US" altLang="en-US" sz="3200" smtClean="0">
              <a:solidFill>
                <a:srgbClr val="000000"/>
              </a:solidFill>
            </a:endParaRPr>
          </a:p>
        </p:txBody>
      </p:sp>
      <p:sp>
        <p:nvSpPr>
          <p:cNvPr id="206" name="CustomShape 5"/>
          <p:cNvSpPr/>
          <p:nvPr/>
        </p:nvSpPr>
        <p:spPr>
          <a:xfrm>
            <a:off x="3106738" y="4241800"/>
            <a:ext cx="2544762" cy="183515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lt1">
                <a:hueOff val="0"/>
                <a:satOff val="0"/>
                <a:lumOff val="0"/>
                <a:alphaOff val="0"/>
              </a:schemeClr>
            </a:solidFill>
            <a:round/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8760" tIns="68760" rIns="68760" bIns="68760" anchor="ctr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3200" b="1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Enhance international cooperation</a:t>
            </a:r>
            <a:endParaRPr lang="en-US" altLang="en-US" sz="3200" smtClean="0">
              <a:solidFill>
                <a:srgbClr val="000000"/>
              </a:solidFill>
            </a:endParaRPr>
          </a:p>
        </p:txBody>
      </p:sp>
      <p:sp>
        <p:nvSpPr>
          <p:cNvPr id="10" name="CustomShape 1"/>
          <p:cNvSpPr/>
          <p:nvPr/>
        </p:nvSpPr>
        <p:spPr>
          <a:xfrm>
            <a:off x="1258944" y="288925"/>
            <a:ext cx="6911975" cy="9794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4400" smtClean="0">
                <a:solidFill>
                  <a:srgbClr val="FFFFFF"/>
                </a:solidFill>
                <a:latin typeface="Calibri" pitchFamily="34" charset="0"/>
              </a:rPr>
              <a:t>OPSON - Objectives</a:t>
            </a:r>
            <a:endParaRPr lang="en-US" altLang="en-US" smtClean="0">
              <a:solidFill>
                <a:srgbClr val="FFFFFF"/>
              </a:solidFill>
            </a:endParaRPr>
          </a:p>
        </p:txBody>
      </p:sp>
      <p:sp>
        <p:nvSpPr>
          <p:cNvPr id="11" name="TextBox 6"/>
          <p:cNvSpPr txBox="1"/>
          <p:nvPr/>
        </p:nvSpPr>
        <p:spPr>
          <a:xfrm>
            <a:off x="2914706" y="92075"/>
            <a:ext cx="3960813" cy="260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EUROPOL UNCLASSIFIED – BASIC PROTECTION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CustomShape 7"/>
          <p:cNvSpPr/>
          <p:nvPr/>
        </p:nvSpPr>
        <p:spPr>
          <a:xfrm rot="9831000">
            <a:off x="2611438" y="5060950"/>
            <a:ext cx="1162050" cy="44450"/>
          </a:xfrm>
          <a:custGeom>
            <a:avLst/>
            <a:gdLst/>
            <a:ahLst/>
            <a:cxnLst/>
            <a:rect l="l" t="t" r="r" b="b"/>
            <a:pathLst>
              <a:path w="1163583">
                <a:moveTo>
                  <a:pt x="0" y="17113"/>
                </a:moveTo>
                <a:lnTo>
                  <a:pt x="1163583" y="17113"/>
                </a:lnTo>
              </a:path>
            </a:pathLst>
          </a:custGeom>
          <a:noFill/>
          <a:ln>
            <a:solidFill>
              <a:schemeClr val="accent1">
                <a:shade val="60000"/>
                <a:hueOff val="0"/>
                <a:satOff val="0"/>
                <a:lumOff val="0"/>
                <a:alphaOff val="0"/>
              </a:schemeClr>
            </a:solidFill>
            <a:round/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3" name="CustomShape 7"/>
          <p:cNvSpPr/>
          <p:nvPr/>
        </p:nvSpPr>
        <p:spPr>
          <a:xfrm rot="9831000">
            <a:off x="5418194" y="4165600"/>
            <a:ext cx="1163637" cy="44450"/>
          </a:xfrm>
          <a:custGeom>
            <a:avLst/>
            <a:gdLst/>
            <a:ahLst/>
            <a:cxnLst/>
            <a:rect l="l" t="t" r="r" b="b"/>
            <a:pathLst>
              <a:path w="1163583">
                <a:moveTo>
                  <a:pt x="0" y="17113"/>
                </a:moveTo>
                <a:lnTo>
                  <a:pt x="1163583" y="17113"/>
                </a:lnTo>
              </a:path>
            </a:pathLst>
          </a:custGeom>
          <a:noFill/>
          <a:ln>
            <a:solidFill>
              <a:schemeClr val="accent1">
                <a:shade val="60000"/>
                <a:hueOff val="0"/>
                <a:satOff val="0"/>
                <a:lumOff val="0"/>
                <a:alphaOff val="0"/>
              </a:schemeClr>
            </a:solidFill>
            <a:round/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13" name="CustomShape 2"/>
          <p:cNvSpPr/>
          <p:nvPr/>
        </p:nvSpPr>
        <p:spPr>
          <a:xfrm>
            <a:off x="3492505" y="3637075"/>
            <a:ext cx="2051050" cy="1806575"/>
          </a:xfrm>
          <a:prstGeom prst="ellipse">
            <a:avLst/>
          </a:prstGeom>
          <a:solidFill>
            <a:schemeClr val="accent2"/>
          </a:solidFill>
          <a:ln>
            <a:solidFill>
              <a:schemeClr val="lt1">
                <a:hueOff val="0"/>
                <a:satOff val="0"/>
                <a:lumOff val="0"/>
                <a:alphaOff val="0"/>
              </a:schemeClr>
            </a:solidFill>
            <a:round/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1520" tIns="11520" rIns="11520" bIns="11520" anchor="ctr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 smtClean="0">
                <a:solidFill>
                  <a:srgbClr val="FFFFFF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Sharing-</a:t>
            </a:r>
          </a:p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 smtClean="0">
                <a:solidFill>
                  <a:srgbClr val="FFFFFF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Exchange of information</a:t>
            </a:r>
            <a:endParaRPr lang="en-US" altLang="en-US" sz="2000" smtClean="0">
              <a:solidFill>
                <a:srgbClr val="000000"/>
              </a:solidFill>
            </a:endParaRPr>
          </a:p>
        </p:txBody>
      </p:sp>
      <p:sp>
        <p:nvSpPr>
          <p:cNvPr id="214" name="CustomShape 3"/>
          <p:cNvSpPr/>
          <p:nvPr/>
        </p:nvSpPr>
        <p:spPr>
          <a:xfrm rot="16170000">
            <a:off x="4207669" y="3309144"/>
            <a:ext cx="622300" cy="33338"/>
          </a:xfrm>
          <a:custGeom>
            <a:avLst/>
            <a:gdLst/>
            <a:ahLst/>
            <a:cxnLst/>
            <a:rect l="l" t="t" r="r" b="b"/>
            <a:pathLst>
              <a:path w="466945">
                <a:moveTo>
                  <a:pt x="0" y="17113"/>
                </a:moveTo>
                <a:lnTo>
                  <a:pt x="466945" y="17113"/>
                </a:lnTo>
              </a:path>
            </a:pathLst>
          </a:custGeom>
          <a:noFill/>
          <a:ln>
            <a:solidFill>
              <a:schemeClr val="accent1">
                <a:shade val="60000"/>
                <a:hueOff val="0"/>
                <a:satOff val="0"/>
                <a:lumOff val="0"/>
                <a:alphaOff val="0"/>
              </a:schemeClr>
            </a:solidFill>
            <a:round/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215" name="CustomShape 4"/>
          <p:cNvSpPr/>
          <p:nvPr/>
        </p:nvSpPr>
        <p:spPr>
          <a:xfrm>
            <a:off x="3492504" y="1252650"/>
            <a:ext cx="1943100" cy="1762125"/>
          </a:xfrm>
          <a:prstGeom prst="ellipse">
            <a:avLst/>
          </a:prstGeom>
          <a:solidFill>
            <a:srgbClr val="FFFF66"/>
          </a:solidFill>
          <a:ln>
            <a:solidFill>
              <a:schemeClr val="lt1">
                <a:hueOff val="0"/>
                <a:satOff val="0"/>
                <a:lumOff val="0"/>
                <a:alphaOff val="0"/>
              </a:schemeClr>
            </a:solidFill>
            <a:round/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" tIns="9000" rIns="9000" bIns="9000" anchor="ctr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 smtClean="0">
                <a:solidFill>
                  <a:srgbClr val="000000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Inter-agency partnership</a:t>
            </a:r>
            <a:endParaRPr lang="en-US" altLang="en-US" sz="2800" smtClean="0">
              <a:solidFill>
                <a:srgbClr val="000000"/>
              </a:solidFill>
            </a:endParaRPr>
          </a:p>
        </p:txBody>
      </p:sp>
      <p:sp>
        <p:nvSpPr>
          <p:cNvPr id="217" name="CustomShape 6"/>
          <p:cNvSpPr/>
          <p:nvPr/>
        </p:nvSpPr>
        <p:spPr>
          <a:xfrm>
            <a:off x="6372281" y="2924183"/>
            <a:ext cx="2016125" cy="1806575"/>
          </a:xfrm>
          <a:prstGeom prst="ellipse">
            <a:avLst/>
          </a:prstGeom>
          <a:solidFill>
            <a:srgbClr val="FFFF66"/>
          </a:solidFill>
          <a:ln>
            <a:solidFill>
              <a:schemeClr val="lt1">
                <a:hueOff val="0"/>
                <a:satOff val="0"/>
                <a:lumOff val="0"/>
                <a:alphaOff val="0"/>
              </a:schemeClr>
            </a:solidFill>
            <a:round/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" tIns="9000" rIns="9000" bIns="9000" anchor="ctr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 smtClean="0">
                <a:solidFill>
                  <a:srgbClr val="000000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International cooperation</a:t>
            </a:r>
            <a:endParaRPr lang="en-US" altLang="en-US" sz="2800" smtClean="0">
              <a:solidFill>
                <a:srgbClr val="000000"/>
              </a:solidFill>
            </a:endParaRPr>
          </a:p>
        </p:txBody>
      </p:sp>
      <p:sp>
        <p:nvSpPr>
          <p:cNvPr id="219" name="CustomShape 8"/>
          <p:cNvSpPr/>
          <p:nvPr/>
        </p:nvSpPr>
        <p:spPr>
          <a:xfrm>
            <a:off x="684269" y="4676887"/>
            <a:ext cx="2033587" cy="1806575"/>
          </a:xfrm>
          <a:prstGeom prst="ellipse">
            <a:avLst/>
          </a:prstGeom>
          <a:solidFill>
            <a:srgbClr val="FFFF66"/>
          </a:solidFill>
          <a:ln>
            <a:solidFill>
              <a:schemeClr val="lt1">
                <a:hueOff val="0"/>
                <a:satOff val="0"/>
                <a:lumOff val="0"/>
                <a:alphaOff val="0"/>
              </a:schemeClr>
            </a:solidFill>
            <a:round/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360" tIns="9360" rIns="9360" bIns="9360" anchor="ctr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 smtClean="0">
                <a:solidFill>
                  <a:srgbClr val="000000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Public-private sector cooperation</a:t>
            </a:r>
            <a:endParaRPr lang="en-US" altLang="en-US" sz="2800" smtClean="0">
              <a:solidFill>
                <a:srgbClr val="000000"/>
              </a:solidFill>
            </a:endParaRPr>
          </a:p>
        </p:txBody>
      </p:sp>
      <p:sp>
        <p:nvSpPr>
          <p:cNvPr id="12" name="CustomShape 1"/>
          <p:cNvSpPr/>
          <p:nvPr/>
        </p:nvSpPr>
        <p:spPr>
          <a:xfrm>
            <a:off x="539750" y="288925"/>
            <a:ext cx="8064500" cy="9794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4400" smtClean="0">
                <a:solidFill>
                  <a:srgbClr val="FFFFFF"/>
                </a:solidFill>
                <a:latin typeface="Calibri" pitchFamily="34" charset="0"/>
              </a:rPr>
              <a:t>How to achieve collective success?</a:t>
            </a:r>
            <a:endParaRPr lang="en-US" altLang="en-US" smtClean="0">
              <a:solidFill>
                <a:srgbClr val="FFFFFF"/>
              </a:solidFill>
            </a:endParaRPr>
          </a:p>
        </p:txBody>
      </p:sp>
      <p:pic>
        <p:nvPicPr>
          <p:cNvPr id="33802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781" y="6175487"/>
            <a:ext cx="792163" cy="638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TextBox 6"/>
          <p:cNvSpPr txBox="1"/>
          <p:nvPr/>
        </p:nvSpPr>
        <p:spPr>
          <a:xfrm>
            <a:off x="2914706" y="92075"/>
            <a:ext cx="3960813" cy="260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EUROPOL UNCLASSIFIED – BASIC PROTECTION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50825" y="216012"/>
            <a:ext cx="8497888" cy="981075"/>
          </a:xfrm>
        </p:spPr>
        <p:txBody>
          <a:bodyPr/>
          <a:lstStyle/>
          <a:p>
            <a:pPr algn="ctr" eaLnBrk="1" hangingPunct="1"/>
            <a:r>
              <a:rPr lang="en-GB" altLang="en-US" sz="4400" smtClean="0">
                <a:latin typeface="Calibri" pitchFamily="34" charset="0"/>
              </a:rPr>
              <a:t>EU Policy Cycle – 2014/2017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2914706" y="92075"/>
            <a:ext cx="3960813" cy="260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EUROPOL UNCLASSIFIED – BASIC PROTECTION LEVEL</a:t>
            </a:r>
          </a:p>
        </p:txBody>
      </p:sp>
      <p:pic>
        <p:nvPicPr>
          <p:cNvPr id="34820" name="Picture 9" descr="EU Policy Cycl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7200" y="1136650"/>
            <a:ext cx="5868988" cy="472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CustomShape 3"/>
          <p:cNvSpPr/>
          <p:nvPr/>
        </p:nvSpPr>
        <p:spPr>
          <a:xfrm>
            <a:off x="-458784" y="5915025"/>
            <a:ext cx="8702676" cy="3937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000" smtClean="0">
                <a:solidFill>
                  <a:srgbClr val="FF0000"/>
                </a:solidFill>
                <a:latin typeface="Comic Sans MS" pitchFamily="66" charset="0"/>
                <a:ea typeface="MS PGothic" pitchFamily="34" charset="-128"/>
              </a:rPr>
              <a:t>https://www.europol.europa.eu/content/eu-policy-cycle-empact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8" name="CustomShape 2"/>
          <p:cNvSpPr/>
          <p:nvPr/>
        </p:nvSpPr>
        <p:spPr>
          <a:xfrm>
            <a:off x="107950" y="6330950"/>
            <a:ext cx="5903913" cy="6985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000" smtClean="0">
                <a:solidFill>
                  <a:srgbClr val="FF0000"/>
                </a:solidFill>
                <a:latin typeface="Comic Sans MS" pitchFamily="66" charset="0"/>
                <a:ea typeface="MS PGothic" pitchFamily="34" charset="-128"/>
              </a:rPr>
              <a:t>http://www.youtube.com/watch?v=l5en24omjqM</a:t>
            </a:r>
            <a:endParaRPr lang="en-US" altLang="en-US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" name="CustomShape 2"/>
          <p:cNvSpPr/>
          <p:nvPr/>
        </p:nvSpPr>
        <p:spPr>
          <a:xfrm>
            <a:off x="107950" y="1989143"/>
            <a:ext cx="8602663" cy="3921125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4800" i="1" smtClean="0">
                <a:solidFill>
                  <a:srgbClr val="00437A"/>
                </a:solidFill>
                <a:ea typeface="MS PGothic" pitchFamily="34" charset="-128"/>
              </a:rPr>
              <a:t>“Promoting the multidisciplinary approach by linking EU LEAs with DG SANTE training courses”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pic>
        <p:nvPicPr>
          <p:cNvPr id="227" name="Picture 3"/>
          <p:cNvPicPr/>
          <p:nvPr/>
        </p:nvPicPr>
        <p:blipFill>
          <a:blip r:embed="rId2"/>
          <a:stretch/>
        </p:blipFill>
        <p:spPr>
          <a:xfrm>
            <a:off x="8294744" y="192088"/>
            <a:ext cx="731837" cy="787400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pic>
        <p:nvPicPr>
          <p:cNvPr id="228" name="Picture 2"/>
          <p:cNvPicPr/>
          <p:nvPr/>
        </p:nvPicPr>
        <p:blipFill>
          <a:blip r:embed="rId3"/>
          <a:stretch/>
        </p:blipFill>
        <p:spPr>
          <a:xfrm>
            <a:off x="7499350" y="192200"/>
            <a:ext cx="658813" cy="803275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7" name="CustomShape 1"/>
          <p:cNvSpPr/>
          <p:nvPr/>
        </p:nvSpPr>
        <p:spPr>
          <a:xfrm>
            <a:off x="-36503" y="288925"/>
            <a:ext cx="7912101" cy="9794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4400" smtClean="0">
                <a:solidFill>
                  <a:srgbClr val="FFFFFF"/>
                </a:solidFill>
                <a:latin typeface="Calibri" pitchFamily="34" charset="0"/>
              </a:rPr>
              <a:t>EMPACT – “Counterfeit Goods”</a:t>
            </a:r>
            <a:endParaRPr lang="en-US" altLang="en-US" smtClean="0">
              <a:solidFill>
                <a:srgbClr val="FFFFFF"/>
              </a:solidFill>
            </a:endParaRPr>
          </a:p>
        </p:txBody>
      </p:sp>
      <p:sp>
        <p:nvSpPr>
          <p:cNvPr id="8" name="TextBox 6"/>
          <p:cNvSpPr txBox="1"/>
          <p:nvPr/>
        </p:nvSpPr>
        <p:spPr>
          <a:xfrm>
            <a:off x="2914706" y="92075"/>
            <a:ext cx="3960813" cy="260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EUROPOL UNCLASSIFIED – BASIC PROTECTION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2" name="CustomShape 1"/>
          <p:cNvSpPr/>
          <p:nvPr/>
        </p:nvSpPr>
        <p:spPr>
          <a:xfrm>
            <a:off x="108006" y="1125538"/>
            <a:ext cx="3743325" cy="6477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800" b="1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EU Countries </a:t>
            </a:r>
            <a:endParaRPr lang="en-US" altLang="en-US" sz="2000" smtClean="0">
              <a:solidFill>
                <a:srgbClr val="000000"/>
              </a:solidFill>
            </a:endParaRPr>
          </a:p>
        </p:txBody>
      </p:sp>
      <p:sp>
        <p:nvSpPr>
          <p:cNvPr id="233" name="CustomShape 2"/>
          <p:cNvSpPr/>
          <p:nvPr/>
        </p:nvSpPr>
        <p:spPr>
          <a:xfrm>
            <a:off x="179444" y="1604963"/>
            <a:ext cx="3527425" cy="4894262"/>
          </a:xfrm>
          <a:prstGeom prst="roundRect">
            <a:avLst>
              <a:gd name="adj" fmla="val 16667"/>
            </a:avLst>
          </a:prstGeom>
          <a:solidFill>
            <a:schemeClr val="accent1">
              <a:lumMod val="50000"/>
            </a:schemeClr>
          </a:solidFill>
          <a:ln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ctr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400" smtClean="0">
                <a:solidFill>
                  <a:srgbClr val="FFFFFF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Austria, Belgium, Bulgaria, Croatia, Czech Republic, Denmark, Estonia, Finland, France, Germany, Greece, Hungary, Ireland, Italy, Latvia, Lithuania, Luxembourg, the Netherlands, Portugal, Romania, Spain, Sweden, United Kingdom</a:t>
            </a:r>
            <a:endParaRPr lang="en-US" altLang="en-US" sz="2400" smtClean="0">
              <a:solidFill>
                <a:srgbClr val="000000"/>
              </a:solidFill>
            </a:endParaRPr>
          </a:p>
        </p:txBody>
      </p:sp>
      <p:sp>
        <p:nvSpPr>
          <p:cNvPr id="234" name="CustomShape 3"/>
          <p:cNvSpPr/>
          <p:nvPr/>
        </p:nvSpPr>
        <p:spPr>
          <a:xfrm>
            <a:off x="4643438" y="1125538"/>
            <a:ext cx="3744912" cy="6477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800" b="1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Non EU Countries </a:t>
            </a:r>
            <a:endParaRPr lang="en-US" altLang="en-US" sz="2000" smtClean="0">
              <a:solidFill>
                <a:srgbClr val="000000"/>
              </a:solidFill>
            </a:endParaRPr>
          </a:p>
        </p:txBody>
      </p:sp>
      <p:sp>
        <p:nvSpPr>
          <p:cNvPr id="235" name="CustomShape 4"/>
          <p:cNvSpPr/>
          <p:nvPr/>
        </p:nvSpPr>
        <p:spPr>
          <a:xfrm>
            <a:off x="3783069" y="1557450"/>
            <a:ext cx="2363787" cy="2071687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lt1">
                <a:hueOff val="0"/>
                <a:satOff val="0"/>
                <a:lumOff val="0"/>
                <a:alphaOff val="0"/>
              </a:schemeClr>
            </a:solidFill>
            <a:round/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4800" tIns="64800" rIns="64800" bIns="64800" anchor="ctr"/>
          <a:lstStyle>
            <a:lvl1pPr>
              <a:spcBef>
                <a:spcPct val="20000"/>
              </a:spcBef>
              <a:defRPr sz="2400">
                <a:solidFill>
                  <a:srgbClr val="063170"/>
                </a:solidFill>
                <a:latin typeface="Verdana" pitchFamily="34" charset="0"/>
              </a:defRPr>
            </a:lvl1pPr>
            <a:lvl2pPr marL="742950" indent="-285750">
              <a:spcBef>
                <a:spcPct val="20000"/>
              </a:spcBef>
              <a:buSzPct val="85000"/>
              <a:buChar char="•"/>
              <a:defRPr sz="2400">
                <a:solidFill>
                  <a:srgbClr val="063170"/>
                </a:solidFill>
                <a:latin typeface="Verdana" pitchFamily="34" charset="0"/>
              </a:defRPr>
            </a:lvl2pPr>
            <a:lvl3pPr marL="1143000" indent="-22860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063170"/>
                </a:solidFill>
                <a:latin typeface="Verdan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063170"/>
                </a:solidFill>
                <a:latin typeface="Verdan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rgbClr val="063170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63170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63170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63170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63170"/>
                </a:solidFill>
                <a:latin typeface="Verdana" pitchFamily="34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it-IT" sz="2000" b="1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Africa </a:t>
            </a:r>
            <a:endParaRPr lang="en-US" altLang="it-IT" smtClean="0">
              <a:solidFill>
                <a:srgbClr val="000000"/>
              </a:solidFill>
              <a:latin typeface="Arial" charset="0"/>
            </a:endParaRPr>
          </a:p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it-IT" sz="1800" smtClean="0">
                <a:solidFill>
                  <a:srgbClr val="00437A"/>
                </a:solidFill>
                <a:latin typeface="Calibri" pitchFamily="34" charset="0"/>
              </a:rPr>
              <a:t>Burundi, Comores, Côte d’Ivoire, Eritrea, Kenya, Nigeria, Rwanda, Seychelles, South Sudan, Sudan, Tanzania, Togo, Zambia </a:t>
            </a:r>
            <a:endParaRPr lang="en-US" altLang="it-IT" sz="2000" smtClean="0">
              <a:solidFill>
                <a:srgbClr val="00437A"/>
              </a:solidFill>
              <a:latin typeface="Calibri" pitchFamily="34" charset="0"/>
              <a:ea typeface="DejaVu Sans" pitchFamily="34" charset="0"/>
              <a:cs typeface="DejaVu Sans" pitchFamily="34" charset="0"/>
            </a:endParaRPr>
          </a:p>
        </p:txBody>
      </p:sp>
      <p:sp>
        <p:nvSpPr>
          <p:cNvPr id="236" name="CustomShape 5"/>
          <p:cNvSpPr/>
          <p:nvPr/>
        </p:nvSpPr>
        <p:spPr>
          <a:xfrm>
            <a:off x="3779838" y="3702050"/>
            <a:ext cx="2378075" cy="18288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lt1">
                <a:hueOff val="0"/>
                <a:satOff val="0"/>
                <a:lumOff val="0"/>
                <a:alphaOff val="0"/>
              </a:schemeClr>
            </a:solidFill>
            <a:round/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0840" tIns="60840" rIns="60840" bIns="60840" anchor="ctr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Europe</a:t>
            </a:r>
            <a:endParaRPr lang="en-US" altLang="en-US" sz="2400" smtClean="0">
              <a:solidFill>
                <a:srgbClr val="000000"/>
              </a:solidFill>
            </a:endParaRPr>
          </a:p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Albania, Belarus,</a:t>
            </a:r>
            <a:endParaRPr lang="en-US" altLang="en-US" sz="2400" smtClean="0">
              <a:solidFill>
                <a:srgbClr val="000000"/>
              </a:solidFill>
            </a:endParaRPr>
          </a:p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Bosnia and Herzegovina,  Iceland, Turkey, Norway, Russia</a:t>
            </a:r>
            <a:endParaRPr lang="en-US" altLang="en-US" sz="2400" smtClean="0">
              <a:solidFill>
                <a:srgbClr val="000000"/>
              </a:solidFill>
            </a:endParaRPr>
          </a:p>
        </p:txBody>
      </p:sp>
      <p:sp>
        <p:nvSpPr>
          <p:cNvPr id="239" name="CustomShape 8"/>
          <p:cNvSpPr/>
          <p:nvPr/>
        </p:nvSpPr>
        <p:spPr>
          <a:xfrm>
            <a:off x="6230938" y="1557450"/>
            <a:ext cx="2363787" cy="2071687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lt1">
                <a:hueOff val="0"/>
                <a:satOff val="0"/>
                <a:lumOff val="0"/>
                <a:alphaOff val="0"/>
              </a:schemeClr>
            </a:solidFill>
            <a:round/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4800" tIns="64800" rIns="64800" bIns="64800" anchor="ctr"/>
          <a:lstStyle>
            <a:lvl1pPr>
              <a:spcBef>
                <a:spcPct val="20000"/>
              </a:spcBef>
              <a:defRPr sz="2400">
                <a:solidFill>
                  <a:srgbClr val="063170"/>
                </a:solidFill>
                <a:latin typeface="Verdana" pitchFamily="34" charset="0"/>
              </a:defRPr>
            </a:lvl1pPr>
            <a:lvl2pPr marL="742950" indent="-285750">
              <a:spcBef>
                <a:spcPct val="20000"/>
              </a:spcBef>
              <a:buSzPct val="85000"/>
              <a:buChar char="•"/>
              <a:defRPr sz="2400">
                <a:solidFill>
                  <a:srgbClr val="063170"/>
                </a:solidFill>
                <a:latin typeface="Verdana" pitchFamily="34" charset="0"/>
              </a:defRPr>
            </a:lvl2pPr>
            <a:lvl3pPr marL="1143000" indent="-22860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063170"/>
                </a:solidFill>
                <a:latin typeface="Verdan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063170"/>
                </a:solidFill>
                <a:latin typeface="Verdan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rgbClr val="063170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63170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63170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63170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63170"/>
                </a:solidFill>
                <a:latin typeface="Verdana" pitchFamily="34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it-IT" sz="2000" b="1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America</a:t>
            </a:r>
          </a:p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it-IT" sz="800" smtClean="0">
                <a:solidFill>
                  <a:srgbClr val="000000"/>
                </a:solidFill>
                <a:latin typeface="Arial" charset="0"/>
              </a:rPr>
              <a:t> </a:t>
            </a:r>
          </a:p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it-IT" sz="1800" smtClean="0">
                <a:solidFill>
                  <a:srgbClr val="00437A"/>
                </a:solidFill>
                <a:latin typeface="Calibri" pitchFamily="34" charset="0"/>
              </a:rPr>
              <a:t>Argentina, Bolivia, Colombia, Ecuador, Peru, Uruguay, USA</a:t>
            </a:r>
            <a:endParaRPr lang="en-US" altLang="it-IT" sz="2000" smtClean="0">
              <a:solidFill>
                <a:srgbClr val="00437A"/>
              </a:solidFill>
              <a:latin typeface="Calibri" pitchFamily="34" charset="0"/>
              <a:ea typeface="DejaVu Sans" pitchFamily="34" charset="0"/>
              <a:cs typeface="DejaVu Sans" pitchFamily="34" charset="0"/>
            </a:endParaRPr>
          </a:p>
        </p:txBody>
      </p:sp>
      <p:sp>
        <p:nvSpPr>
          <p:cNvPr id="240" name="CustomShape 9"/>
          <p:cNvSpPr/>
          <p:nvPr/>
        </p:nvSpPr>
        <p:spPr>
          <a:xfrm>
            <a:off x="6227767" y="3702050"/>
            <a:ext cx="2378075" cy="18288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lt1">
                <a:hueOff val="0"/>
                <a:satOff val="0"/>
                <a:lumOff val="0"/>
                <a:alphaOff val="0"/>
              </a:schemeClr>
            </a:solidFill>
            <a:round/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0840" tIns="60840" rIns="60840" bIns="60840" anchor="ctr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Asia</a:t>
            </a:r>
          </a:p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en-US" sz="400" smtClean="0">
              <a:solidFill>
                <a:srgbClr val="000000"/>
              </a:solidFill>
            </a:endParaRPr>
          </a:p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Australia, Fiji, Indonesia, Korea, Thailand, Vietnam</a:t>
            </a:r>
            <a:endParaRPr lang="en-US" altLang="en-US" sz="2400" smtClean="0">
              <a:solidFill>
                <a:srgbClr val="000000"/>
              </a:solidFill>
            </a:endParaRPr>
          </a:p>
        </p:txBody>
      </p:sp>
      <p:sp>
        <p:nvSpPr>
          <p:cNvPr id="13" name="CustomShape 1"/>
          <p:cNvSpPr/>
          <p:nvPr/>
        </p:nvSpPr>
        <p:spPr>
          <a:xfrm>
            <a:off x="-107950" y="288925"/>
            <a:ext cx="8280400" cy="9794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4400" smtClean="0">
                <a:solidFill>
                  <a:srgbClr val="FFFFFF"/>
                </a:solidFill>
                <a:latin typeface="Calibri" pitchFamily="34" charset="0"/>
              </a:rPr>
              <a:t>OPSON V – Participating countries</a:t>
            </a:r>
            <a:endParaRPr lang="en-US" altLang="en-US" smtClean="0">
              <a:solidFill>
                <a:srgbClr val="FFFFFF"/>
              </a:solidFill>
            </a:endParaRPr>
          </a:p>
        </p:txBody>
      </p:sp>
      <p:sp>
        <p:nvSpPr>
          <p:cNvPr id="14" name="TextBox 6"/>
          <p:cNvSpPr txBox="1"/>
          <p:nvPr/>
        </p:nvSpPr>
        <p:spPr>
          <a:xfrm>
            <a:off x="2914706" y="92075"/>
            <a:ext cx="3960813" cy="260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EUROPOL UNCLASSIFIED – BASIC PROTECTION LEVEL</a:t>
            </a:r>
          </a:p>
        </p:txBody>
      </p:sp>
      <p:sp>
        <p:nvSpPr>
          <p:cNvPr id="15" name="CustomShape 9"/>
          <p:cNvSpPr/>
          <p:nvPr/>
        </p:nvSpPr>
        <p:spPr>
          <a:xfrm>
            <a:off x="3783013" y="5589588"/>
            <a:ext cx="2376487" cy="914400"/>
          </a:xfrm>
          <a:prstGeom prst="rect">
            <a:avLst/>
          </a:prstGeom>
          <a:solidFill>
            <a:schemeClr val="tx1">
              <a:lumMod val="20000"/>
              <a:lumOff val="80000"/>
            </a:schemeClr>
          </a:solidFill>
          <a:ln>
            <a:solidFill>
              <a:schemeClr val="lt1">
                <a:hueOff val="0"/>
                <a:satOff val="0"/>
                <a:lumOff val="0"/>
                <a:alphaOff val="0"/>
              </a:schemeClr>
            </a:solidFill>
            <a:round/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60840" tIns="60840" rIns="60840" bIns="60840" anchor="ctr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Middle East</a:t>
            </a:r>
          </a:p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en-US" sz="400" smtClean="0">
              <a:solidFill>
                <a:srgbClr val="000000"/>
              </a:solidFill>
            </a:endParaRPr>
          </a:p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Jordan</a:t>
            </a:r>
            <a:endParaRPr lang="en-US" altLang="en-US" sz="2400" smtClean="0">
              <a:solidFill>
                <a:srgbClr val="000000"/>
              </a:solidFill>
            </a:endParaRPr>
          </a:p>
        </p:txBody>
      </p:sp>
      <p:pic>
        <p:nvPicPr>
          <p:cNvPr id="36876" name="Picture 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388" y="5672250"/>
            <a:ext cx="792162" cy="636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CasellaDiTesto 1"/>
          <p:cNvSpPr txBox="1"/>
          <p:nvPr/>
        </p:nvSpPr>
        <p:spPr>
          <a:xfrm>
            <a:off x="7956606" y="293688"/>
            <a:ext cx="1382713" cy="1047750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4400" smtClean="0">
                <a:solidFill>
                  <a:srgbClr val="FFFFFF"/>
                </a:solidFill>
                <a:latin typeface="Calibri" pitchFamily="34" charset="0"/>
              </a:rPr>
              <a:t>(57)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it-IT" altLang="en-US" smtClean="0">
              <a:solidFill>
                <a:srgbClr val="FFFFF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155" y="1529568"/>
            <a:ext cx="2294142" cy="32539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27" y="4776770"/>
            <a:ext cx="2075651" cy="1982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9564" y="2564904"/>
            <a:ext cx="2180468" cy="2687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5966" y="5174269"/>
            <a:ext cx="1986086" cy="17071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1758" y="1485232"/>
            <a:ext cx="1876218" cy="29833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1470" y="4636049"/>
            <a:ext cx="2036794" cy="1673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942"/>
            <a:ext cx="2952328" cy="13288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5934" y="4961255"/>
            <a:ext cx="1753868" cy="1724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8" name="Picture 14" descr="C:\Users\A.DAMARIO.lenovo\Desktop\European-Livestock-And-Meat-Trading-Union-UECBV-logo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8" y="3284984"/>
            <a:ext cx="1329129" cy="1000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9" name="Picture 15" descr="C:\Users\A.DAMARIO.lenovo\Desktop\CELCAA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9" y="2563672"/>
            <a:ext cx="2088231" cy="361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C:\Users\A.DAMARIO.lenovo\Desktop\eurocoop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0761" y="1821288"/>
            <a:ext cx="2159967" cy="487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1" name="Picture 17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5675" y="267979"/>
            <a:ext cx="2129921" cy="1386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7346" name="Picture 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9564" y="1479823"/>
            <a:ext cx="1820428" cy="1122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58593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CustomShape 1"/>
          <p:cNvSpPr/>
          <p:nvPr/>
        </p:nvSpPr>
        <p:spPr>
          <a:xfrm>
            <a:off x="503280" y="1482240"/>
            <a:ext cx="1081800" cy="993600"/>
          </a:xfrm>
          <a:prstGeom prst="roundRect">
            <a:avLst>
              <a:gd name="adj" fmla="val 16667"/>
            </a:avLst>
          </a:prstGeom>
          <a:blipFill>
            <a:blip r:embed="rId3"/>
            <a:stretch>
              <a:fillRect l="10642" t="-8875" r="10642" b="-8875"/>
            </a:stretch>
          </a:blipFill>
          <a:ln>
            <a:solidFill>
              <a:schemeClr val="accent2">
                <a:shade val="80000"/>
                <a:hueOff val="0"/>
                <a:satOff val="0"/>
                <a:lumOff val="0"/>
                <a:alphaOff val="0"/>
              </a:schemeClr>
            </a:solidFill>
            <a:rou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3">
            <a:scrgbClr r="0" g="0" b="0"/>
          </a:lnRef>
          <a:fillRef idx="0">
            <a:scrgbClr r="0" g="0" b="0"/>
          </a:fillRef>
          <a:effectRef idx="1">
            <a:scrgbClr r="0" g="0" b="0"/>
          </a:effectRef>
          <a:fontRef idx="minor"/>
        </p:style>
      </p:sp>
      <p:sp>
        <p:nvSpPr>
          <p:cNvPr id="242" name="CustomShape 2"/>
          <p:cNvSpPr/>
          <p:nvPr/>
        </p:nvSpPr>
        <p:spPr>
          <a:xfrm>
            <a:off x="468319" y="2452800"/>
            <a:ext cx="1082675" cy="53498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2520" tIns="92520" rIns="92520" bIns="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300" smtClean="0">
                <a:solidFill>
                  <a:srgbClr val="000066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CIVC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243" name="CustomShape 3"/>
          <p:cNvSpPr/>
          <p:nvPr/>
        </p:nvSpPr>
        <p:spPr>
          <a:xfrm>
            <a:off x="1659600" y="1458240"/>
            <a:ext cx="1081800" cy="993600"/>
          </a:xfrm>
          <a:prstGeom prst="roundRect">
            <a:avLst>
              <a:gd name="adj" fmla="val 16667"/>
            </a:avLst>
          </a:prstGeom>
          <a:blipFill>
            <a:blip r:embed="rId4"/>
            <a:stretch>
              <a:fillRect l="-2374" t="-5064" r="-2374" b="-5064"/>
            </a:stretch>
          </a:blipFill>
          <a:ln>
            <a:solidFill>
              <a:schemeClr val="accent2">
                <a:shade val="80000"/>
                <a:hueOff val="0"/>
                <a:satOff val="0"/>
                <a:lumOff val="0"/>
                <a:alphaOff val="0"/>
              </a:schemeClr>
            </a:solidFill>
            <a:rou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3">
            <a:scrgbClr r="0" g="0" b="0"/>
          </a:lnRef>
          <a:fillRef idx="0">
            <a:scrgbClr r="0" g="0" b="0"/>
          </a:fillRef>
          <a:effectRef idx="1">
            <a:scrgbClr r="0" g="0" b="0"/>
          </a:effectRef>
          <a:fontRef idx="minor"/>
        </p:style>
      </p:sp>
      <p:sp>
        <p:nvSpPr>
          <p:cNvPr id="244" name="CustomShape 4"/>
          <p:cNvSpPr/>
          <p:nvPr/>
        </p:nvSpPr>
        <p:spPr>
          <a:xfrm>
            <a:off x="1658938" y="2452800"/>
            <a:ext cx="1082675" cy="53498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2520" tIns="92520" rIns="92520" bIns="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300" smtClean="0">
                <a:solidFill>
                  <a:srgbClr val="000066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Colgate Palmolive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245" name="CustomShape 5"/>
          <p:cNvSpPr/>
          <p:nvPr/>
        </p:nvSpPr>
        <p:spPr>
          <a:xfrm>
            <a:off x="2850480" y="1458240"/>
            <a:ext cx="1081800" cy="993600"/>
          </a:xfrm>
          <a:prstGeom prst="roundRect">
            <a:avLst>
              <a:gd name="adj" fmla="val 16667"/>
            </a:avLst>
          </a:prstGeom>
          <a:blipFill>
            <a:blip r:embed="rId5"/>
            <a:stretch>
              <a:fillRect t="-22944" b="-22944"/>
            </a:stretch>
          </a:blipFill>
          <a:ln>
            <a:solidFill>
              <a:schemeClr val="accent2">
                <a:shade val="80000"/>
                <a:hueOff val="0"/>
                <a:satOff val="0"/>
                <a:lumOff val="0"/>
                <a:alphaOff val="0"/>
              </a:schemeClr>
            </a:solidFill>
            <a:rou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3">
            <a:scrgbClr r="0" g="0" b="0"/>
          </a:lnRef>
          <a:fillRef idx="0">
            <a:scrgbClr r="0" g="0" b="0"/>
          </a:fillRef>
          <a:effectRef idx="1">
            <a:scrgbClr r="0" g="0" b="0"/>
          </a:effectRef>
          <a:fontRef idx="minor"/>
        </p:style>
      </p:sp>
      <p:sp>
        <p:nvSpPr>
          <p:cNvPr id="246" name="CustomShape 6"/>
          <p:cNvSpPr/>
          <p:nvPr/>
        </p:nvSpPr>
        <p:spPr>
          <a:xfrm>
            <a:off x="2851154" y="2452800"/>
            <a:ext cx="1081088" cy="53498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2520" tIns="92520" rIns="92520" bIns="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300" smtClean="0">
                <a:solidFill>
                  <a:srgbClr val="000066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Consorzio di Tutela Gorgonzola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247" name="CustomShape 7"/>
          <p:cNvSpPr/>
          <p:nvPr/>
        </p:nvSpPr>
        <p:spPr>
          <a:xfrm>
            <a:off x="4041000" y="1458240"/>
            <a:ext cx="1081800" cy="993600"/>
          </a:xfrm>
          <a:prstGeom prst="roundRect">
            <a:avLst>
              <a:gd name="adj" fmla="val 16667"/>
            </a:avLst>
          </a:prstGeom>
          <a:blipFill>
            <a:blip r:embed="rId6"/>
            <a:stretch>
              <a:fillRect l="2790" t="490" r="2790" b="490"/>
            </a:stretch>
          </a:blipFill>
          <a:ln>
            <a:solidFill>
              <a:schemeClr val="accent2">
                <a:shade val="80000"/>
                <a:hueOff val="0"/>
                <a:satOff val="0"/>
                <a:lumOff val="0"/>
                <a:alphaOff val="0"/>
              </a:schemeClr>
            </a:solidFill>
            <a:rou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3">
            <a:scrgbClr r="0" g="0" b="0"/>
          </a:lnRef>
          <a:fillRef idx="0">
            <a:scrgbClr r="0" g="0" b="0"/>
          </a:fillRef>
          <a:effectRef idx="1">
            <a:scrgbClr r="0" g="0" b="0"/>
          </a:effectRef>
          <a:fontRef idx="minor"/>
        </p:style>
      </p:sp>
      <p:sp>
        <p:nvSpPr>
          <p:cNvPr id="248" name="CustomShape 8"/>
          <p:cNvSpPr/>
          <p:nvPr/>
        </p:nvSpPr>
        <p:spPr>
          <a:xfrm>
            <a:off x="4041775" y="2452800"/>
            <a:ext cx="1081088" cy="53498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2520" tIns="92520" rIns="92520" bIns="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300" smtClean="0">
                <a:solidFill>
                  <a:srgbClr val="000066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Consorzio di Tutela Prosecco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249" name="CustomShape 9"/>
          <p:cNvSpPr/>
          <p:nvPr/>
        </p:nvSpPr>
        <p:spPr>
          <a:xfrm>
            <a:off x="5232400" y="1458913"/>
            <a:ext cx="1081088" cy="992187"/>
          </a:xfrm>
          <a:prstGeom prst="roundRect">
            <a:avLst>
              <a:gd name="adj" fmla="val 16667"/>
            </a:avLst>
          </a:prstGeom>
          <a:blipFill>
            <a:blip r:embed="rId7"/>
            <a:stretch>
              <a:fillRect/>
            </a:stretch>
          </a:blipFill>
          <a:ln>
            <a:solidFill>
              <a:schemeClr val="accent2">
                <a:shade val="80000"/>
                <a:hueOff val="0"/>
                <a:satOff val="0"/>
                <a:lumOff val="0"/>
                <a:alphaOff val="0"/>
              </a:schemeClr>
            </a:solidFill>
            <a:rou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3">
            <a:scrgbClr r="0" g="0" b="0"/>
          </a:lnRef>
          <a:fillRef idx="0">
            <a:scrgbClr r="0" g="0" b="0"/>
          </a:fillRef>
          <a:effectRef idx="1">
            <a:scrgbClr r="0" g="0" b="0"/>
          </a:effectRef>
          <a:fontRef idx="minor"/>
        </p:style>
      </p:sp>
      <p:sp>
        <p:nvSpPr>
          <p:cNvPr id="250" name="CustomShape 10"/>
          <p:cNvSpPr/>
          <p:nvPr/>
        </p:nvSpPr>
        <p:spPr>
          <a:xfrm>
            <a:off x="5232400" y="2452800"/>
            <a:ext cx="1081088" cy="53498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2520" tIns="92520" rIns="92520" bIns="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300" smtClean="0">
                <a:solidFill>
                  <a:srgbClr val="000066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Unaprol Consorzio Olivicolo Italiano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251" name="CustomShape 11"/>
          <p:cNvSpPr/>
          <p:nvPr/>
        </p:nvSpPr>
        <p:spPr>
          <a:xfrm>
            <a:off x="6422760" y="1458240"/>
            <a:ext cx="1081800" cy="993600"/>
          </a:xfrm>
          <a:prstGeom prst="roundRect">
            <a:avLst>
              <a:gd name="adj" fmla="val 16667"/>
            </a:avLst>
          </a:prstGeom>
          <a:blipFill>
            <a:blip r:embed="rId8"/>
            <a:stretch>
              <a:fillRect t="-3915" b="-3915"/>
            </a:stretch>
          </a:blipFill>
          <a:ln>
            <a:solidFill>
              <a:schemeClr val="accent2">
                <a:shade val="80000"/>
                <a:hueOff val="0"/>
                <a:satOff val="0"/>
                <a:lumOff val="0"/>
                <a:alphaOff val="0"/>
              </a:schemeClr>
            </a:solidFill>
            <a:rou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3">
            <a:scrgbClr r="0" g="0" b="0"/>
          </a:lnRef>
          <a:fillRef idx="0">
            <a:scrgbClr r="0" g="0" b="0"/>
          </a:fillRef>
          <a:effectRef idx="1">
            <a:scrgbClr r="0" g="0" b="0"/>
          </a:effectRef>
          <a:fontRef idx="minor"/>
        </p:style>
      </p:sp>
      <p:sp>
        <p:nvSpPr>
          <p:cNvPr id="252" name="CustomShape 12"/>
          <p:cNvSpPr/>
          <p:nvPr/>
        </p:nvSpPr>
        <p:spPr>
          <a:xfrm>
            <a:off x="6423026" y="2452800"/>
            <a:ext cx="1081088" cy="53498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2520" tIns="92520" rIns="92520" bIns="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300" smtClean="0">
                <a:solidFill>
                  <a:srgbClr val="000066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Ferrero Spa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253" name="CustomShape 13"/>
          <p:cNvSpPr/>
          <p:nvPr/>
        </p:nvSpPr>
        <p:spPr>
          <a:xfrm>
            <a:off x="7613640" y="1458240"/>
            <a:ext cx="1081800" cy="993600"/>
          </a:xfrm>
          <a:prstGeom prst="roundRect">
            <a:avLst>
              <a:gd name="adj" fmla="val 16667"/>
            </a:avLst>
          </a:prstGeom>
          <a:blipFill>
            <a:blip r:embed="rId9"/>
            <a:stretch>
              <a:fillRect l="-2360" t="4215" r="-2360" b="4215"/>
            </a:stretch>
          </a:blipFill>
          <a:ln>
            <a:solidFill>
              <a:schemeClr val="accent2">
                <a:shade val="80000"/>
                <a:hueOff val="0"/>
                <a:satOff val="0"/>
                <a:lumOff val="0"/>
                <a:alphaOff val="0"/>
              </a:schemeClr>
            </a:solidFill>
            <a:rou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3">
            <a:scrgbClr r="0" g="0" b="0"/>
          </a:lnRef>
          <a:fillRef idx="0">
            <a:scrgbClr r="0" g="0" b="0"/>
          </a:fillRef>
          <a:effectRef idx="1">
            <a:scrgbClr r="0" g="0" b="0"/>
          </a:effectRef>
          <a:fontRef idx="minor"/>
        </p:style>
      </p:sp>
      <p:sp>
        <p:nvSpPr>
          <p:cNvPr id="254" name="CustomShape 14"/>
          <p:cNvSpPr/>
          <p:nvPr/>
        </p:nvSpPr>
        <p:spPr>
          <a:xfrm>
            <a:off x="7613654" y="2452800"/>
            <a:ext cx="1081088" cy="53498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2520" tIns="92520" rIns="92520" bIns="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300" smtClean="0">
                <a:solidFill>
                  <a:srgbClr val="000066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IFSP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255" name="CustomShape 15"/>
          <p:cNvSpPr/>
          <p:nvPr/>
        </p:nvSpPr>
        <p:spPr>
          <a:xfrm>
            <a:off x="468720" y="3132480"/>
            <a:ext cx="1081800" cy="993600"/>
          </a:xfrm>
          <a:prstGeom prst="roundRect">
            <a:avLst>
              <a:gd name="adj" fmla="val 16667"/>
            </a:avLst>
          </a:prstGeom>
          <a:blipFill>
            <a:blip r:embed="rId10"/>
            <a:stretch>
              <a:fillRect l="-2377" t="-6899" r="-2377" b="-6899"/>
            </a:stretch>
          </a:blipFill>
          <a:ln>
            <a:solidFill>
              <a:schemeClr val="accent2">
                <a:shade val="80000"/>
                <a:hueOff val="0"/>
                <a:satOff val="0"/>
                <a:lumOff val="0"/>
                <a:alphaOff val="0"/>
              </a:schemeClr>
            </a:solidFill>
            <a:rou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3">
            <a:scrgbClr r="0" g="0" b="0"/>
          </a:lnRef>
          <a:fillRef idx="0">
            <a:scrgbClr r="0" g="0" b="0"/>
          </a:fillRef>
          <a:effectRef idx="1">
            <a:scrgbClr r="0" g="0" b="0"/>
          </a:effectRef>
          <a:fontRef idx="minor"/>
        </p:style>
      </p:sp>
      <p:sp>
        <p:nvSpPr>
          <p:cNvPr id="256" name="CustomShape 16"/>
          <p:cNvSpPr/>
          <p:nvPr/>
        </p:nvSpPr>
        <p:spPr>
          <a:xfrm>
            <a:off x="468319" y="4127500"/>
            <a:ext cx="1082675" cy="5349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2520" tIns="92520" rIns="92520" bIns="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300" smtClean="0">
                <a:solidFill>
                  <a:srgbClr val="000066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Moët Hennessy 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257" name="CustomShape 17"/>
          <p:cNvSpPr/>
          <p:nvPr/>
        </p:nvSpPr>
        <p:spPr>
          <a:xfrm>
            <a:off x="1659600" y="3132480"/>
            <a:ext cx="1081800" cy="993600"/>
          </a:xfrm>
          <a:prstGeom prst="roundRect">
            <a:avLst>
              <a:gd name="adj" fmla="val 16667"/>
            </a:avLst>
          </a:prstGeom>
          <a:blipFill>
            <a:blip r:embed="rId11"/>
            <a:stretch>
              <a:fillRect l="-2335" t="-6887" r="-2335" b="-6887"/>
            </a:stretch>
          </a:blipFill>
          <a:ln>
            <a:solidFill>
              <a:schemeClr val="accent2">
                <a:shade val="80000"/>
                <a:hueOff val="0"/>
                <a:satOff val="0"/>
                <a:lumOff val="0"/>
                <a:alphaOff val="0"/>
              </a:schemeClr>
            </a:solidFill>
            <a:rou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3">
            <a:scrgbClr r="0" g="0" b="0"/>
          </a:lnRef>
          <a:fillRef idx="0">
            <a:scrgbClr r="0" g="0" b="0"/>
          </a:fillRef>
          <a:effectRef idx="1">
            <a:scrgbClr r="0" g="0" b="0"/>
          </a:effectRef>
          <a:fontRef idx="minor"/>
        </p:style>
      </p:sp>
      <p:sp>
        <p:nvSpPr>
          <p:cNvPr id="258" name="CustomShape 18"/>
          <p:cNvSpPr/>
          <p:nvPr/>
        </p:nvSpPr>
        <p:spPr>
          <a:xfrm>
            <a:off x="1658938" y="4127500"/>
            <a:ext cx="1082675" cy="5349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2520" tIns="92520" rIns="92520" bIns="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300" smtClean="0">
                <a:solidFill>
                  <a:srgbClr val="000066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Nestlé 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259" name="CustomShape 19"/>
          <p:cNvSpPr/>
          <p:nvPr/>
        </p:nvSpPr>
        <p:spPr>
          <a:xfrm>
            <a:off x="2850480" y="3132480"/>
            <a:ext cx="1081800" cy="993600"/>
          </a:xfrm>
          <a:prstGeom prst="roundRect">
            <a:avLst>
              <a:gd name="adj" fmla="val 16667"/>
            </a:avLst>
          </a:prstGeom>
          <a:blipFill>
            <a:blip r:embed="rId12"/>
            <a:stretch>
              <a:fillRect l="-2371" t="-6973" r="-2371" b="-6973"/>
            </a:stretch>
          </a:blipFill>
          <a:ln>
            <a:solidFill>
              <a:schemeClr val="accent2">
                <a:shade val="80000"/>
                <a:hueOff val="0"/>
                <a:satOff val="0"/>
                <a:lumOff val="0"/>
                <a:alphaOff val="0"/>
              </a:schemeClr>
            </a:solidFill>
            <a:rou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3">
            <a:scrgbClr r="0" g="0" b="0"/>
          </a:lnRef>
          <a:fillRef idx="0">
            <a:scrgbClr r="0" g="0" b="0"/>
          </a:fillRef>
          <a:effectRef idx="1">
            <a:scrgbClr r="0" g="0" b="0"/>
          </a:effectRef>
          <a:fontRef idx="minor"/>
        </p:style>
      </p:sp>
      <p:sp>
        <p:nvSpPr>
          <p:cNvPr id="260" name="CustomShape 20"/>
          <p:cNvSpPr/>
          <p:nvPr/>
        </p:nvSpPr>
        <p:spPr>
          <a:xfrm>
            <a:off x="2851154" y="4127500"/>
            <a:ext cx="1081088" cy="5349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2520" tIns="92520" rIns="92520" bIns="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300" smtClean="0">
                <a:solidFill>
                  <a:srgbClr val="000066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REACT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261" name="CustomShape 21"/>
          <p:cNvSpPr/>
          <p:nvPr/>
        </p:nvSpPr>
        <p:spPr>
          <a:xfrm>
            <a:off x="4041000" y="3132480"/>
            <a:ext cx="1081800" cy="993600"/>
          </a:xfrm>
          <a:prstGeom prst="roundRect">
            <a:avLst>
              <a:gd name="adj" fmla="val 16667"/>
            </a:avLst>
          </a:prstGeom>
          <a:blipFill>
            <a:blip r:embed="rId13"/>
            <a:stretch>
              <a:fillRect l="-2350" t="-6971" r="-2350" b="-6971"/>
            </a:stretch>
          </a:blipFill>
          <a:ln>
            <a:solidFill>
              <a:schemeClr val="accent2">
                <a:shade val="80000"/>
                <a:hueOff val="0"/>
                <a:satOff val="0"/>
                <a:lumOff val="0"/>
                <a:alphaOff val="0"/>
              </a:schemeClr>
            </a:solidFill>
            <a:rou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3">
            <a:scrgbClr r="0" g="0" b="0"/>
          </a:lnRef>
          <a:fillRef idx="0">
            <a:scrgbClr r="0" g="0" b="0"/>
          </a:fillRef>
          <a:effectRef idx="1">
            <a:scrgbClr r="0" g="0" b="0"/>
          </a:effectRef>
          <a:fontRef idx="minor"/>
        </p:style>
      </p:sp>
      <p:sp>
        <p:nvSpPr>
          <p:cNvPr id="262" name="CustomShape 22"/>
          <p:cNvSpPr/>
          <p:nvPr/>
        </p:nvSpPr>
        <p:spPr>
          <a:xfrm>
            <a:off x="4041775" y="4127500"/>
            <a:ext cx="1081088" cy="5349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2520" tIns="92520" rIns="92520" bIns="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300" smtClean="0">
                <a:solidFill>
                  <a:srgbClr val="000066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Danone  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263" name="CustomShape 23"/>
          <p:cNvSpPr/>
          <p:nvPr/>
        </p:nvSpPr>
        <p:spPr>
          <a:xfrm>
            <a:off x="5231880" y="3132480"/>
            <a:ext cx="1081800" cy="993600"/>
          </a:xfrm>
          <a:prstGeom prst="roundRect">
            <a:avLst>
              <a:gd name="adj" fmla="val 16667"/>
            </a:avLst>
          </a:prstGeom>
          <a:blipFill>
            <a:blip r:embed="rId14"/>
            <a:stretch>
              <a:fillRect t="-6921" b="-6921"/>
            </a:stretch>
          </a:blipFill>
          <a:ln>
            <a:solidFill>
              <a:schemeClr val="accent2">
                <a:shade val="80000"/>
                <a:hueOff val="0"/>
                <a:satOff val="0"/>
                <a:lumOff val="0"/>
                <a:alphaOff val="0"/>
              </a:schemeClr>
            </a:solidFill>
            <a:rou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3">
            <a:scrgbClr r="0" g="0" b="0"/>
          </a:lnRef>
          <a:fillRef idx="0">
            <a:scrgbClr r="0" g="0" b="0"/>
          </a:fillRef>
          <a:effectRef idx="1">
            <a:scrgbClr r="0" g="0" b="0"/>
          </a:effectRef>
          <a:fontRef idx="minor"/>
        </p:style>
      </p:sp>
      <p:sp>
        <p:nvSpPr>
          <p:cNvPr id="264" name="CustomShape 24"/>
          <p:cNvSpPr/>
          <p:nvPr/>
        </p:nvSpPr>
        <p:spPr>
          <a:xfrm>
            <a:off x="5232400" y="4127500"/>
            <a:ext cx="1081088" cy="5349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2520" tIns="92520" rIns="92520" bIns="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300" smtClean="0">
                <a:solidFill>
                  <a:srgbClr val="000066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Consejo Regulador de Tequila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265" name="CustomShape 25"/>
          <p:cNvSpPr/>
          <p:nvPr/>
        </p:nvSpPr>
        <p:spPr>
          <a:xfrm>
            <a:off x="6422760" y="3132480"/>
            <a:ext cx="1081800" cy="993600"/>
          </a:xfrm>
          <a:prstGeom prst="roundRect">
            <a:avLst>
              <a:gd name="adj" fmla="val 16667"/>
            </a:avLst>
          </a:prstGeom>
          <a:blipFill>
            <a:blip r:embed="rId15"/>
            <a:stretch>
              <a:fillRect l="1615" t="-7682" r="1615" b="-7682"/>
            </a:stretch>
          </a:blipFill>
          <a:ln>
            <a:solidFill>
              <a:schemeClr val="accent2">
                <a:shade val="80000"/>
                <a:hueOff val="0"/>
                <a:satOff val="0"/>
                <a:lumOff val="0"/>
                <a:alphaOff val="0"/>
              </a:schemeClr>
            </a:solidFill>
            <a:rou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3">
            <a:scrgbClr r="0" g="0" b="0"/>
          </a:lnRef>
          <a:fillRef idx="0">
            <a:scrgbClr r="0" g="0" b="0"/>
          </a:fillRef>
          <a:effectRef idx="1">
            <a:scrgbClr r="0" g="0" b="0"/>
          </a:effectRef>
          <a:fontRef idx="minor"/>
        </p:style>
      </p:sp>
      <p:sp>
        <p:nvSpPr>
          <p:cNvPr id="266" name="CustomShape 26"/>
          <p:cNvSpPr/>
          <p:nvPr/>
        </p:nvSpPr>
        <p:spPr>
          <a:xfrm>
            <a:off x="6423026" y="4127500"/>
            <a:ext cx="1081088" cy="5349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2520" tIns="92520" rIns="92520" bIns="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300" smtClean="0">
                <a:solidFill>
                  <a:srgbClr val="000066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Scotch Whisky Association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267" name="CustomShape 27"/>
          <p:cNvSpPr/>
          <p:nvPr/>
        </p:nvSpPr>
        <p:spPr>
          <a:xfrm>
            <a:off x="7613640" y="3132480"/>
            <a:ext cx="1081800" cy="993600"/>
          </a:xfrm>
          <a:prstGeom prst="roundRect">
            <a:avLst>
              <a:gd name="adj" fmla="val 16667"/>
            </a:avLst>
          </a:prstGeom>
          <a:blipFill>
            <a:blip r:embed="rId16"/>
            <a:stretch>
              <a:fillRect l="-2350" t="-6963" r="-2350" b="-6963"/>
            </a:stretch>
          </a:blipFill>
          <a:ln>
            <a:solidFill>
              <a:schemeClr val="accent2">
                <a:shade val="80000"/>
                <a:hueOff val="0"/>
                <a:satOff val="0"/>
                <a:lumOff val="0"/>
                <a:alphaOff val="0"/>
              </a:schemeClr>
            </a:solidFill>
            <a:rou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3">
            <a:scrgbClr r="0" g="0" b="0"/>
          </a:lnRef>
          <a:fillRef idx="0">
            <a:scrgbClr r="0" g="0" b="0"/>
          </a:fillRef>
          <a:effectRef idx="1">
            <a:scrgbClr r="0" g="0" b="0"/>
          </a:effectRef>
          <a:fontRef idx="minor"/>
        </p:style>
      </p:sp>
      <p:sp>
        <p:nvSpPr>
          <p:cNvPr id="268" name="CustomShape 28"/>
          <p:cNvSpPr/>
          <p:nvPr/>
        </p:nvSpPr>
        <p:spPr>
          <a:xfrm>
            <a:off x="7613654" y="4127500"/>
            <a:ext cx="1081088" cy="5349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2520" tIns="92520" rIns="92520" bIns="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300" smtClean="0">
                <a:solidFill>
                  <a:srgbClr val="000066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The Coca Cola company  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269" name="CustomShape 29"/>
          <p:cNvSpPr/>
          <p:nvPr/>
        </p:nvSpPr>
        <p:spPr>
          <a:xfrm>
            <a:off x="1637640" y="4808160"/>
            <a:ext cx="1081800" cy="993600"/>
          </a:xfrm>
          <a:prstGeom prst="roundRect">
            <a:avLst>
              <a:gd name="adj" fmla="val 16667"/>
            </a:avLst>
          </a:prstGeom>
          <a:blipFill>
            <a:blip r:embed="rId17"/>
            <a:stretch>
              <a:fillRect l="4485" t="-15918" r="4485" b="-15918"/>
            </a:stretch>
          </a:blipFill>
          <a:ln>
            <a:solidFill>
              <a:schemeClr val="accent2">
                <a:shade val="80000"/>
                <a:hueOff val="0"/>
                <a:satOff val="0"/>
                <a:lumOff val="0"/>
                <a:alphaOff val="0"/>
              </a:schemeClr>
            </a:solidFill>
            <a:rou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3">
            <a:scrgbClr r="0" g="0" b="0"/>
          </a:lnRef>
          <a:fillRef idx="0">
            <a:scrgbClr r="0" g="0" b="0"/>
          </a:fillRef>
          <a:effectRef idx="1">
            <a:scrgbClr r="0" g="0" b="0"/>
          </a:effectRef>
          <a:fontRef idx="minor"/>
        </p:style>
      </p:sp>
      <p:sp>
        <p:nvSpPr>
          <p:cNvPr id="270" name="CustomShape 30"/>
          <p:cNvSpPr/>
          <p:nvPr/>
        </p:nvSpPr>
        <p:spPr>
          <a:xfrm>
            <a:off x="1658938" y="5800725"/>
            <a:ext cx="1082675" cy="5349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2520" tIns="92520" rIns="92520" bIns="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300" smtClean="0">
                <a:solidFill>
                  <a:srgbClr val="000066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GSK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271" name="CustomShape 31"/>
          <p:cNvSpPr/>
          <p:nvPr/>
        </p:nvSpPr>
        <p:spPr>
          <a:xfrm>
            <a:off x="2850480" y="4806720"/>
            <a:ext cx="1081800" cy="993600"/>
          </a:xfrm>
          <a:prstGeom prst="roundRect">
            <a:avLst>
              <a:gd name="adj" fmla="val 16667"/>
            </a:avLst>
          </a:prstGeom>
          <a:blipFill>
            <a:blip r:embed="rId18"/>
            <a:stretch>
              <a:fillRect l="3030" t="2502" r="3030" b="2502"/>
            </a:stretch>
          </a:blipFill>
          <a:ln>
            <a:solidFill>
              <a:schemeClr val="accent2">
                <a:shade val="80000"/>
                <a:hueOff val="0"/>
                <a:satOff val="0"/>
                <a:lumOff val="0"/>
                <a:alphaOff val="0"/>
              </a:schemeClr>
            </a:solidFill>
            <a:rou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3">
            <a:scrgbClr r="0" g="0" b="0"/>
          </a:lnRef>
          <a:fillRef idx="0">
            <a:scrgbClr r="0" g="0" b="0"/>
          </a:fillRef>
          <a:effectRef idx="1">
            <a:scrgbClr r="0" g="0" b="0"/>
          </a:effectRef>
          <a:fontRef idx="minor"/>
        </p:style>
      </p:sp>
      <p:sp>
        <p:nvSpPr>
          <p:cNvPr id="272" name="CustomShape 32"/>
          <p:cNvSpPr/>
          <p:nvPr/>
        </p:nvSpPr>
        <p:spPr>
          <a:xfrm>
            <a:off x="2851154" y="5800725"/>
            <a:ext cx="1081088" cy="5349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2520" tIns="92520" rIns="92520" bIns="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300" smtClean="0">
                <a:solidFill>
                  <a:srgbClr val="000066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Unilever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273" name="CustomShape 33"/>
          <p:cNvSpPr/>
          <p:nvPr/>
        </p:nvSpPr>
        <p:spPr>
          <a:xfrm>
            <a:off x="4041000" y="4806720"/>
            <a:ext cx="1081800" cy="993600"/>
          </a:xfrm>
          <a:prstGeom prst="roundRect">
            <a:avLst>
              <a:gd name="adj" fmla="val 16667"/>
            </a:avLst>
          </a:prstGeom>
          <a:blipFill>
            <a:blip r:embed="rId19"/>
            <a:stretch>
              <a:fillRect l="-11953" r="-11953"/>
            </a:stretch>
          </a:blipFill>
          <a:ln>
            <a:solidFill>
              <a:schemeClr val="accent2">
                <a:shade val="80000"/>
                <a:hueOff val="0"/>
                <a:satOff val="0"/>
                <a:lumOff val="0"/>
                <a:alphaOff val="0"/>
              </a:schemeClr>
            </a:solidFill>
            <a:rou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3">
            <a:scrgbClr r="0" g="0" b="0"/>
          </a:lnRef>
          <a:fillRef idx="0">
            <a:scrgbClr r="0" g="0" b="0"/>
          </a:fillRef>
          <a:effectRef idx="1">
            <a:scrgbClr r="0" g="0" b="0"/>
          </a:effectRef>
          <a:fontRef idx="minor"/>
        </p:style>
      </p:sp>
      <p:sp>
        <p:nvSpPr>
          <p:cNvPr id="274" name="CustomShape 34"/>
          <p:cNvSpPr/>
          <p:nvPr/>
        </p:nvSpPr>
        <p:spPr>
          <a:xfrm>
            <a:off x="4041775" y="5800725"/>
            <a:ext cx="1081088" cy="5349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2520" tIns="92520" rIns="92520" bIns="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300" smtClean="0">
                <a:solidFill>
                  <a:srgbClr val="000066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Red Bull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275" name="CustomShape 35"/>
          <p:cNvSpPr/>
          <p:nvPr/>
        </p:nvSpPr>
        <p:spPr>
          <a:xfrm>
            <a:off x="5231880" y="4806720"/>
            <a:ext cx="1081800" cy="993600"/>
          </a:xfrm>
          <a:prstGeom prst="roundRect">
            <a:avLst>
              <a:gd name="adj" fmla="val 16667"/>
            </a:avLst>
          </a:prstGeom>
          <a:blipFill>
            <a:blip r:embed="rId20"/>
            <a:stretch>
              <a:fillRect l="-1107" r="-1107"/>
            </a:stretch>
          </a:blipFill>
          <a:ln>
            <a:solidFill>
              <a:schemeClr val="accent2">
                <a:shade val="80000"/>
                <a:hueOff val="0"/>
                <a:satOff val="0"/>
                <a:lumOff val="0"/>
                <a:alphaOff val="0"/>
              </a:schemeClr>
            </a:solidFill>
            <a:rou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3">
            <a:scrgbClr r="0" g="0" b="0"/>
          </a:lnRef>
          <a:fillRef idx="0">
            <a:scrgbClr r="0" g="0" b="0"/>
          </a:fillRef>
          <a:effectRef idx="1">
            <a:scrgbClr r="0" g="0" b="0"/>
          </a:effectRef>
          <a:fontRef idx="minor"/>
        </p:style>
      </p:sp>
      <p:sp>
        <p:nvSpPr>
          <p:cNvPr id="276" name="CustomShape 36"/>
          <p:cNvSpPr/>
          <p:nvPr/>
        </p:nvSpPr>
        <p:spPr>
          <a:xfrm>
            <a:off x="5232400" y="5800725"/>
            <a:ext cx="1081088" cy="5349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2520" tIns="92520" rIns="92520" bIns="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300" smtClean="0">
                <a:solidFill>
                  <a:srgbClr val="000066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Mars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277" name="CustomShape 37"/>
          <p:cNvSpPr/>
          <p:nvPr/>
        </p:nvSpPr>
        <p:spPr>
          <a:xfrm>
            <a:off x="6422760" y="4806720"/>
            <a:ext cx="1081800" cy="993600"/>
          </a:xfrm>
          <a:prstGeom prst="roundRect">
            <a:avLst>
              <a:gd name="adj" fmla="val 16667"/>
            </a:avLst>
          </a:prstGeom>
          <a:blipFill>
            <a:blip r:embed="rId21"/>
            <a:stretch>
              <a:fillRect t="-3912" b="-3912"/>
            </a:stretch>
          </a:blipFill>
          <a:ln>
            <a:solidFill>
              <a:schemeClr val="accent2">
                <a:shade val="80000"/>
                <a:hueOff val="0"/>
                <a:satOff val="0"/>
                <a:lumOff val="0"/>
                <a:alphaOff val="0"/>
              </a:schemeClr>
            </a:solidFill>
            <a:round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3">
            <a:scrgbClr r="0" g="0" b="0"/>
          </a:lnRef>
          <a:fillRef idx="0">
            <a:scrgbClr r="0" g="0" b="0"/>
          </a:fillRef>
          <a:effectRef idx="1">
            <a:scrgbClr r="0" g="0" b="0"/>
          </a:effectRef>
          <a:fontRef idx="minor"/>
        </p:style>
      </p:sp>
      <p:sp>
        <p:nvSpPr>
          <p:cNvPr id="278" name="CustomShape 38"/>
          <p:cNvSpPr/>
          <p:nvPr/>
        </p:nvSpPr>
        <p:spPr>
          <a:xfrm>
            <a:off x="6423026" y="5800725"/>
            <a:ext cx="1081088" cy="5349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2520" tIns="92520" rIns="92520" bIns="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1300" smtClean="0">
                <a:solidFill>
                  <a:srgbClr val="000066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Mondelez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43" name="CustomShape 1"/>
          <p:cNvSpPr/>
          <p:nvPr/>
        </p:nvSpPr>
        <p:spPr>
          <a:xfrm>
            <a:off x="250825" y="288925"/>
            <a:ext cx="8713788" cy="9794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4400" smtClean="0">
                <a:solidFill>
                  <a:srgbClr val="FFFFFF"/>
                </a:solidFill>
                <a:latin typeface="Calibri" pitchFamily="34" charset="0"/>
              </a:rPr>
              <a:t>OPSON V – Private Sector Partners</a:t>
            </a:r>
            <a:endParaRPr lang="en-US" altLang="en-US" smtClean="0">
              <a:solidFill>
                <a:srgbClr val="FFFFFF"/>
              </a:solidFill>
            </a:endParaRPr>
          </a:p>
        </p:txBody>
      </p:sp>
      <p:sp>
        <p:nvSpPr>
          <p:cNvPr id="44" name="TextBox 6"/>
          <p:cNvSpPr txBox="1"/>
          <p:nvPr/>
        </p:nvSpPr>
        <p:spPr>
          <a:xfrm>
            <a:off x="2914706" y="92075"/>
            <a:ext cx="3960813" cy="260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EUROPOL UNCLASSIFIED – BASIC PROTECTION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" name="CustomShape 1"/>
          <p:cNvSpPr/>
          <p:nvPr/>
        </p:nvSpPr>
        <p:spPr>
          <a:xfrm>
            <a:off x="107950" y="2116250"/>
            <a:ext cx="2900363" cy="2320925"/>
          </a:xfrm>
          <a:prstGeom prst="rect">
            <a:avLst/>
          </a:prstGeom>
          <a:solidFill>
            <a:schemeClr val="accent1">
              <a:hueOff val="0"/>
              <a:satOff val="0"/>
              <a:lumOff val="0"/>
              <a:alphaOff val="0"/>
            </a:schemeClr>
          </a:solidFill>
          <a:ln>
            <a:solidFill>
              <a:schemeClr val="lt1">
                <a:hueOff val="0"/>
                <a:satOff val="0"/>
                <a:lumOff val="0"/>
                <a:alphaOff val="0"/>
              </a:schemeClr>
            </a:solidFill>
            <a:round/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60200" tIns="160200" rIns="160200" bIns="160200" anchor="ctr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4200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Tons  11,100</a:t>
            </a:r>
            <a:endParaRPr lang="en-US" altLang="en-US" smtClean="0">
              <a:solidFill>
                <a:srgbClr val="000000"/>
              </a:solidFill>
            </a:endParaRPr>
          </a:p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2400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(11,600)</a:t>
            </a:r>
          </a:p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4200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[10,200]</a:t>
            </a:r>
          </a:p>
        </p:txBody>
      </p:sp>
      <p:sp>
        <p:nvSpPr>
          <p:cNvPr id="283" name="CustomShape 2"/>
          <p:cNvSpPr/>
          <p:nvPr/>
        </p:nvSpPr>
        <p:spPr>
          <a:xfrm>
            <a:off x="3132138" y="2133712"/>
            <a:ext cx="2900362" cy="2320925"/>
          </a:xfrm>
          <a:prstGeom prst="rect">
            <a:avLst/>
          </a:prstGeom>
          <a:solidFill>
            <a:schemeClr val="accent1">
              <a:hueOff val="0"/>
              <a:satOff val="0"/>
              <a:lumOff val="0"/>
              <a:alphaOff val="0"/>
            </a:schemeClr>
          </a:solidFill>
          <a:ln>
            <a:solidFill>
              <a:schemeClr val="lt1">
                <a:hueOff val="0"/>
                <a:satOff val="0"/>
                <a:lumOff val="0"/>
                <a:alphaOff val="0"/>
              </a:schemeClr>
            </a:solidFill>
            <a:round/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60200" tIns="160200" rIns="160200" bIns="160200" anchor="ctr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4200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Liters</a:t>
            </a:r>
            <a:endParaRPr lang="en-US" altLang="en-US" smtClean="0">
              <a:solidFill>
                <a:srgbClr val="000000"/>
              </a:solidFill>
            </a:endParaRPr>
          </a:p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4200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1,500,000</a:t>
            </a:r>
          </a:p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2400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(814,000)</a:t>
            </a:r>
          </a:p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4200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[601,000]</a:t>
            </a:r>
          </a:p>
        </p:txBody>
      </p:sp>
      <p:sp>
        <p:nvSpPr>
          <p:cNvPr id="284" name="CustomShape 3"/>
          <p:cNvSpPr/>
          <p:nvPr/>
        </p:nvSpPr>
        <p:spPr>
          <a:xfrm>
            <a:off x="6134100" y="2133712"/>
            <a:ext cx="2901950" cy="2320925"/>
          </a:xfrm>
          <a:prstGeom prst="rect">
            <a:avLst/>
          </a:prstGeom>
          <a:solidFill>
            <a:schemeClr val="accent1">
              <a:hueOff val="0"/>
              <a:satOff val="0"/>
              <a:lumOff val="0"/>
              <a:alphaOff val="0"/>
            </a:schemeClr>
          </a:solidFill>
          <a:ln>
            <a:solidFill>
              <a:schemeClr val="lt1">
                <a:hueOff val="0"/>
                <a:satOff val="0"/>
                <a:lumOff val="0"/>
                <a:alphaOff val="0"/>
              </a:schemeClr>
            </a:solidFill>
            <a:round/>
          </a:ln>
        </p:spPr>
        <p:style>
          <a:lnRef idx="2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160200" tIns="160200" rIns="160200" bIns="160200" anchor="ctr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4200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Pieces 5,500,000</a:t>
            </a:r>
            <a:endParaRPr lang="en-US" altLang="en-US" smtClean="0">
              <a:solidFill>
                <a:srgbClr val="000000"/>
              </a:solidFill>
            </a:endParaRPr>
          </a:p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2400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(1,234,000)</a:t>
            </a:r>
          </a:p>
          <a:p>
            <a:pPr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altLang="en-US" sz="4200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[920,000]</a:t>
            </a:r>
          </a:p>
        </p:txBody>
      </p:sp>
      <p:sp>
        <p:nvSpPr>
          <p:cNvPr id="8" name="CustomShape 1"/>
          <p:cNvSpPr/>
          <p:nvPr/>
        </p:nvSpPr>
        <p:spPr>
          <a:xfrm>
            <a:off x="250825" y="288925"/>
            <a:ext cx="8713788" cy="9794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4400" smtClean="0">
                <a:solidFill>
                  <a:srgbClr val="FFFFFF"/>
                </a:solidFill>
                <a:latin typeface="Calibri" pitchFamily="34" charset="0"/>
              </a:rPr>
              <a:t>Figures* OPSON: V (IV) Global, V [EU]</a:t>
            </a:r>
            <a:endParaRPr lang="en-US" altLang="en-US" smtClean="0">
              <a:solidFill>
                <a:srgbClr val="FFFFFF"/>
              </a:solidFill>
            </a:endParaRPr>
          </a:p>
        </p:txBody>
      </p:sp>
      <p:sp>
        <p:nvSpPr>
          <p:cNvPr id="9" name="TextBox 6"/>
          <p:cNvSpPr txBox="1"/>
          <p:nvPr/>
        </p:nvSpPr>
        <p:spPr>
          <a:xfrm>
            <a:off x="2914706" y="92075"/>
            <a:ext cx="3960813" cy="260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EUROPOL UNCLASSIFIED – BASIC PROTECTION LEVEL</a:t>
            </a:r>
          </a:p>
        </p:txBody>
      </p:sp>
      <p:sp>
        <p:nvSpPr>
          <p:cNvPr id="38919" name="CasellaDiTesto 1"/>
          <p:cNvSpPr txBox="1">
            <a:spLocks noChangeArrowheads="1"/>
          </p:cNvSpPr>
          <p:nvPr/>
        </p:nvSpPr>
        <p:spPr bwMode="auto">
          <a:xfrm>
            <a:off x="179388" y="6372225"/>
            <a:ext cx="23050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altLang="en-US" smtClean="0">
                <a:solidFill>
                  <a:srgbClr val="000000"/>
                </a:solidFill>
              </a:rPr>
              <a:t>*Ongoing review</a:t>
            </a:r>
          </a:p>
        </p:txBody>
      </p:sp>
      <p:sp>
        <p:nvSpPr>
          <p:cNvPr id="38920" name="CasellaDiTesto 9"/>
          <p:cNvSpPr txBox="1">
            <a:spLocks noChangeArrowheads="1"/>
          </p:cNvSpPr>
          <p:nvPr/>
        </p:nvSpPr>
        <p:spPr bwMode="auto">
          <a:xfrm>
            <a:off x="323906" y="4915012"/>
            <a:ext cx="8640763" cy="1230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it-IT" altLang="en-US" sz="2800" smtClean="0">
                <a:solidFill>
                  <a:srgbClr val="000000"/>
                </a:solidFill>
              </a:rPr>
              <a:t>Final report will be presented at debriefing meeting in Spain in October 2016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it-IT" altLang="en-US" smtClean="0">
              <a:solidFill>
                <a:srgbClr val="000000"/>
              </a:solidFill>
            </a:endParaRPr>
          </a:p>
        </p:txBody>
      </p:sp>
      <p:pic>
        <p:nvPicPr>
          <p:cNvPr id="38921" name="Picture 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2781" y="6177075"/>
            <a:ext cx="792163" cy="636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938" name="Picture 2" descr="C:\Users\Sinkalex\Downloads\operation-opson-v-5_sqligallerysliderimage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069" y="1393829"/>
            <a:ext cx="6935787" cy="4576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0" name="CustomShape 1"/>
          <p:cNvSpPr/>
          <p:nvPr/>
        </p:nvSpPr>
        <p:spPr>
          <a:xfrm>
            <a:off x="274638" y="6205538"/>
            <a:ext cx="4297362" cy="60801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400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Olives colored with copper sulphate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291" name="CustomShape 2"/>
          <p:cNvSpPr/>
          <p:nvPr/>
        </p:nvSpPr>
        <p:spPr>
          <a:xfrm>
            <a:off x="7885114" y="200025"/>
            <a:ext cx="1128712" cy="1389063"/>
          </a:xfrm>
          <a:prstGeom prst="flowChartAlternateProcess">
            <a:avLst/>
          </a:prstGeom>
          <a:ln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ctr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400" b="1" smtClean="0">
                <a:solidFill>
                  <a:srgbClr val="000000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Opson Cases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7" name="CustomShape 1"/>
          <p:cNvSpPr/>
          <p:nvPr/>
        </p:nvSpPr>
        <p:spPr>
          <a:xfrm>
            <a:off x="250825" y="288925"/>
            <a:ext cx="8713788" cy="9794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4400" smtClean="0">
                <a:solidFill>
                  <a:srgbClr val="FFFFFF"/>
                </a:solidFill>
                <a:latin typeface="Calibri" pitchFamily="34" charset="0"/>
              </a:rPr>
              <a:t>Italy</a:t>
            </a:r>
            <a:endParaRPr lang="en-US" altLang="en-US" smtClean="0">
              <a:solidFill>
                <a:srgbClr val="FFFFFF"/>
              </a:solidFill>
            </a:endParaRPr>
          </a:p>
        </p:txBody>
      </p:sp>
      <p:sp>
        <p:nvSpPr>
          <p:cNvPr id="8" name="TextBox 6"/>
          <p:cNvSpPr txBox="1"/>
          <p:nvPr/>
        </p:nvSpPr>
        <p:spPr>
          <a:xfrm>
            <a:off x="2914706" y="92075"/>
            <a:ext cx="3960813" cy="260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EUROPOL UNCLASSIFIED – BASIC PROTECTION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" name="CustomShape 1"/>
          <p:cNvSpPr/>
          <p:nvPr/>
        </p:nvSpPr>
        <p:spPr>
          <a:xfrm>
            <a:off x="274638" y="5975462"/>
            <a:ext cx="4297362" cy="60801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400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Illicit production sites of spirit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400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Counterfeit or adulterated spirits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291" name="CustomShape 2"/>
          <p:cNvSpPr/>
          <p:nvPr/>
        </p:nvSpPr>
        <p:spPr>
          <a:xfrm>
            <a:off x="7885114" y="200025"/>
            <a:ext cx="1128712" cy="1389063"/>
          </a:xfrm>
          <a:prstGeom prst="flowChartAlternateProcess">
            <a:avLst/>
          </a:prstGeom>
          <a:ln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ctr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400" b="1" smtClean="0">
                <a:solidFill>
                  <a:srgbClr val="000000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Opson Cases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7" name="CustomShape 1"/>
          <p:cNvSpPr/>
          <p:nvPr/>
        </p:nvSpPr>
        <p:spPr>
          <a:xfrm>
            <a:off x="250825" y="288925"/>
            <a:ext cx="8713788" cy="9794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4400" smtClean="0">
                <a:solidFill>
                  <a:srgbClr val="FFFFFF"/>
                </a:solidFill>
                <a:latin typeface="Calibri" pitchFamily="34" charset="0"/>
              </a:rPr>
              <a:t>Greece, Italy, UK</a:t>
            </a:r>
            <a:endParaRPr lang="en-US" altLang="en-US" smtClean="0">
              <a:solidFill>
                <a:srgbClr val="FFFFFF"/>
              </a:solidFill>
            </a:endParaRPr>
          </a:p>
        </p:txBody>
      </p:sp>
      <p:sp>
        <p:nvSpPr>
          <p:cNvPr id="8" name="TextBox 6"/>
          <p:cNvSpPr txBox="1"/>
          <p:nvPr/>
        </p:nvSpPr>
        <p:spPr>
          <a:xfrm>
            <a:off x="2914706" y="92075"/>
            <a:ext cx="3960813" cy="260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EUROPOL UNCLASSIFIED – BASIC PROTECTION LEVEL</a:t>
            </a:r>
          </a:p>
        </p:txBody>
      </p:sp>
      <p:pic>
        <p:nvPicPr>
          <p:cNvPr id="4096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90" y="2138363"/>
            <a:ext cx="8280400" cy="337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" name="CustomShape 1"/>
          <p:cNvSpPr/>
          <p:nvPr/>
        </p:nvSpPr>
        <p:spPr>
          <a:xfrm>
            <a:off x="365125" y="5973763"/>
            <a:ext cx="5710238" cy="60801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400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Illicit products with international travellers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7" name="CustomShape 2"/>
          <p:cNvSpPr/>
          <p:nvPr/>
        </p:nvSpPr>
        <p:spPr>
          <a:xfrm>
            <a:off x="7885114" y="200025"/>
            <a:ext cx="1128712" cy="1389063"/>
          </a:xfrm>
          <a:prstGeom prst="flowChartAlternateProcess">
            <a:avLst/>
          </a:prstGeom>
          <a:ln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ctr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400" b="1" smtClean="0">
                <a:solidFill>
                  <a:srgbClr val="000000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Opson Cases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8" name="CustomShape 1"/>
          <p:cNvSpPr/>
          <p:nvPr/>
        </p:nvSpPr>
        <p:spPr>
          <a:xfrm>
            <a:off x="250825" y="288925"/>
            <a:ext cx="8713788" cy="9794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4400" smtClean="0">
                <a:solidFill>
                  <a:srgbClr val="FFFFFF"/>
                </a:solidFill>
                <a:latin typeface="Calibri" pitchFamily="34" charset="0"/>
              </a:rPr>
              <a:t>Belgium, France</a:t>
            </a:r>
            <a:endParaRPr lang="en-US" altLang="en-US" smtClean="0">
              <a:solidFill>
                <a:srgbClr val="FFFFFF"/>
              </a:solidFill>
            </a:endParaRPr>
          </a:p>
        </p:txBody>
      </p:sp>
      <p:sp>
        <p:nvSpPr>
          <p:cNvPr id="9" name="TextBox 6"/>
          <p:cNvSpPr txBox="1"/>
          <p:nvPr/>
        </p:nvSpPr>
        <p:spPr>
          <a:xfrm>
            <a:off x="2914706" y="92075"/>
            <a:ext cx="3960813" cy="260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EUROPOL UNCLASSIFIED – BASIC PROTECTION LEVEL</a:t>
            </a:r>
          </a:p>
        </p:txBody>
      </p:sp>
      <p:pic>
        <p:nvPicPr>
          <p:cNvPr id="41990" name="Picture 6" descr="C:\Users\Sinkalex\Downloads\operation-opson-v-3_sqligallerysliderimage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607" r="26884"/>
          <a:stretch>
            <a:fillRect/>
          </a:stretch>
        </p:blipFill>
        <p:spPr bwMode="auto">
          <a:xfrm>
            <a:off x="2770195" y="1171575"/>
            <a:ext cx="3673475" cy="4802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010" name="Picture 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423" t="33052" r="16809" b="11658"/>
          <a:stretch>
            <a:fillRect/>
          </a:stretch>
        </p:blipFill>
        <p:spPr bwMode="auto">
          <a:xfrm>
            <a:off x="5445125" y="1317737"/>
            <a:ext cx="2957513" cy="249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6" name="CustomShape 1"/>
          <p:cNvSpPr/>
          <p:nvPr/>
        </p:nvSpPr>
        <p:spPr>
          <a:xfrm>
            <a:off x="365125" y="5973763"/>
            <a:ext cx="5710238" cy="60801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400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Food intended for children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pic>
        <p:nvPicPr>
          <p:cNvPr id="43012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069" y="1412875"/>
            <a:ext cx="4289425" cy="4287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CustomShape 2"/>
          <p:cNvSpPr/>
          <p:nvPr/>
        </p:nvSpPr>
        <p:spPr>
          <a:xfrm>
            <a:off x="7885114" y="200025"/>
            <a:ext cx="1128712" cy="1389063"/>
          </a:xfrm>
          <a:prstGeom prst="flowChartAlternateProcess">
            <a:avLst/>
          </a:prstGeom>
          <a:ln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ctr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400" b="1" smtClean="0">
                <a:solidFill>
                  <a:srgbClr val="000000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Opson Cases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9" name="CustomShape 1"/>
          <p:cNvSpPr/>
          <p:nvPr/>
        </p:nvSpPr>
        <p:spPr>
          <a:xfrm>
            <a:off x="-107942" y="288925"/>
            <a:ext cx="8208963" cy="9794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4400" smtClean="0">
                <a:solidFill>
                  <a:srgbClr val="FFFFFF"/>
                </a:solidFill>
                <a:latin typeface="Calibri" pitchFamily="34" charset="0"/>
              </a:rPr>
              <a:t>Italy, Hungary, Lithuania, Romania</a:t>
            </a:r>
            <a:endParaRPr lang="en-US" altLang="en-US" smtClean="0">
              <a:solidFill>
                <a:srgbClr val="FFFFFF"/>
              </a:solidFill>
            </a:endParaRPr>
          </a:p>
        </p:txBody>
      </p:sp>
      <p:sp>
        <p:nvSpPr>
          <p:cNvPr id="10" name="TextBox 6"/>
          <p:cNvSpPr txBox="1"/>
          <p:nvPr/>
        </p:nvSpPr>
        <p:spPr>
          <a:xfrm>
            <a:off x="2914706" y="92075"/>
            <a:ext cx="3960813" cy="260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EUROPOL UNCLASSIFIED – BASIC PROTECTION LEVEL</a:t>
            </a:r>
          </a:p>
        </p:txBody>
      </p:sp>
      <p:pic>
        <p:nvPicPr>
          <p:cNvPr id="43016" name="Picture 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996" t="37537" r="34010" b="9653"/>
          <a:stretch>
            <a:fillRect/>
          </a:stretch>
        </p:blipFill>
        <p:spPr bwMode="auto">
          <a:xfrm>
            <a:off x="4932419" y="3954575"/>
            <a:ext cx="3038475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" name="CustomShape 1"/>
          <p:cNvSpPr/>
          <p:nvPr/>
        </p:nvSpPr>
        <p:spPr>
          <a:xfrm>
            <a:off x="365125" y="5973763"/>
            <a:ext cx="5710238" cy="60801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400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Dietary products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7" name="CustomShape 2"/>
          <p:cNvSpPr/>
          <p:nvPr/>
        </p:nvSpPr>
        <p:spPr>
          <a:xfrm>
            <a:off x="7885114" y="200025"/>
            <a:ext cx="1128712" cy="1389063"/>
          </a:xfrm>
          <a:prstGeom prst="flowChartAlternateProcess">
            <a:avLst/>
          </a:prstGeom>
          <a:ln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ctr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400" b="1" smtClean="0">
                <a:solidFill>
                  <a:srgbClr val="000000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Opson Cases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8" name="CustomShape 1"/>
          <p:cNvSpPr/>
          <p:nvPr/>
        </p:nvSpPr>
        <p:spPr>
          <a:xfrm>
            <a:off x="1258890" y="288925"/>
            <a:ext cx="6842125" cy="9794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4400" smtClean="0">
                <a:solidFill>
                  <a:srgbClr val="FFFFFF"/>
                </a:solidFill>
                <a:latin typeface="Calibri" pitchFamily="34" charset="0"/>
              </a:rPr>
              <a:t>Belgium</a:t>
            </a:r>
            <a:endParaRPr lang="en-US" altLang="en-US" smtClean="0">
              <a:solidFill>
                <a:srgbClr val="FFFFFF"/>
              </a:solidFill>
            </a:endParaRPr>
          </a:p>
        </p:txBody>
      </p:sp>
      <p:sp>
        <p:nvSpPr>
          <p:cNvPr id="9" name="TextBox 6"/>
          <p:cNvSpPr txBox="1"/>
          <p:nvPr/>
        </p:nvSpPr>
        <p:spPr>
          <a:xfrm>
            <a:off x="2914706" y="92075"/>
            <a:ext cx="3960813" cy="260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EUROPOL UNCLASSIFIED – BASIC PROTECTION LEVEL</a:t>
            </a:r>
          </a:p>
        </p:txBody>
      </p:sp>
      <p:pic>
        <p:nvPicPr>
          <p:cNvPr id="44038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42" t="27844" r="12395"/>
          <a:stretch>
            <a:fillRect/>
          </a:stretch>
        </p:blipFill>
        <p:spPr bwMode="auto">
          <a:xfrm>
            <a:off x="36520" y="1589088"/>
            <a:ext cx="9140825" cy="400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2" name="CustomShape 1"/>
          <p:cNvSpPr/>
          <p:nvPr/>
        </p:nvSpPr>
        <p:spPr>
          <a:xfrm>
            <a:off x="365125" y="5973763"/>
            <a:ext cx="5710238" cy="608012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400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Counterfeit cheese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7" name="CustomShape 2"/>
          <p:cNvSpPr/>
          <p:nvPr/>
        </p:nvSpPr>
        <p:spPr>
          <a:xfrm>
            <a:off x="7885114" y="200025"/>
            <a:ext cx="1128712" cy="1389063"/>
          </a:xfrm>
          <a:prstGeom prst="flowChartAlternateProcess">
            <a:avLst/>
          </a:prstGeom>
          <a:ln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ctr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400" b="1" smtClean="0">
                <a:solidFill>
                  <a:srgbClr val="000000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Opson Cases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8" name="CustomShape 1"/>
          <p:cNvSpPr/>
          <p:nvPr/>
        </p:nvSpPr>
        <p:spPr>
          <a:xfrm>
            <a:off x="1258890" y="288925"/>
            <a:ext cx="6842125" cy="9794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4400" smtClean="0">
                <a:solidFill>
                  <a:srgbClr val="FFFFFF"/>
                </a:solidFill>
                <a:latin typeface="Calibri" pitchFamily="34" charset="0"/>
              </a:rPr>
              <a:t>Czech Republic</a:t>
            </a:r>
            <a:endParaRPr lang="en-US" altLang="en-US" smtClean="0">
              <a:solidFill>
                <a:srgbClr val="FFFFFF"/>
              </a:solidFill>
            </a:endParaRPr>
          </a:p>
        </p:txBody>
      </p:sp>
      <p:sp>
        <p:nvSpPr>
          <p:cNvPr id="9" name="TextBox 6"/>
          <p:cNvSpPr txBox="1"/>
          <p:nvPr/>
        </p:nvSpPr>
        <p:spPr>
          <a:xfrm>
            <a:off x="2914706" y="92075"/>
            <a:ext cx="3960813" cy="260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EUROPOL UNCLASSIFIED – BASIC PROTECTION LEVEL</a:t>
            </a:r>
          </a:p>
        </p:txBody>
      </p:sp>
      <p:pic>
        <p:nvPicPr>
          <p:cNvPr id="45062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483" r="23215" b="6171"/>
          <a:stretch>
            <a:fillRect/>
          </a:stretch>
        </p:blipFill>
        <p:spPr bwMode="auto">
          <a:xfrm>
            <a:off x="1619250" y="1208088"/>
            <a:ext cx="5976938" cy="4757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2" name="Picture 6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565" t="8199" r="25287" b="12891"/>
          <a:stretch>
            <a:fillRect/>
          </a:stretch>
        </p:blipFill>
        <p:spPr bwMode="auto">
          <a:xfrm>
            <a:off x="1258888" y="1139829"/>
            <a:ext cx="6769100" cy="480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0" name="CustomShape 1"/>
          <p:cNvSpPr/>
          <p:nvPr/>
        </p:nvSpPr>
        <p:spPr>
          <a:xfrm>
            <a:off x="274638" y="5975462"/>
            <a:ext cx="4297362" cy="60801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400" smtClean="0">
                <a:solidFill>
                  <a:srgbClr val="00437A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Olive oil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291" name="CustomShape 2"/>
          <p:cNvSpPr/>
          <p:nvPr/>
        </p:nvSpPr>
        <p:spPr>
          <a:xfrm>
            <a:off x="7885114" y="200025"/>
            <a:ext cx="1128712" cy="1389063"/>
          </a:xfrm>
          <a:prstGeom prst="flowChartAlternateProcess">
            <a:avLst/>
          </a:prstGeom>
          <a:ln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  <p:txBody>
          <a:bodyPr lIns="90000" tIns="45000" rIns="90000" bIns="45000" anchor="ctr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400" b="1" smtClean="0">
                <a:solidFill>
                  <a:srgbClr val="000000"/>
                </a:solidFill>
                <a:latin typeface="Calibri" pitchFamily="34" charset="0"/>
                <a:ea typeface="DejaVu Sans" pitchFamily="34" charset="0"/>
                <a:cs typeface="DejaVu Sans" pitchFamily="34" charset="0"/>
              </a:rPr>
              <a:t>Opson Cases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sp>
        <p:nvSpPr>
          <p:cNvPr id="7" name="CustomShape 1"/>
          <p:cNvSpPr/>
          <p:nvPr/>
        </p:nvSpPr>
        <p:spPr>
          <a:xfrm>
            <a:off x="250825" y="288925"/>
            <a:ext cx="8713788" cy="9794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4400" smtClean="0">
                <a:solidFill>
                  <a:srgbClr val="FFFFFF"/>
                </a:solidFill>
                <a:latin typeface="Calibri" pitchFamily="34" charset="0"/>
              </a:rPr>
              <a:t>Italy</a:t>
            </a:r>
            <a:endParaRPr lang="en-US" altLang="en-US" smtClean="0">
              <a:solidFill>
                <a:srgbClr val="FFFFFF"/>
              </a:solidFill>
            </a:endParaRPr>
          </a:p>
        </p:txBody>
      </p:sp>
      <p:sp>
        <p:nvSpPr>
          <p:cNvPr id="8" name="TextBox 6"/>
          <p:cNvSpPr txBox="1"/>
          <p:nvPr/>
        </p:nvSpPr>
        <p:spPr>
          <a:xfrm>
            <a:off x="2914706" y="92075"/>
            <a:ext cx="3960813" cy="260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EUROPOL UNCLASSIFIED – BASIC PROTECTION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8" name="CustomShape 1"/>
          <p:cNvSpPr/>
          <p:nvPr/>
        </p:nvSpPr>
        <p:spPr>
          <a:xfrm>
            <a:off x="3995745" y="2276475"/>
            <a:ext cx="4891087" cy="338455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4400" b="1" i="1" smtClean="0">
                <a:solidFill>
                  <a:srgbClr val="00437A"/>
                </a:solidFill>
                <a:latin typeface="Calibri" pitchFamily="34" charset="0"/>
                <a:ea typeface="MS PGothic" pitchFamily="34" charset="-128"/>
              </a:rPr>
              <a:t>Subproject on food crime within</a:t>
            </a: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4400" b="1" i="1" smtClean="0">
                <a:solidFill>
                  <a:srgbClr val="00437A"/>
                </a:solidFill>
                <a:latin typeface="Calibri" pitchFamily="34" charset="0"/>
                <a:ea typeface="MS PGothic" pitchFamily="34" charset="-128"/>
              </a:rPr>
              <a:t>FP COPY at Europol</a:t>
            </a:r>
            <a:endParaRPr lang="en-US" altLang="en-US" smtClean="0">
              <a:solidFill>
                <a:srgbClr val="000000"/>
              </a:solidFill>
            </a:endParaRPr>
          </a:p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800" b="1" i="1" smtClean="0">
                <a:solidFill>
                  <a:srgbClr val="00437A"/>
                </a:solidFill>
                <a:latin typeface="Calibri" pitchFamily="34" charset="0"/>
                <a:ea typeface="MS PGothic" pitchFamily="34" charset="-128"/>
              </a:rPr>
              <a:t>(Intellectual Property Crime Coordinated Coalition - IPC³)</a:t>
            </a:r>
            <a:endParaRPr lang="en-US" altLang="en-US" smtClean="0">
              <a:solidFill>
                <a:srgbClr val="000000"/>
              </a:solidFill>
            </a:endParaRPr>
          </a:p>
        </p:txBody>
      </p:sp>
      <p:pic>
        <p:nvPicPr>
          <p:cNvPr id="47107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214" r="27916"/>
          <a:stretch>
            <a:fillRect/>
          </a:stretch>
        </p:blipFill>
        <p:spPr bwMode="auto">
          <a:xfrm>
            <a:off x="433390" y="1482725"/>
            <a:ext cx="3490912" cy="4972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CustomShape 1"/>
          <p:cNvSpPr/>
          <p:nvPr/>
        </p:nvSpPr>
        <p:spPr>
          <a:xfrm>
            <a:off x="250825" y="288925"/>
            <a:ext cx="8713788" cy="979488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>
            <a:lvl1pPr>
              <a:defRPr>
                <a:solidFill>
                  <a:schemeClr val="bg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bg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bg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bg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bg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Arial" charset="0"/>
              </a:defRPr>
            </a:lvl9pPr>
          </a:lstStyle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4400" i="1" smtClean="0">
                <a:solidFill>
                  <a:srgbClr val="FFFFFF"/>
                </a:solidFill>
                <a:latin typeface="Bradley Hand ITC" pitchFamily="66" charset="0"/>
              </a:rPr>
              <a:t>Thank you</a:t>
            </a:r>
            <a:endParaRPr lang="en-US" altLang="en-US" i="1" smtClean="0">
              <a:solidFill>
                <a:srgbClr val="FFFFFF"/>
              </a:solidFill>
              <a:latin typeface="Bradley Hand ITC" pitchFamily="66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7586" name="Picture 2" descr="C:\Users\A.DAMARIO.lenovo\Desktop\food conference\PDFsam_merge2\PDFsam_merge2_Page_3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27583" cy="64533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13201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155" y="1529568"/>
            <a:ext cx="2294142" cy="32539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27" y="4776770"/>
            <a:ext cx="2075651" cy="1982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9564" y="2564904"/>
            <a:ext cx="2180468" cy="2687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5966" y="5174269"/>
            <a:ext cx="1986086" cy="17071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1758" y="1485232"/>
            <a:ext cx="1876218" cy="29833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1470" y="4636049"/>
            <a:ext cx="2036794" cy="1673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942"/>
            <a:ext cx="2952328" cy="13288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5934" y="4961255"/>
            <a:ext cx="1753868" cy="1724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8" name="Picture 14" descr="C:\Users\A.DAMARIO.lenovo\Desktop\European-Livestock-And-Meat-Trading-Union-UECBV-logo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8" y="3284984"/>
            <a:ext cx="1329129" cy="1000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9" name="Picture 15" descr="C:\Users\A.DAMARIO.lenovo\Desktop\CELCAA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9" y="2563672"/>
            <a:ext cx="2088231" cy="361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C:\Users\A.DAMARIO.lenovo\Desktop\eurocoop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0761" y="1821288"/>
            <a:ext cx="2159967" cy="487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1" name="Picture 17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5675" y="267979"/>
            <a:ext cx="2129921" cy="1386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7346" name="Picture 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9564" y="1479823"/>
            <a:ext cx="1820428" cy="1122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657994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1682" name="Picture 2" descr="C:\Users\A.DAMARIO.lenovo\Desktop\food conference\PDFsam_merge2\PDFsam_merge2_Page_7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7676"/>
            <a:ext cx="9144000" cy="64649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2745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3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63750"/>
            <a:ext cx="9144000" cy="5794248"/>
          </a:xfrm>
          <a:prstGeom prst="rect">
            <a:avLst/>
          </a:prstGeom>
        </p:spPr>
      </p:pic>
      <p:pic>
        <p:nvPicPr>
          <p:cNvPr id="4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5609"/>
            <a:ext cx="9144000" cy="5732399"/>
          </a:xfrm>
          <a:prstGeom prst="rect">
            <a:avLst/>
          </a:prstGeom>
        </p:spPr>
      </p:pic>
      <p:pic>
        <p:nvPicPr>
          <p:cNvPr id="5" name="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06559"/>
            <a:ext cx="9144000" cy="5751449"/>
          </a:xfrm>
          <a:prstGeom prst="rect">
            <a:avLst/>
          </a:prstGeom>
        </p:spPr>
      </p:pic>
      <p:pic>
        <p:nvPicPr>
          <p:cNvPr id="6" name="Image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300" y="335211"/>
            <a:ext cx="1537740" cy="1077300"/>
          </a:xfrm>
          <a:prstGeom prst="rect">
            <a:avLst/>
          </a:prstGeom>
        </p:spPr>
      </p:pic>
      <p:pic>
        <p:nvPicPr>
          <p:cNvPr id="7" name="Image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1757" y="6401004"/>
            <a:ext cx="678215" cy="457097"/>
          </a:xfrm>
          <a:prstGeom prst="rect">
            <a:avLst/>
          </a:prstGeom>
        </p:spPr>
      </p:pic>
      <p:sp>
        <p:nvSpPr>
          <p:cNvPr id="9" name="text 1"/>
          <p:cNvSpPr txBox="1"/>
          <p:nvPr/>
        </p:nvSpPr>
        <p:spPr>
          <a:xfrm>
            <a:off x="270967" y="5691960"/>
            <a:ext cx="1268296" cy="2769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b="1" spc="10" dirty="0">
                <a:solidFill>
                  <a:srgbClr val="FFFFFF"/>
                </a:solidFill>
                <a:latin typeface="Arial"/>
                <a:cs typeface="Arial"/>
              </a:rPr>
              <a:t>DG  SANTE</a:t>
            </a:r>
            <a:endParaRPr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0" name="text 1"/>
          <p:cNvSpPr txBox="1"/>
          <p:nvPr/>
        </p:nvSpPr>
        <p:spPr>
          <a:xfrm>
            <a:off x="271028" y="5943807"/>
            <a:ext cx="3652923" cy="17543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140" b="1" spc="10" dirty="0">
                <a:solidFill>
                  <a:srgbClr val="FFFFFF"/>
                </a:solidFill>
                <a:latin typeface="Arial"/>
                <a:cs typeface="Arial"/>
              </a:rPr>
              <a:t>Unit  G5  –  </a:t>
            </a:r>
            <a:r>
              <a:rPr sz="1140" spc="10" dirty="0">
                <a:solidFill>
                  <a:srgbClr val="FFFFFF"/>
                </a:solidFill>
                <a:latin typeface="Verdana"/>
                <a:cs typeface="Verdana"/>
              </a:rPr>
              <a:t>Alerts,  Traceability  and  Committees</a:t>
            </a:r>
            <a:endParaRPr sz="1100">
              <a:solidFill>
                <a:prstClr val="black"/>
              </a:solidFill>
              <a:latin typeface="Verdana"/>
              <a:cs typeface="Verdana"/>
            </a:endParaRPr>
          </a:p>
        </p:txBody>
      </p:sp>
      <p:sp>
        <p:nvSpPr>
          <p:cNvPr id="11" name="text 1"/>
          <p:cNvSpPr txBox="1"/>
          <p:nvPr/>
        </p:nvSpPr>
        <p:spPr>
          <a:xfrm>
            <a:off x="270967" y="6144286"/>
            <a:ext cx="931024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400" b="1" spc="10" dirty="0">
                <a:solidFill>
                  <a:srgbClr val="FFFFFF"/>
                </a:solidFill>
                <a:latin typeface="Arial"/>
                <a:cs typeface="Arial"/>
              </a:rPr>
              <a:t>Eric  Marin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12" name="text 1"/>
          <p:cNvSpPr txBox="1"/>
          <p:nvPr/>
        </p:nvSpPr>
        <p:spPr>
          <a:xfrm>
            <a:off x="1959611" y="1591609"/>
            <a:ext cx="4649030" cy="1171090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3610" b="1" spc="10" dirty="0">
                <a:solidFill>
                  <a:srgbClr val="FFD523"/>
                </a:solidFill>
                <a:latin typeface="Arial"/>
                <a:cs typeface="Arial"/>
              </a:rPr>
              <a:t>EU  FIGHT  AGAINST</a:t>
            </a:r>
            <a:endParaRPr sz="3600">
              <a:solidFill>
                <a:prstClr val="black"/>
              </a:solidFill>
              <a:latin typeface="Arial"/>
              <a:cs typeface="Arial"/>
            </a:endParaRPr>
          </a:p>
          <a:p>
            <a:pPr marL="1064006"/>
            <a:r>
              <a:rPr sz="4000" b="1" spc="10" dirty="0">
                <a:solidFill>
                  <a:srgbClr val="FFD523"/>
                </a:solidFill>
                <a:latin typeface="Arial"/>
                <a:cs typeface="Arial"/>
              </a:rPr>
              <a:t>FOOD  FRAUD</a:t>
            </a:r>
            <a:endParaRPr sz="4000"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8" name="Image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7450" y="2924175"/>
            <a:ext cx="6985000" cy="27559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"/>
            <a:ext cx="9144000" cy="1103249"/>
          </a:xfrm>
          <a:prstGeom prst="rect">
            <a:avLst/>
          </a:prstGeom>
        </p:spPr>
      </p:pic>
      <p:pic>
        <p:nvPicPr>
          <p:cNvPr id="11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1757" y="6401004"/>
            <a:ext cx="678215" cy="457097"/>
          </a:xfrm>
          <a:prstGeom prst="rect">
            <a:avLst/>
          </a:prstGeom>
        </p:spPr>
      </p:pic>
      <p:pic>
        <p:nvPicPr>
          <p:cNvPr id="12" name="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300" y="335211"/>
            <a:ext cx="1537740" cy="1077300"/>
          </a:xfrm>
          <a:prstGeom prst="rect">
            <a:avLst/>
          </a:prstGeom>
        </p:spPr>
      </p:pic>
      <p:sp>
        <p:nvSpPr>
          <p:cNvPr id="743" name="text 1"/>
          <p:cNvSpPr txBox="1"/>
          <p:nvPr/>
        </p:nvSpPr>
        <p:spPr>
          <a:xfrm>
            <a:off x="6008302" y="1621180"/>
            <a:ext cx="2181687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600" b="1" spc="10" dirty="0">
                <a:solidFill>
                  <a:srgbClr val="FF0000"/>
                </a:solidFill>
                <a:latin typeface="Arial"/>
                <a:cs typeface="Arial"/>
              </a:rPr>
              <a:t>Impact  on  Consumer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44" name="text 1"/>
          <p:cNvSpPr txBox="1"/>
          <p:nvPr/>
        </p:nvSpPr>
        <p:spPr>
          <a:xfrm>
            <a:off x="610521" y="5100889"/>
            <a:ext cx="2894703" cy="87716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277671"/>
            <a:r>
              <a:rPr sz="1900" b="1" spc="10" dirty="0">
                <a:solidFill>
                  <a:srgbClr val="C00000"/>
                </a:solidFill>
                <a:latin typeface="Arial"/>
                <a:cs typeface="Arial"/>
              </a:rPr>
              <a:t>Fraudsters  have  no</a:t>
            </a:r>
            <a:endParaRPr sz="1900">
              <a:solidFill>
                <a:prstClr val="black"/>
              </a:solidFill>
              <a:latin typeface="Arial"/>
              <a:cs typeface="Arial"/>
            </a:endParaRPr>
          </a:p>
          <a:p>
            <a:pPr marL="215188"/>
            <a:r>
              <a:rPr sz="1900" b="1" spc="10" dirty="0">
                <a:solidFill>
                  <a:srgbClr val="C00000"/>
                </a:solidFill>
                <a:latin typeface="Arial"/>
                <a:cs typeface="Arial"/>
              </a:rPr>
              <a:t>interests  in  creating</a:t>
            </a:r>
            <a:endParaRPr sz="1900">
              <a:solidFill>
                <a:prstClr val="black"/>
              </a:solidFill>
              <a:latin typeface="Arial"/>
              <a:cs typeface="Arial"/>
            </a:endParaRPr>
          </a:p>
          <a:p>
            <a:r>
              <a:rPr sz="1900" b="1" spc="10" dirty="0">
                <a:solidFill>
                  <a:srgbClr val="C00000"/>
                </a:solidFill>
                <a:latin typeface="Arial"/>
                <a:cs typeface="Arial"/>
              </a:rPr>
              <a:t>public  health  incidents!</a:t>
            </a:r>
            <a:endParaRPr sz="1900"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13" name="Image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5380" y="1906524"/>
            <a:ext cx="467868" cy="4416552"/>
          </a:xfrm>
          <a:prstGeom prst="rect">
            <a:avLst/>
          </a:prstGeom>
        </p:spPr>
      </p:pic>
      <p:sp>
        <p:nvSpPr>
          <p:cNvPr id="745" name="object 1"/>
          <p:cNvSpPr/>
          <p:nvPr/>
        </p:nvSpPr>
        <p:spPr>
          <a:xfrm>
            <a:off x="4999101" y="1930400"/>
            <a:ext cx="360299" cy="4319587"/>
          </a:xfrm>
          <a:custGeom>
            <a:avLst/>
            <a:gdLst/>
            <a:ahLst/>
            <a:cxnLst/>
            <a:rect l="l" t="t" r="r" b="b"/>
            <a:pathLst>
              <a:path w="360299" h="4319587">
                <a:moveTo>
                  <a:pt x="0" y="4139412"/>
                </a:moveTo>
                <a:lnTo>
                  <a:pt x="90043" y="4139412"/>
                </a:lnTo>
                <a:lnTo>
                  <a:pt x="90043" y="0"/>
                </a:lnTo>
                <a:lnTo>
                  <a:pt x="270256" y="0"/>
                </a:lnTo>
                <a:lnTo>
                  <a:pt x="270256" y="4139412"/>
                </a:lnTo>
                <a:lnTo>
                  <a:pt x="360299" y="4139412"/>
                </a:lnTo>
                <a:lnTo>
                  <a:pt x="180086" y="4319587"/>
                </a:lnTo>
                <a:close/>
              </a:path>
            </a:pathLst>
          </a:custGeom>
          <a:solidFill>
            <a:srgbClr val="850000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object 2"/>
          <p:cNvSpPr/>
          <p:nvPr/>
        </p:nvSpPr>
        <p:spPr>
          <a:xfrm>
            <a:off x="4994338" y="6059904"/>
            <a:ext cx="99568" cy="9525"/>
          </a:xfrm>
          <a:custGeom>
            <a:avLst/>
            <a:gdLst/>
            <a:ahLst/>
            <a:cxnLst/>
            <a:rect l="l" t="t" r="r" b="b"/>
            <a:pathLst>
              <a:path w="99568" h="9525">
                <a:moveTo>
                  <a:pt x="4763" y="4763"/>
                </a:moveTo>
                <a:lnTo>
                  <a:pt x="94806" y="4763"/>
                </a:ln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" name="object 3"/>
          <p:cNvSpPr/>
          <p:nvPr/>
        </p:nvSpPr>
        <p:spPr>
          <a:xfrm>
            <a:off x="5084437" y="2957243"/>
            <a:ext cx="9525" cy="3112185"/>
          </a:xfrm>
          <a:custGeom>
            <a:avLst/>
            <a:gdLst/>
            <a:ahLst/>
            <a:cxnLst/>
            <a:rect l="l" t="t" r="r" b="b"/>
            <a:pathLst>
              <a:path w="9525" h="3112185">
                <a:moveTo>
                  <a:pt x="4763" y="3107424"/>
                </a:moveTo>
                <a:lnTo>
                  <a:pt x="4763" y="4763"/>
                </a:ln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object 4"/>
          <p:cNvSpPr/>
          <p:nvPr/>
        </p:nvSpPr>
        <p:spPr>
          <a:xfrm>
            <a:off x="5084437" y="2957243"/>
            <a:ext cx="9525" cy="3112185"/>
          </a:xfrm>
          <a:custGeom>
            <a:avLst/>
            <a:gdLst/>
            <a:ahLst/>
            <a:cxnLst/>
            <a:rect l="l" t="t" r="r" b="b"/>
            <a:pathLst>
              <a:path w="9525" h="3112185">
                <a:moveTo>
                  <a:pt x="4763" y="3107424"/>
                </a:moveTo>
                <a:lnTo>
                  <a:pt x="4763" y="4763"/>
                </a:ln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" name="object 5"/>
          <p:cNvSpPr/>
          <p:nvPr/>
        </p:nvSpPr>
        <p:spPr>
          <a:xfrm>
            <a:off x="5264650" y="6059904"/>
            <a:ext cx="88773" cy="9525"/>
          </a:xfrm>
          <a:custGeom>
            <a:avLst/>
            <a:gdLst/>
            <a:ahLst/>
            <a:cxnLst/>
            <a:rect l="l" t="t" r="r" b="b"/>
            <a:pathLst>
              <a:path w="88773" h="9525">
                <a:moveTo>
                  <a:pt x="84011" y="4763"/>
                </a:moveTo>
                <a:lnTo>
                  <a:pt x="4763" y="4763"/>
                </a:ln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" name="object 6"/>
          <p:cNvSpPr/>
          <p:nvPr/>
        </p:nvSpPr>
        <p:spPr>
          <a:xfrm>
            <a:off x="5264650" y="5854598"/>
            <a:ext cx="9525" cy="214718"/>
          </a:xfrm>
          <a:custGeom>
            <a:avLst/>
            <a:gdLst/>
            <a:ahLst/>
            <a:cxnLst/>
            <a:rect l="l" t="t" r="r" b="b"/>
            <a:pathLst>
              <a:path w="9525" h="214718">
                <a:moveTo>
                  <a:pt x="4763" y="209957"/>
                </a:moveTo>
                <a:lnTo>
                  <a:pt x="4763" y="4763"/>
                </a:ln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" name="object 7"/>
          <p:cNvSpPr/>
          <p:nvPr/>
        </p:nvSpPr>
        <p:spPr>
          <a:xfrm>
            <a:off x="5264650" y="5854598"/>
            <a:ext cx="9525" cy="214718"/>
          </a:xfrm>
          <a:custGeom>
            <a:avLst/>
            <a:gdLst/>
            <a:ahLst/>
            <a:cxnLst/>
            <a:rect l="l" t="t" r="r" b="b"/>
            <a:pathLst>
              <a:path w="9525" h="214718">
                <a:moveTo>
                  <a:pt x="4763" y="209957"/>
                </a:moveTo>
                <a:lnTo>
                  <a:pt x="4763" y="4763"/>
                </a:ln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" name="object 8"/>
          <p:cNvSpPr/>
          <p:nvPr/>
        </p:nvSpPr>
        <p:spPr>
          <a:xfrm>
            <a:off x="5264650" y="2957131"/>
            <a:ext cx="9525" cy="2906992"/>
          </a:xfrm>
          <a:custGeom>
            <a:avLst/>
            <a:gdLst/>
            <a:ahLst/>
            <a:cxnLst/>
            <a:rect l="l" t="t" r="r" b="b"/>
            <a:pathLst>
              <a:path w="9525" h="2906992">
                <a:moveTo>
                  <a:pt x="4763" y="2902230"/>
                </a:moveTo>
                <a:lnTo>
                  <a:pt x="4763" y="4763"/>
                </a:ln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46" name="object 9"/>
          <p:cNvSpPr/>
          <p:nvPr/>
        </p:nvSpPr>
        <p:spPr>
          <a:xfrm>
            <a:off x="4994342" y="6065050"/>
            <a:ext cx="369824" cy="189700"/>
          </a:xfrm>
          <a:custGeom>
            <a:avLst/>
            <a:gdLst/>
            <a:ahLst/>
            <a:cxnLst/>
            <a:rect l="l" t="t" r="r" b="b"/>
            <a:pathLst>
              <a:path w="369824" h="189700">
                <a:moveTo>
                  <a:pt x="365062" y="4762"/>
                </a:moveTo>
                <a:lnTo>
                  <a:pt x="184849" y="184937"/>
                </a:lnTo>
                <a:moveTo>
                  <a:pt x="4763" y="4762"/>
                </a:move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47" name="object 10"/>
          <p:cNvSpPr/>
          <p:nvPr/>
        </p:nvSpPr>
        <p:spPr>
          <a:xfrm>
            <a:off x="4636071" y="2496716"/>
            <a:ext cx="1128928" cy="471195"/>
          </a:xfrm>
          <a:custGeom>
            <a:avLst/>
            <a:gdLst/>
            <a:ahLst/>
            <a:cxnLst/>
            <a:rect l="l" t="t" r="r" b="b"/>
            <a:pathLst>
              <a:path w="1128928" h="471195">
                <a:moveTo>
                  <a:pt x="4763" y="4762"/>
                </a:moveTo>
                <a:lnTo>
                  <a:pt x="4763" y="466433"/>
                </a:lnTo>
                <a:lnTo>
                  <a:pt x="1124166" y="466433"/>
                </a:lnTo>
                <a:lnTo>
                  <a:pt x="1124166" y="4762"/>
                </a:lnTo>
                <a:lnTo>
                  <a:pt x="4763" y="4762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48" name="object 11"/>
          <p:cNvSpPr/>
          <p:nvPr/>
        </p:nvSpPr>
        <p:spPr>
          <a:xfrm>
            <a:off x="4888667" y="2619995"/>
            <a:ext cx="655701" cy="210057"/>
          </a:xfrm>
          <a:custGeom>
            <a:avLst/>
            <a:gdLst/>
            <a:ahLst/>
            <a:cxnLst/>
            <a:rect l="l" t="t" r="r" b="b"/>
            <a:pathLst>
              <a:path w="655701" h="210057">
                <a:moveTo>
                  <a:pt x="187071" y="132461"/>
                </a:moveTo>
                <a:cubicBezTo>
                  <a:pt x="195199" y="132461"/>
                  <a:pt x="202057" y="135128"/>
                  <a:pt x="207772" y="140462"/>
                </a:cubicBezTo>
                <a:cubicBezTo>
                  <a:pt x="213487" y="145669"/>
                  <a:pt x="216408" y="152145"/>
                  <a:pt x="216408" y="159638"/>
                </a:cubicBezTo>
                <a:cubicBezTo>
                  <a:pt x="216408" y="164845"/>
                  <a:pt x="215011" y="169291"/>
                  <a:pt x="212471" y="173101"/>
                </a:cubicBezTo>
                <a:lnTo>
                  <a:pt x="208153" y="179197"/>
                </a:lnTo>
                <a:cubicBezTo>
                  <a:pt x="207010" y="180848"/>
                  <a:pt x="206375" y="182118"/>
                  <a:pt x="206375" y="183261"/>
                </a:cubicBezTo>
                <a:cubicBezTo>
                  <a:pt x="206375" y="185038"/>
                  <a:pt x="207518" y="186563"/>
                  <a:pt x="209550" y="188087"/>
                </a:cubicBezTo>
                <a:cubicBezTo>
                  <a:pt x="210566" y="188722"/>
                  <a:pt x="213360" y="189357"/>
                  <a:pt x="217678" y="189738"/>
                </a:cubicBezTo>
                <a:lnTo>
                  <a:pt x="217678" y="210057"/>
                </a:lnTo>
                <a:cubicBezTo>
                  <a:pt x="205486" y="210057"/>
                  <a:pt x="194310" y="207645"/>
                  <a:pt x="183896" y="202819"/>
                </a:cubicBezTo>
                <a:cubicBezTo>
                  <a:pt x="175133" y="198628"/>
                  <a:pt x="168148" y="193040"/>
                  <a:pt x="163068" y="186309"/>
                </a:cubicBezTo>
                <a:cubicBezTo>
                  <a:pt x="157988" y="179451"/>
                  <a:pt x="155448" y="171957"/>
                  <a:pt x="155448" y="163957"/>
                </a:cubicBezTo>
                <a:cubicBezTo>
                  <a:pt x="155448" y="154940"/>
                  <a:pt x="158496" y="147574"/>
                  <a:pt x="164592" y="141478"/>
                </a:cubicBezTo>
                <a:cubicBezTo>
                  <a:pt x="170561" y="135509"/>
                  <a:pt x="178054" y="132461"/>
                  <a:pt x="187071" y="132461"/>
                </a:cubicBezTo>
                <a:close/>
                <a:moveTo>
                  <a:pt x="80391" y="2540"/>
                </a:moveTo>
                <a:lnTo>
                  <a:pt x="80391" y="176911"/>
                </a:lnTo>
                <a:cubicBezTo>
                  <a:pt x="80391" y="180086"/>
                  <a:pt x="80899" y="182245"/>
                  <a:pt x="82042" y="183388"/>
                </a:cubicBezTo>
                <a:cubicBezTo>
                  <a:pt x="82296" y="183895"/>
                  <a:pt x="82677" y="184150"/>
                  <a:pt x="83058" y="184276"/>
                </a:cubicBezTo>
                <a:cubicBezTo>
                  <a:pt x="83312" y="184404"/>
                  <a:pt x="85471" y="184912"/>
                  <a:pt x="89535" y="185928"/>
                </a:cubicBezTo>
                <a:cubicBezTo>
                  <a:pt x="95504" y="187325"/>
                  <a:pt x="98552" y="191007"/>
                  <a:pt x="98552" y="196723"/>
                </a:cubicBezTo>
                <a:cubicBezTo>
                  <a:pt x="98552" y="200406"/>
                  <a:pt x="97282" y="202945"/>
                  <a:pt x="94742" y="204216"/>
                </a:cubicBezTo>
                <a:cubicBezTo>
                  <a:pt x="91440" y="206501"/>
                  <a:pt x="87376" y="207645"/>
                  <a:pt x="82423" y="207645"/>
                </a:cubicBezTo>
                <a:lnTo>
                  <a:pt x="77343" y="207645"/>
                </a:lnTo>
                <a:lnTo>
                  <a:pt x="21336" y="207645"/>
                </a:lnTo>
                <a:lnTo>
                  <a:pt x="16510" y="207645"/>
                </a:lnTo>
                <a:cubicBezTo>
                  <a:pt x="11430" y="207645"/>
                  <a:pt x="7747" y="206882"/>
                  <a:pt x="5334" y="205232"/>
                </a:cubicBezTo>
                <a:cubicBezTo>
                  <a:pt x="2032" y="203326"/>
                  <a:pt x="508" y="200406"/>
                  <a:pt x="508" y="196723"/>
                </a:cubicBezTo>
                <a:cubicBezTo>
                  <a:pt x="508" y="190881"/>
                  <a:pt x="3429" y="187325"/>
                  <a:pt x="9271" y="185928"/>
                </a:cubicBezTo>
                <a:cubicBezTo>
                  <a:pt x="13335" y="184912"/>
                  <a:pt x="15494" y="184404"/>
                  <a:pt x="15875" y="184276"/>
                </a:cubicBezTo>
                <a:cubicBezTo>
                  <a:pt x="16129" y="184150"/>
                  <a:pt x="16510" y="183895"/>
                  <a:pt x="16891" y="183388"/>
                </a:cubicBezTo>
                <a:cubicBezTo>
                  <a:pt x="17907" y="182118"/>
                  <a:pt x="18415" y="179959"/>
                  <a:pt x="18415" y="176911"/>
                </a:cubicBezTo>
                <a:lnTo>
                  <a:pt x="18415" y="40386"/>
                </a:lnTo>
                <a:cubicBezTo>
                  <a:pt x="18415" y="35814"/>
                  <a:pt x="18161" y="32639"/>
                  <a:pt x="17399" y="30988"/>
                </a:cubicBezTo>
                <a:cubicBezTo>
                  <a:pt x="16637" y="29337"/>
                  <a:pt x="15494" y="28448"/>
                  <a:pt x="13970" y="28321"/>
                </a:cubicBezTo>
                <a:lnTo>
                  <a:pt x="9398" y="27559"/>
                </a:lnTo>
                <a:cubicBezTo>
                  <a:pt x="3175" y="26670"/>
                  <a:pt x="0" y="23368"/>
                  <a:pt x="0" y="17653"/>
                </a:cubicBezTo>
                <a:cubicBezTo>
                  <a:pt x="0" y="13462"/>
                  <a:pt x="2159" y="10033"/>
                  <a:pt x="6477" y="7493"/>
                </a:cubicBezTo>
                <a:cubicBezTo>
                  <a:pt x="7874" y="6604"/>
                  <a:pt x="11176" y="6096"/>
                  <a:pt x="16002" y="5842"/>
                </a:cubicBezTo>
                <a:close/>
                <a:moveTo>
                  <a:pt x="579755" y="0"/>
                </a:moveTo>
                <a:cubicBezTo>
                  <a:pt x="598170" y="762"/>
                  <a:pt x="612140" y="3683"/>
                  <a:pt x="621792" y="8636"/>
                </a:cubicBezTo>
                <a:cubicBezTo>
                  <a:pt x="630555" y="13208"/>
                  <a:pt x="637413" y="19558"/>
                  <a:pt x="642366" y="27813"/>
                </a:cubicBezTo>
                <a:cubicBezTo>
                  <a:pt x="647319" y="35941"/>
                  <a:pt x="649859" y="45085"/>
                  <a:pt x="649859" y="54991"/>
                </a:cubicBezTo>
                <a:cubicBezTo>
                  <a:pt x="649859" y="70231"/>
                  <a:pt x="644779" y="81788"/>
                  <a:pt x="634492" y="89281"/>
                </a:cubicBezTo>
                <a:cubicBezTo>
                  <a:pt x="630301" y="93726"/>
                  <a:pt x="626237" y="96901"/>
                  <a:pt x="622046" y="98806"/>
                </a:cubicBezTo>
                <a:cubicBezTo>
                  <a:pt x="617982" y="100838"/>
                  <a:pt x="613410" y="101726"/>
                  <a:pt x="608203" y="101854"/>
                </a:cubicBezTo>
                <a:cubicBezTo>
                  <a:pt x="613537" y="101981"/>
                  <a:pt x="618363" y="102997"/>
                  <a:pt x="622554" y="104901"/>
                </a:cubicBezTo>
                <a:cubicBezTo>
                  <a:pt x="626745" y="106680"/>
                  <a:pt x="630682" y="109093"/>
                  <a:pt x="634365" y="111887"/>
                </a:cubicBezTo>
                <a:cubicBezTo>
                  <a:pt x="641223" y="116840"/>
                  <a:pt x="646430" y="123317"/>
                  <a:pt x="650113" y="130937"/>
                </a:cubicBezTo>
                <a:cubicBezTo>
                  <a:pt x="653796" y="138557"/>
                  <a:pt x="655701" y="146938"/>
                  <a:pt x="655701" y="155956"/>
                </a:cubicBezTo>
                <a:cubicBezTo>
                  <a:pt x="655701" y="172338"/>
                  <a:pt x="649732" y="185547"/>
                  <a:pt x="638048" y="195453"/>
                </a:cubicBezTo>
                <a:cubicBezTo>
                  <a:pt x="634492" y="198374"/>
                  <a:pt x="630809" y="200787"/>
                  <a:pt x="627126" y="202438"/>
                </a:cubicBezTo>
                <a:cubicBezTo>
                  <a:pt x="623316" y="204216"/>
                  <a:pt x="618617" y="205613"/>
                  <a:pt x="612902" y="206882"/>
                </a:cubicBezTo>
                <a:cubicBezTo>
                  <a:pt x="605155" y="208534"/>
                  <a:pt x="596138" y="209550"/>
                  <a:pt x="586232" y="209931"/>
                </a:cubicBezTo>
                <a:lnTo>
                  <a:pt x="580771" y="210057"/>
                </a:lnTo>
                <a:lnTo>
                  <a:pt x="580771" y="189738"/>
                </a:lnTo>
                <a:cubicBezTo>
                  <a:pt x="583946" y="188849"/>
                  <a:pt x="585978" y="188087"/>
                  <a:pt x="586613" y="187579"/>
                </a:cubicBezTo>
                <a:cubicBezTo>
                  <a:pt x="587375" y="186944"/>
                  <a:pt x="588264" y="185420"/>
                  <a:pt x="589280" y="183007"/>
                </a:cubicBezTo>
                <a:cubicBezTo>
                  <a:pt x="589915" y="181482"/>
                  <a:pt x="590296" y="179070"/>
                  <a:pt x="590296" y="175641"/>
                </a:cubicBezTo>
                <a:lnTo>
                  <a:pt x="590296" y="125730"/>
                </a:lnTo>
                <a:cubicBezTo>
                  <a:pt x="590296" y="125222"/>
                  <a:pt x="590042" y="123951"/>
                  <a:pt x="589407" y="121920"/>
                </a:cubicBezTo>
                <a:cubicBezTo>
                  <a:pt x="588772" y="119888"/>
                  <a:pt x="588264" y="118363"/>
                  <a:pt x="587883" y="117348"/>
                </a:cubicBezTo>
                <a:cubicBezTo>
                  <a:pt x="587248" y="116205"/>
                  <a:pt x="586486" y="115188"/>
                  <a:pt x="585724" y="114554"/>
                </a:cubicBezTo>
                <a:cubicBezTo>
                  <a:pt x="584962" y="113919"/>
                  <a:pt x="582930" y="113030"/>
                  <a:pt x="579755" y="111760"/>
                </a:cubicBezTo>
                <a:lnTo>
                  <a:pt x="579755" y="92329"/>
                </a:lnTo>
                <a:cubicBezTo>
                  <a:pt x="582930" y="91059"/>
                  <a:pt x="584962" y="90043"/>
                  <a:pt x="585851" y="89281"/>
                </a:cubicBezTo>
                <a:cubicBezTo>
                  <a:pt x="586613" y="88519"/>
                  <a:pt x="587248" y="87503"/>
                  <a:pt x="587756" y="86106"/>
                </a:cubicBezTo>
                <a:cubicBezTo>
                  <a:pt x="588137" y="85090"/>
                  <a:pt x="588645" y="83438"/>
                  <a:pt x="589407" y="81153"/>
                </a:cubicBezTo>
                <a:cubicBezTo>
                  <a:pt x="590042" y="78867"/>
                  <a:pt x="590296" y="77724"/>
                  <a:pt x="590296" y="77724"/>
                </a:cubicBezTo>
                <a:lnTo>
                  <a:pt x="590296" y="37465"/>
                </a:lnTo>
                <a:cubicBezTo>
                  <a:pt x="590296" y="36830"/>
                  <a:pt x="590042" y="35433"/>
                  <a:pt x="589661" y="33655"/>
                </a:cubicBezTo>
                <a:lnTo>
                  <a:pt x="587883" y="25146"/>
                </a:lnTo>
                <a:cubicBezTo>
                  <a:pt x="587248" y="23495"/>
                  <a:pt x="584581" y="21463"/>
                  <a:pt x="579755" y="19050"/>
                </a:cubicBezTo>
                <a:close/>
                <a:moveTo>
                  <a:pt x="575691" y="0"/>
                </a:moveTo>
                <a:lnTo>
                  <a:pt x="575691" y="18923"/>
                </a:lnTo>
                <a:cubicBezTo>
                  <a:pt x="571246" y="21336"/>
                  <a:pt x="568452" y="23495"/>
                  <a:pt x="567563" y="25400"/>
                </a:cubicBezTo>
                <a:cubicBezTo>
                  <a:pt x="566674" y="27305"/>
                  <a:pt x="566166" y="31369"/>
                  <a:pt x="566166" y="37465"/>
                </a:cubicBezTo>
                <a:lnTo>
                  <a:pt x="566166" y="77724"/>
                </a:lnTo>
                <a:cubicBezTo>
                  <a:pt x="566166" y="80645"/>
                  <a:pt x="566674" y="83312"/>
                  <a:pt x="567563" y="85598"/>
                </a:cubicBezTo>
                <a:cubicBezTo>
                  <a:pt x="568325" y="87249"/>
                  <a:pt x="569087" y="88519"/>
                  <a:pt x="569976" y="89407"/>
                </a:cubicBezTo>
                <a:cubicBezTo>
                  <a:pt x="570738" y="90170"/>
                  <a:pt x="572770" y="91186"/>
                  <a:pt x="575691" y="92456"/>
                </a:cubicBezTo>
                <a:lnTo>
                  <a:pt x="575691" y="111632"/>
                </a:lnTo>
                <a:cubicBezTo>
                  <a:pt x="571627" y="113284"/>
                  <a:pt x="568960" y="115062"/>
                  <a:pt x="567944" y="116967"/>
                </a:cubicBezTo>
                <a:cubicBezTo>
                  <a:pt x="566801" y="118872"/>
                  <a:pt x="566166" y="121793"/>
                  <a:pt x="566166" y="125730"/>
                </a:cubicBezTo>
                <a:lnTo>
                  <a:pt x="566166" y="175641"/>
                </a:lnTo>
                <a:cubicBezTo>
                  <a:pt x="566166" y="179197"/>
                  <a:pt x="566547" y="181610"/>
                  <a:pt x="567182" y="183007"/>
                </a:cubicBezTo>
                <a:cubicBezTo>
                  <a:pt x="568198" y="185420"/>
                  <a:pt x="569087" y="186944"/>
                  <a:pt x="569722" y="187579"/>
                </a:cubicBezTo>
                <a:cubicBezTo>
                  <a:pt x="570484" y="188087"/>
                  <a:pt x="572516" y="188849"/>
                  <a:pt x="575691" y="189738"/>
                </a:cubicBezTo>
                <a:lnTo>
                  <a:pt x="575691" y="210057"/>
                </a:lnTo>
                <a:lnTo>
                  <a:pt x="569468" y="209931"/>
                </a:lnTo>
                <a:cubicBezTo>
                  <a:pt x="560705" y="209931"/>
                  <a:pt x="551815" y="208915"/>
                  <a:pt x="542671" y="206882"/>
                </a:cubicBezTo>
                <a:cubicBezTo>
                  <a:pt x="536956" y="205486"/>
                  <a:pt x="532384" y="204088"/>
                  <a:pt x="528574" y="202311"/>
                </a:cubicBezTo>
                <a:cubicBezTo>
                  <a:pt x="524891" y="200660"/>
                  <a:pt x="521335" y="198501"/>
                  <a:pt x="518160" y="195834"/>
                </a:cubicBezTo>
                <a:cubicBezTo>
                  <a:pt x="506095" y="185801"/>
                  <a:pt x="500126" y="172466"/>
                  <a:pt x="500126" y="155956"/>
                </a:cubicBezTo>
                <a:cubicBezTo>
                  <a:pt x="500126" y="146812"/>
                  <a:pt x="501904" y="138430"/>
                  <a:pt x="505587" y="130810"/>
                </a:cubicBezTo>
                <a:cubicBezTo>
                  <a:pt x="509270" y="123190"/>
                  <a:pt x="514477" y="116840"/>
                  <a:pt x="521208" y="111887"/>
                </a:cubicBezTo>
                <a:cubicBezTo>
                  <a:pt x="525018" y="108966"/>
                  <a:pt x="528955" y="106680"/>
                  <a:pt x="533146" y="104775"/>
                </a:cubicBezTo>
                <a:cubicBezTo>
                  <a:pt x="537337" y="102997"/>
                  <a:pt x="542036" y="101981"/>
                  <a:pt x="547497" y="101854"/>
                </a:cubicBezTo>
                <a:cubicBezTo>
                  <a:pt x="542290" y="101726"/>
                  <a:pt x="537591" y="100838"/>
                  <a:pt x="533527" y="98932"/>
                </a:cubicBezTo>
                <a:cubicBezTo>
                  <a:pt x="529463" y="97028"/>
                  <a:pt x="525272" y="93853"/>
                  <a:pt x="521081" y="89535"/>
                </a:cubicBezTo>
                <a:cubicBezTo>
                  <a:pt x="510921" y="81915"/>
                  <a:pt x="505714" y="70357"/>
                  <a:pt x="505714" y="54991"/>
                </a:cubicBezTo>
                <a:cubicBezTo>
                  <a:pt x="505714" y="44957"/>
                  <a:pt x="508254" y="35941"/>
                  <a:pt x="513207" y="27686"/>
                </a:cubicBezTo>
                <a:cubicBezTo>
                  <a:pt x="518160" y="19558"/>
                  <a:pt x="525018" y="13081"/>
                  <a:pt x="533781" y="8636"/>
                </a:cubicBezTo>
                <a:cubicBezTo>
                  <a:pt x="543306" y="3683"/>
                  <a:pt x="557403" y="762"/>
                  <a:pt x="575691" y="0"/>
                </a:cubicBezTo>
                <a:close/>
                <a:moveTo>
                  <a:pt x="404495" y="0"/>
                </a:moveTo>
                <a:cubicBezTo>
                  <a:pt x="422910" y="762"/>
                  <a:pt x="436880" y="3683"/>
                  <a:pt x="446532" y="8636"/>
                </a:cubicBezTo>
                <a:cubicBezTo>
                  <a:pt x="455295" y="13208"/>
                  <a:pt x="462153" y="19558"/>
                  <a:pt x="467106" y="27813"/>
                </a:cubicBezTo>
                <a:cubicBezTo>
                  <a:pt x="472059" y="35941"/>
                  <a:pt x="474599" y="45085"/>
                  <a:pt x="474599" y="54991"/>
                </a:cubicBezTo>
                <a:cubicBezTo>
                  <a:pt x="474599" y="70231"/>
                  <a:pt x="469519" y="81788"/>
                  <a:pt x="459232" y="89281"/>
                </a:cubicBezTo>
                <a:cubicBezTo>
                  <a:pt x="455041" y="93726"/>
                  <a:pt x="450977" y="96901"/>
                  <a:pt x="446786" y="98806"/>
                </a:cubicBezTo>
                <a:cubicBezTo>
                  <a:pt x="442722" y="100838"/>
                  <a:pt x="438150" y="101726"/>
                  <a:pt x="432943" y="101854"/>
                </a:cubicBezTo>
                <a:cubicBezTo>
                  <a:pt x="438277" y="101981"/>
                  <a:pt x="443103" y="102997"/>
                  <a:pt x="447294" y="104901"/>
                </a:cubicBezTo>
                <a:cubicBezTo>
                  <a:pt x="451485" y="106680"/>
                  <a:pt x="455422" y="109093"/>
                  <a:pt x="459105" y="111887"/>
                </a:cubicBezTo>
                <a:cubicBezTo>
                  <a:pt x="465963" y="116840"/>
                  <a:pt x="471170" y="123317"/>
                  <a:pt x="474853" y="130937"/>
                </a:cubicBezTo>
                <a:cubicBezTo>
                  <a:pt x="478536" y="138557"/>
                  <a:pt x="480441" y="146938"/>
                  <a:pt x="480441" y="155956"/>
                </a:cubicBezTo>
                <a:cubicBezTo>
                  <a:pt x="480441" y="172338"/>
                  <a:pt x="474472" y="185547"/>
                  <a:pt x="462788" y="195453"/>
                </a:cubicBezTo>
                <a:cubicBezTo>
                  <a:pt x="459232" y="198374"/>
                  <a:pt x="455549" y="200787"/>
                  <a:pt x="451866" y="202438"/>
                </a:cubicBezTo>
                <a:cubicBezTo>
                  <a:pt x="448056" y="204216"/>
                  <a:pt x="443357" y="205613"/>
                  <a:pt x="437642" y="206882"/>
                </a:cubicBezTo>
                <a:cubicBezTo>
                  <a:pt x="429895" y="208534"/>
                  <a:pt x="420878" y="209550"/>
                  <a:pt x="410972" y="209931"/>
                </a:cubicBezTo>
                <a:lnTo>
                  <a:pt x="405511" y="210057"/>
                </a:lnTo>
                <a:lnTo>
                  <a:pt x="405511" y="189738"/>
                </a:lnTo>
                <a:cubicBezTo>
                  <a:pt x="408686" y="188849"/>
                  <a:pt x="410718" y="188087"/>
                  <a:pt x="411353" y="187579"/>
                </a:cubicBezTo>
                <a:cubicBezTo>
                  <a:pt x="412115" y="186944"/>
                  <a:pt x="413004" y="185420"/>
                  <a:pt x="414020" y="183007"/>
                </a:cubicBezTo>
                <a:cubicBezTo>
                  <a:pt x="414655" y="181482"/>
                  <a:pt x="415036" y="179070"/>
                  <a:pt x="415036" y="175641"/>
                </a:cubicBezTo>
                <a:lnTo>
                  <a:pt x="415036" y="125730"/>
                </a:lnTo>
                <a:cubicBezTo>
                  <a:pt x="415036" y="125222"/>
                  <a:pt x="414782" y="123951"/>
                  <a:pt x="414147" y="121920"/>
                </a:cubicBezTo>
                <a:cubicBezTo>
                  <a:pt x="413512" y="119888"/>
                  <a:pt x="413004" y="118363"/>
                  <a:pt x="412623" y="117348"/>
                </a:cubicBezTo>
                <a:cubicBezTo>
                  <a:pt x="411988" y="116205"/>
                  <a:pt x="411226" y="115188"/>
                  <a:pt x="410464" y="114554"/>
                </a:cubicBezTo>
                <a:cubicBezTo>
                  <a:pt x="409702" y="113919"/>
                  <a:pt x="407670" y="113030"/>
                  <a:pt x="404495" y="111760"/>
                </a:cubicBezTo>
                <a:lnTo>
                  <a:pt x="404495" y="92329"/>
                </a:lnTo>
                <a:cubicBezTo>
                  <a:pt x="407670" y="91059"/>
                  <a:pt x="409702" y="90043"/>
                  <a:pt x="410591" y="89281"/>
                </a:cubicBezTo>
                <a:cubicBezTo>
                  <a:pt x="411353" y="88519"/>
                  <a:pt x="411988" y="87503"/>
                  <a:pt x="412496" y="86106"/>
                </a:cubicBezTo>
                <a:cubicBezTo>
                  <a:pt x="412877" y="85090"/>
                  <a:pt x="413385" y="83438"/>
                  <a:pt x="414147" y="81153"/>
                </a:cubicBezTo>
                <a:cubicBezTo>
                  <a:pt x="414782" y="78867"/>
                  <a:pt x="415036" y="77724"/>
                  <a:pt x="415036" y="77724"/>
                </a:cubicBezTo>
                <a:lnTo>
                  <a:pt x="415036" y="37465"/>
                </a:lnTo>
                <a:cubicBezTo>
                  <a:pt x="415036" y="36830"/>
                  <a:pt x="414782" y="35433"/>
                  <a:pt x="414401" y="33655"/>
                </a:cubicBezTo>
                <a:lnTo>
                  <a:pt x="412623" y="25146"/>
                </a:lnTo>
                <a:cubicBezTo>
                  <a:pt x="411988" y="23495"/>
                  <a:pt x="409321" y="21463"/>
                  <a:pt x="404495" y="19050"/>
                </a:cubicBezTo>
                <a:close/>
                <a:moveTo>
                  <a:pt x="400431" y="0"/>
                </a:moveTo>
                <a:lnTo>
                  <a:pt x="400431" y="18923"/>
                </a:lnTo>
                <a:cubicBezTo>
                  <a:pt x="395986" y="21336"/>
                  <a:pt x="393192" y="23495"/>
                  <a:pt x="392303" y="25400"/>
                </a:cubicBezTo>
                <a:cubicBezTo>
                  <a:pt x="391414" y="27305"/>
                  <a:pt x="390906" y="31369"/>
                  <a:pt x="390906" y="37465"/>
                </a:cubicBezTo>
                <a:lnTo>
                  <a:pt x="390906" y="77724"/>
                </a:lnTo>
                <a:cubicBezTo>
                  <a:pt x="390906" y="80645"/>
                  <a:pt x="391414" y="83312"/>
                  <a:pt x="392303" y="85598"/>
                </a:cubicBezTo>
                <a:cubicBezTo>
                  <a:pt x="393065" y="87249"/>
                  <a:pt x="393827" y="88519"/>
                  <a:pt x="394716" y="89407"/>
                </a:cubicBezTo>
                <a:cubicBezTo>
                  <a:pt x="395478" y="90170"/>
                  <a:pt x="397510" y="91186"/>
                  <a:pt x="400431" y="92456"/>
                </a:cubicBezTo>
                <a:lnTo>
                  <a:pt x="400431" y="111632"/>
                </a:lnTo>
                <a:cubicBezTo>
                  <a:pt x="396367" y="113284"/>
                  <a:pt x="393700" y="115062"/>
                  <a:pt x="392684" y="116967"/>
                </a:cubicBezTo>
                <a:cubicBezTo>
                  <a:pt x="391541" y="118872"/>
                  <a:pt x="390906" y="121793"/>
                  <a:pt x="390906" y="125730"/>
                </a:cubicBezTo>
                <a:lnTo>
                  <a:pt x="390906" y="175641"/>
                </a:lnTo>
                <a:cubicBezTo>
                  <a:pt x="390906" y="179197"/>
                  <a:pt x="391287" y="181610"/>
                  <a:pt x="391922" y="183007"/>
                </a:cubicBezTo>
                <a:cubicBezTo>
                  <a:pt x="392938" y="185420"/>
                  <a:pt x="393827" y="186944"/>
                  <a:pt x="394462" y="187579"/>
                </a:cubicBezTo>
                <a:cubicBezTo>
                  <a:pt x="395224" y="188087"/>
                  <a:pt x="397256" y="188849"/>
                  <a:pt x="400431" y="189738"/>
                </a:cubicBezTo>
                <a:lnTo>
                  <a:pt x="400431" y="210057"/>
                </a:lnTo>
                <a:lnTo>
                  <a:pt x="394208" y="209931"/>
                </a:lnTo>
                <a:cubicBezTo>
                  <a:pt x="385445" y="209931"/>
                  <a:pt x="376555" y="208915"/>
                  <a:pt x="367411" y="206882"/>
                </a:cubicBezTo>
                <a:cubicBezTo>
                  <a:pt x="361696" y="205486"/>
                  <a:pt x="357124" y="204088"/>
                  <a:pt x="353314" y="202311"/>
                </a:cubicBezTo>
                <a:cubicBezTo>
                  <a:pt x="349631" y="200660"/>
                  <a:pt x="346075" y="198501"/>
                  <a:pt x="342900" y="195834"/>
                </a:cubicBezTo>
                <a:cubicBezTo>
                  <a:pt x="330835" y="185801"/>
                  <a:pt x="324866" y="172466"/>
                  <a:pt x="324866" y="155956"/>
                </a:cubicBezTo>
                <a:cubicBezTo>
                  <a:pt x="324866" y="146812"/>
                  <a:pt x="326644" y="138430"/>
                  <a:pt x="330327" y="130810"/>
                </a:cubicBezTo>
                <a:cubicBezTo>
                  <a:pt x="334010" y="123190"/>
                  <a:pt x="339217" y="116840"/>
                  <a:pt x="345948" y="111887"/>
                </a:cubicBezTo>
                <a:cubicBezTo>
                  <a:pt x="349758" y="108966"/>
                  <a:pt x="353695" y="106680"/>
                  <a:pt x="357886" y="104775"/>
                </a:cubicBezTo>
                <a:cubicBezTo>
                  <a:pt x="362077" y="102997"/>
                  <a:pt x="366776" y="101981"/>
                  <a:pt x="372237" y="101854"/>
                </a:cubicBezTo>
                <a:cubicBezTo>
                  <a:pt x="367030" y="101726"/>
                  <a:pt x="362331" y="100838"/>
                  <a:pt x="358267" y="98932"/>
                </a:cubicBezTo>
                <a:cubicBezTo>
                  <a:pt x="354203" y="97028"/>
                  <a:pt x="350012" y="93853"/>
                  <a:pt x="345821" y="89535"/>
                </a:cubicBezTo>
                <a:cubicBezTo>
                  <a:pt x="335661" y="81915"/>
                  <a:pt x="330454" y="70357"/>
                  <a:pt x="330454" y="54991"/>
                </a:cubicBezTo>
                <a:cubicBezTo>
                  <a:pt x="330454" y="44957"/>
                  <a:pt x="332994" y="35941"/>
                  <a:pt x="337947" y="27686"/>
                </a:cubicBezTo>
                <a:cubicBezTo>
                  <a:pt x="342900" y="19558"/>
                  <a:pt x="349758" y="13081"/>
                  <a:pt x="358521" y="8636"/>
                </a:cubicBezTo>
                <a:cubicBezTo>
                  <a:pt x="368046" y="3683"/>
                  <a:pt x="382143" y="762"/>
                  <a:pt x="400431" y="0"/>
                </a:cubicBezTo>
                <a:close/>
                <a:moveTo>
                  <a:pt x="225933" y="0"/>
                </a:moveTo>
                <a:cubicBezTo>
                  <a:pt x="237871" y="1143"/>
                  <a:pt x="248158" y="3937"/>
                  <a:pt x="256667" y="8763"/>
                </a:cubicBezTo>
                <a:cubicBezTo>
                  <a:pt x="265176" y="13462"/>
                  <a:pt x="272923" y="19939"/>
                  <a:pt x="279908" y="28448"/>
                </a:cubicBezTo>
                <a:cubicBezTo>
                  <a:pt x="287147" y="36957"/>
                  <a:pt x="292735" y="48132"/>
                  <a:pt x="296799" y="61849"/>
                </a:cubicBezTo>
                <a:cubicBezTo>
                  <a:pt x="300863" y="75565"/>
                  <a:pt x="302895" y="90424"/>
                  <a:pt x="302895" y="106299"/>
                </a:cubicBezTo>
                <a:cubicBezTo>
                  <a:pt x="302895" y="140588"/>
                  <a:pt x="292989" y="167640"/>
                  <a:pt x="273177" y="187832"/>
                </a:cubicBezTo>
                <a:cubicBezTo>
                  <a:pt x="266192" y="194818"/>
                  <a:pt x="258572" y="200279"/>
                  <a:pt x="250317" y="204216"/>
                </a:cubicBezTo>
                <a:cubicBezTo>
                  <a:pt x="242062" y="208153"/>
                  <a:pt x="232791" y="210057"/>
                  <a:pt x="222631" y="210057"/>
                </a:cubicBezTo>
                <a:lnTo>
                  <a:pt x="222631" y="190245"/>
                </a:lnTo>
                <a:cubicBezTo>
                  <a:pt x="226822" y="188849"/>
                  <a:pt x="229616" y="187832"/>
                  <a:pt x="230886" y="186944"/>
                </a:cubicBezTo>
                <a:cubicBezTo>
                  <a:pt x="232156" y="186055"/>
                  <a:pt x="233172" y="185166"/>
                  <a:pt x="233807" y="184023"/>
                </a:cubicBezTo>
                <a:cubicBezTo>
                  <a:pt x="236347" y="179832"/>
                  <a:pt x="237490" y="175641"/>
                  <a:pt x="237490" y="171195"/>
                </a:cubicBezTo>
                <a:lnTo>
                  <a:pt x="237490" y="36576"/>
                </a:lnTo>
                <a:cubicBezTo>
                  <a:pt x="237490" y="32385"/>
                  <a:pt x="237363" y="29591"/>
                  <a:pt x="237109" y="27940"/>
                </a:cubicBezTo>
                <a:cubicBezTo>
                  <a:pt x="236855" y="26289"/>
                  <a:pt x="236855" y="25400"/>
                  <a:pt x="236855" y="25146"/>
                </a:cubicBezTo>
                <a:cubicBezTo>
                  <a:pt x="234950" y="22860"/>
                  <a:pt x="231267" y="21082"/>
                  <a:pt x="225933" y="19685"/>
                </a:cubicBezTo>
                <a:close/>
                <a:moveTo>
                  <a:pt x="221107" y="0"/>
                </a:moveTo>
                <a:lnTo>
                  <a:pt x="221107" y="19685"/>
                </a:lnTo>
                <a:cubicBezTo>
                  <a:pt x="216408" y="20828"/>
                  <a:pt x="213360" y="22225"/>
                  <a:pt x="212217" y="23876"/>
                </a:cubicBezTo>
                <a:cubicBezTo>
                  <a:pt x="210947" y="25400"/>
                  <a:pt x="210312" y="27940"/>
                  <a:pt x="210312" y="31369"/>
                </a:cubicBezTo>
                <a:lnTo>
                  <a:pt x="210312" y="86868"/>
                </a:lnTo>
                <a:cubicBezTo>
                  <a:pt x="210312" y="90678"/>
                  <a:pt x="210947" y="93472"/>
                  <a:pt x="212217" y="95250"/>
                </a:cubicBezTo>
                <a:cubicBezTo>
                  <a:pt x="213614" y="97028"/>
                  <a:pt x="215265" y="97917"/>
                  <a:pt x="217170" y="97790"/>
                </a:cubicBezTo>
                <a:cubicBezTo>
                  <a:pt x="219583" y="97790"/>
                  <a:pt x="224536" y="96393"/>
                  <a:pt x="232029" y="93726"/>
                </a:cubicBezTo>
                <a:lnTo>
                  <a:pt x="232029" y="115188"/>
                </a:lnTo>
                <a:cubicBezTo>
                  <a:pt x="219964" y="121920"/>
                  <a:pt x="208661" y="125222"/>
                  <a:pt x="198120" y="125222"/>
                </a:cubicBezTo>
                <a:cubicBezTo>
                  <a:pt x="191643" y="125222"/>
                  <a:pt x="185293" y="123951"/>
                  <a:pt x="178816" y="121538"/>
                </a:cubicBezTo>
                <a:cubicBezTo>
                  <a:pt x="172466" y="118999"/>
                  <a:pt x="166497" y="115188"/>
                  <a:pt x="161036" y="109982"/>
                </a:cubicBezTo>
                <a:cubicBezTo>
                  <a:pt x="156337" y="105918"/>
                  <a:pt x="152400" y="100457"/>
                  <a:pt x="149479" y="93345"/>
                </a:cubicBezTo>
                <a:cubicBezTo>
                  <a:pt x="146431" y="86232"/>
                  <a:pt x="144907" y="78740"/>
                  <a:pt x="144907" y="70738"/>
                </a:cubicBezTo>
                <a:cubicBezTo>
                  <a:pt x="144907" y="59309"/>
                  <a:pt x="147574" y="48387"/>
                  <a:pt x="152781" y="37846"/>
                </a:cubicBezTo>
                <a:cubicBezTo>
                  <a:pt x="157988" y="27305"/>
                  <a:pt x="164973" y="19050"/>
                  <a:pt x="173609" y="12954"/>
                </a:cubicBezTo>
                <a:cubicBezTo>
                  <a:pt x="186309" y="4318"/>
                  <a:pt x="202057" y="0"/>
                  <a:pt x="221107" y="0"/>
                </a:cubicBez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49" name="object 12"/>
          <p:cNvSpPr/>
          <p:nvPr/>
        </p:nvSpPr>
        <p:spPr>
          <a:xfrm>
            <a:off x="5071110" y="2747884"/>
            <a:ext cx="9144" cy="9143"/>
          </a:xfrm>
          <a:custGeom>
            <a:avLst/>
            <a:gdLst/>
            <a:ahLst/>
            <a:cxnLst/>
            <a:rect l="l" t="t" r="r" b="b"/>
            <a:pathLst>
              <a:path w="9144" h="9143"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50" name="object 13"/>
          <p:cNvSpPr/>
          <p:nvPr/>
        </p:nvSpPr>
        <p:spPr>
          <a:xfrm>
            <a:off x="5071113" y="2747772"/>
            <a:ext cx="39751" cy="66420"/>
          </a:xfrm>
          <a:custGeom>
            <a:avLst/>
            <a:gdLst/>
            <a:ahLst/>
            <a:cxnLst/>
            <a:rect l="l" t="t" r="r" b="b"/>
            <a:pathLst>
              <a:path w="39751" h="66420">
                <a:moveTo>
                  <a:pt x="4572" y="4572"/>
                </a:moveTo>
                <a:cubicBezTo>
                  <a:pt x="12700" y="4572"/>
                  <a:pt x="19558" y="7239"/>
                  <a:pt x="25273" y="12573"/>
                </a:cubicBezTo>
                <a:cubicBezTo>
                  <a:pt x="30988" y="17780"/>
                  <a:pt x="33909" y="24256"/>
                  <a:pt x="33909" y="31749"/>
                </a:cubicBezTo>
                <a:cubicBezTo>
                  <a:pt x="33909" y="36956"/>
                  <a:pt x="32512" y="41402"/>
                  <a:pt x="29972" y="45212"/>
                </a:cubicBezTo>
                <a:lnTo>
                  <a:pt x="25654" y="51308"/>
                </a:lnTo>
                <a:cubicBezTo>
                  <a:pt x="24511" y="52959"/>
                  <a:pt x="23876" y="54229"/>
                  <a:pt x="23876" y="55372"/>
                </a:cubicBezTo>
                <a:cubicBezTo>
                  <a:pt x="23876" y="57149"/>
                  <a:pt x="25019" y="58674"/>
                  <a:pt x="27051" y="60198"/>
                </a:cubicBezTo>
                <a:cubicBezTo>
                  <a:pt x="28067" y="60833"/>
                  <a:pt x="30861" y="61468"/>
                  <a:pt x="35179" y="61849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5101728" y="2805161"/>
            <a:ext cx="9143" cy="29463"/>
          </a:xfrm>
          <a:custGeom>
            <a:avLst/>
            <a:gdLst/>
            <a:ahLst/>
            <a:cxnLst/>
            <a:rect l="l" t="t" r="r" b="b"/>
            <a:pathLst>
              <a:path w="9143" h="29463">
                <a:moveTo>
                  <a:pt x="4572" y="4572"/>
                </a:moveTo>
                <a:lnTo>
                  <a:pt x="4572" y="2489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5" name="object 15"/>
          <p:cNvSpPr/>
          <p:nvPr/>
        </p:nvSpPr>
        <p:spPr>
          <a:xfrm>
            <a:off x="5039543" y="2747772"/>
            <a:ext cx="71373" cy="86740"/>
          </a:xfrm>
          <a:custGeom>
            <a:avLst/>
            <a:gdLst/>
            <a:ahLst/>
            <a:cxnLst/>
            <a:rect l="l" t="t" r="r" b="b"/>
            <a:pathLst>
              <a:path w="71373" h="86740">
                <a:moveTo>
                  <a:pt x="66802" y="82168"/>
                </a:moveTo>
                <a:cubicBezTo>
                  <a:pt x="54610" y="82168"/>
                  <a:pt x="43434" y="79756"/>
                  <a:pt x="33020" y="74930"/>
                </a:cubicBezTo>
                <a:cubicBezTo>
                  <a:pt x="24257" y="70739"/>
                  <a:pt x="17272" y="65151"/>
                  <a:pt x="12192" y="58420"/>
                </a:cubicBezTo>
                <a:cubicBezTo>
                  <a:pt x="7112" y="51562"/>
                  <a:pt x="4572" y="44068"/>
                  <a:pt x="4572" y="36068"/>
                </a:cubicBezTo>
                <a:cubicBezTo>
                  <a:pt x="4572" y="27051"/>
                  <a:pt x="7620" y="19685"/>
                  <a:pt x="13716" y="13589"/>
                </a:cubicBezTo>
                <a:cubicBezTo>
                  <a:pt x="19685" y="7620"/>
                  <a:pt x="27178" y="4572"/>
                  <a:pt x="36195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4964486" y="2617851"/>
            <a:ext cx="115823" cy="183514"/>
          </a:xfrm>
          <a:custGeom>
            <a:avLst/>
            <a:gdLst/>
            <a:ahLst/>
            <a:cxnLst/>
            <a:rect l="l" t="t" r="r" b="b"/>
            <a:pathLst>
              <a:path w="115823" h="183514">
                <a:moveTo>
                  <a:pt x="111252" y="134493"/>
                </a:moveTo>
                <a:moveTo>
                  <a:pt x="111252" y="134493"/>
                </a:moveTo>
                <a:moveTo>
                  <a:pt x="4572" y="4572"/>
                </a:moveTo>
                <a:lnTo>
                  <a:pt x="4572" y="17894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" name="object 17"/>
          <p:cNvSpPr/>
          <p:nvPr/>
        </p:nvSpPr>
        <p:spPr>
          <a:xfrm>
            <a:off x="4964434" y="2792334"/>
            <a:ext cx="27304" cy="39877"/>
          </a:xfrm>
          <a:custGeom>
            <a:avLst/>
            <a:gdLst/>
            <a:ahLst/>
            <a:cxnLst/>
            <a:rect l="l" t="t" r="r" b="b"/>
            <a:pathLst>
              <a:path w="27304" h="39877">
                <a:moveTo>
                  <a:pt x="4572" y="4572"/>
                </a:moveTo>
                <a:cubicBezTo>
                  <a:pt x="4572" y="7747"/>
                  <a:pt x="5080" y="9906"/>
                  <a:pt x="6223" y="11049"/>
                </a:cubicBezTo>
                <a:cubicBezTo>
                  <a:pt x="6477" y="11556"/>
                  <a:pt x="6858" y="11811"/>
                  <a:pt x="7239" y="11937"/>
                </a:cubicBezTo>
                <a:cubicBezTo>
                  <a:pt x="7493" y="12065"/>
                  <a:pt x="9652" y="12573"/>
                  <a:pt x="13716" y="13589"/>
                </a:cubicBezTo>
                <a:cubicBezTo>
                  <a:pt x="19685" y="14986"/>
                  <a:pt x="22733" y="18668"/>
                  <a:pt x="22733" y="24384"/>
                </a:cubicBezTo>
                <a:cubicBezTo>
                  <a:pt x="22733" y="28067"/>
                  <a:pt x="21463" y="30606"/>
                  <a:pt x="18923" y="31877"/>
                </a:cubicBezTo>
                <a:cubicBezTo>
                  <a:pt x="15621" y="34162"/>
                  <a:pt x="11557" y="35306"/>
                  <a:pt x="6604" y="35306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4900550" y="2823068"/>
            <a:ext cx="75056" cy="9143"/>
          </a:xfrm>
          <a:custGeom>
            <a:avLst/>
            <a:gdLst/>
            <a:ahLst/>
            <a:cxnLst/>
            <a:rect l="l" t="t" r="r" b="b"/>
            <a:pathLst>
              <a:path w="75056" h="9143">
                <a:moveTo>
                  <a:pt x="70485" y="4572"/>
                </a:moveTo>
                <a:lnTo>
                  <a:pt x="65405" y="4572"/>
                </a:lnTo>
                <a:lnTo>
                  <a:pt x="9398" y="4572"/>
                </a:ln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" name="object 19"/>
          <p:cNvSpPr/>
          <p:nvPr/>
        </p:nvSpPr>
        <p:spPr>
          <a:xfrm>
            <a:off x="4884598" y="2792334"/>
            <a:ext cx="27051" cy="39877"/>
          </a:xfrm>
          <a:custGeom>
            <a:avLst/>
            <a:gdLst/>
            <a:ahLst/>
            <a:cxnLst/>
            <a:rect l="l" t="t" r="r" b="b"/>
            <a:pathLst>
              <a:path w="27051" h="39877">
                <a:moveTo>
                  <a:pt x="20574" y="35306"/>
                </a:moveTo>
                <a:cubicBezTo>
                  <a:pt x="15494" y="35306"/>
                  <a:pt x="11811" y="34543"/>
                  <a:pt x="9398" y="32893"/>
                </a:cubicBezTo>
                <a:cubicBezTo>
                  <a:pt x="6096" y="30987"/>
                  <a:pt x="4572" y="28067"/>
                  <a:pt x="4572" y="24384"/>
                </a:cubicBezTo>
                <a:cubicBezTo>
                  <a:pt x="4572" y="18542"/>
                  <a:pt x="7493" y="14986"/>
                  <a:pt x="13335" y="13589"/>
                </a:cubicBezTo>
                <a:cubicBezTo>
                  <a:pt x="17399" y="12573"/>
                  <a:pt x="19558" y="12065"/>
                  <a:pt x="19939" y="11937"/>
                </a:cubicBezTo>
                <a:cubicBezTo>
                  <a:pt x="20193" y="11811"/>
                  <a:pt x="20574" y="11556"/>
                  <a:pt x="20955" y="11049"/>
                </a:cubicBezTo>
                <a:cubicBezTo>
                  <a:pt x="21971" y="9779"/>
                  <a:pt x="22479" y="7620"/>
                  <a:pt x="22479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0" name="object 20"/>
          <p:cNvSpPr/>
          <p:nvPr/>
        </p:nvSpPr>
        <p:spPr>
          <a:xfrm>
            <a:off x="4902454" y="2655697"/>
            <a:ext cx="9144" cy="145668"/>
          </a:xfrm>
          <a:custGeom>
            <a:avLst/>
            <a:gdLst/>
            <a:ahLst/>
            <a:cxnLst/>
            <a:rect l="l" t="t" r="r" b="b"/>
            <a:pathLst>
              <a:path w="9144" h="145668">
                <a:moveTo>
                  <a:pt x="4572" y="141097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1" name="object 21"/>
          <p:cNvSpPr/>
          <p:nvPr/>
        </p:nvSpPr>
        <p:spPr>
          <a:xfrm>
            <a:off x="4884095" y="2615311"/>
            <a:ext cx="664845" cy="219074"/>
          </a:xfrm>
          <a:custGeom>
            <a:avLst/>
            <a:gdLst/>
            <a:ahLst/>
            <a:cxnLst/>
            <a:rect l="l" t="t" r="r" b="b"/>
            <a:pathLst>
              <a:path w="664845" h="219074">
                <a:moveTo>
                  <a:pt x="22987" y="44958"/>
                </a:moveTo>
                <a:cubicBezTo>
                  <a:pt x="22987" y="40386"/>
                  <a:pt x="22733" y="37211"/>
                  <a:pt x="21971" y="35560"/>
                </a:cubicBezTo>
                <a:cubicBezTo>
                  <a:pt x="21209" y="33909"/>
                  <a:pt x="20066" y="33020"/>
                  <a:pt x="18542" y="32893"/>
                </a:cubicBezTo>
                <a:lnTo>
                  <a:pt x="13970" y="32131"/>
                </a:lnTo>
                <a:cubicBezTo>
                  <a:pt x="7747" y="31242"/>
                  <a:pt x="4572" y="27940"/>
                  <a:pt x="4572" y="22225"/>
                </a:cubicBezTo>
                <a:cubicBezTo>
                  <a:pt x="4572" y="18034"/>
                  <a:pt x="6731" y="14605"/>
                  <a:pt x="11049" y="12065"/>
                </a:cubicBezTo>
                <a:cubicBezTo>
                  <a:pt x="12446" y="11176"/>
                  <a:pt x="15748" y="10668"/>
                  <a:pt x="20574" y="10414"/>
                </a:cubicBezTo>
                <a:moveTo>
                  <a:pt x="191643" y="137033"/>
                </a:moveTo>
                <a:moveTo>
                  <a:pt x="584327" y="4572"/>
                </a:moveTo>
                <a:cubicBezTo>
                  <a:pt x="602742" y="5334"/>
                  <a:pt x="616712" y="8255"/>
                  <a:pt x="626364" y="13208"/>
                </a:cubicBezTo>
                <a:cubicBezTo>
                  <a:pt x="635127" y="17780"/>
                  <a:pt x="641985" y="24130"/>
                  <a:pt x="646938" y="32385"/>
                </a:cubicBezTo>
                <a:cubicBezTo>
                  <a:pt x="651891" y="40513"/>
                  <a:pt x="654431" y="49657"/>
                  <a:pt x="654431" y="59563"/>
                </a:cubicBezTo>
                <a:cubicBezTo>
                  <a:pt x="654431" y="74803"/>
                  <a:pt x="649351" y="86360"/>
                  <a:pt x="639064" y="93853"/>
                </a:cubicBezTo>
                <a:cubicBezTo>
                  <a:pt x="634873" y="98298"/>
                  <a:pt x="630809" y="101473"/>
                  <a:pt x="626618" y="103378"/>
                </a:cubicBezTo>
                <a:cubicBezTo>
                  <a:pt x="622554" y="105410"/>
                  <a:pt x="617982" y="106298"/>
                  <a:pt x="612775" y="106426"/>
                </a:cubicBezTo>
                <a:cubicBezTo>
                  <a:pt x="618109" y="106553"/>
                  <a:pt x="622935" y="107569"/>
                  <a:pt x="627126" y="109473"/>
                </a:cubicBezTo>
                <a:cubicBezTo>
                  <a:pt x="631317" y="111252"/>
                  <a:pt x="635254" y="113665"/>
                  <a:pt x="638937" y="116459"/>
                </a:cubicBezTo>
                <a:cubicBezTo>
                  <a:pt x="645795" y="121412"/>
                  <a:pt x="651002" y="127889"/>
                  <a:pt x="654685" y="135509"/>
                </a:cubicBezTo>
                <a:cubicBezTo>
                  <a:pt x="658368" y="143129"/>
                  <a:pt x="660273" y="151510"/>
                  <a:pt x="660273" y="160528"/>
                </a:cubicBezTo>
                <a:cubicBezTo>
                  <a:pt x="660273" y="176910"/>
                  <a:pt x="654304" y="190119"/>
                  <a:pt x="642620" y="200025"/>
                </a:cubicBezTo>
                <a:cubicBezTo>
                  <a:pt x="639064" y="202946"/>
                  <a:pt x="635381" y="205359"/>
                  <a:pt x="631698" y="207010"/>
                </a:cubicBezTo>
                <a:cubicBezTo>
                  <a:pt x="627888" y="208788"/>
                  <a:pt x="623189" y="210185"/>
                  <a:pt x="617474" y="211454"/>
                </a:cubicBezTo>
                <a:cubicBezTo>
                  <a:pt x="609727" y="213106"/>
                  <a:pt x="600710" y="214122"/>
                  <a:pt x="590804" y="214503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2" name="object 22"/>
          <p:cNvSpPr/>
          <p:nvPr/>
        </p:nvSpPr>
        <p:spPr>
          <a:xfrm>
            <a:off x="5464810" y="2805161"/>
            <a:ext cx="14605" cy="29463"/>
          </a:xfrm>
          <a:custGeom>
            <a:avLst/>
            <a:gdLst/>
            <a:ahLst/>
            <a:cxnLst/>
            <a:rect l="l" t="t" r="r" b="b"/>
            <a:pathLst>
              <a:path w="14605" h="29463">
                <a:moveTo>
                  <a:pt x="10033" y="24765"/>
                </a:moveTo>
                <a:lnTo>
                  <a:pt x="4572" y="24891"/>
                </a:ln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3" name="object 23"/>
          <p:cNvSpPr/>
          <p:nvPr/>
        </p:nvSpPr>
        <p:spPr>
          <a:xfrm>
            <a:off x="5464866" y="2791064"/>
            <a:ext cx="18669" cy="23241"/>
          </a:xfrm>
          <a:custGeom>
            <a:avLst/>
            <a:gdLst/>
            <a:ahLst/>
            <a:cxnLst/>
            <a:rect l="l" t="t" r="r" b="b"/>
            <a:pathLst>
              <a:path w="18669" h="23241">
                <a:moveTo>
                  <a:pt x="4572" y="18669"/>
                </a:moveTo>
                <a:cubicBezTo>
                  <a:pt x="7747" y="17780"/>
                  <a:pt x="9779" y="17018"/>
                  <a:pt x="10414" y="16510"/>
                </a:cubicBezTo>
                <a:cubicBezTo>
                  <a:pt x="11176" y="15875"/>
                  <a:pt x="12065" y="14351"/>
                  <a:pt x="13081" y="11938"/>
                </a:cubicBezTo>
                <a:cubicBezTo>
                  <a:pt x="13716" y="10413"/>
                  <a:pt x="14097" y="8001"/>
                  <a:pt x="14097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4" name="object 24"/>
          <p:cNvSpPr/>
          <p:nvPr/>
        </p:nvSpPr>
        <p:spPr>
          <a:xfrm>
            <a:off x="5474335" y="2741041"/>
            <a:ext cx="9144" cy="59054"/>
          </a:xfrm>
          <a:custGeom>
            <a:avLst/>
            <a:gdLst/>
            <a:ahLst/>
            <a:cxnLst/>
            <a:rect l="l" t="t" r="r" b="b"/>
            <a:pathLst>
              <a:path w="9144" h="59054">
                <a:moveTo>
                  <a:pt x="4572" y="54483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5" name="object 25"/>
          <p:cNvSpPr/>
          <p:nvPr/>
        </p:nvSpPr>
        <p:spPr>
          <a:xfrm>
            <a:off x="5463850" y="2727183"/>
            <a:ext cx="19685" cy="23113"/>
          </a:xfrm>
          <a:custGeom>
            <a:avLst/>
            <a:gdLst/>
            <a:ahLst/>
            <a:cxnLst/>
            <a:rect l="l" t="t" r="r" b="b"/>
            <a:pathLst>
              <a:path w="19685" h="23113">
                <a:moveTo>
                  <a:pt x="15113" y="18542"/>
                </a:moveTo>
                <a:cubicBezTo>
                  <a:pt x="15113" y="18034"/>
                  <a:pt x="14859" y="16763"/>
                  <a:pt x="14224" y="14732"/>
                </a:cubicBezTo>
                <a:cubicBezTo>
                  <a:pt x="13589" y="12700"/>
                  <a:pt x="13081" y="11175"/>
                  <a:pt x="12700" y="10160"/>
                </a:cubicBezTo>
                <a:cubicBezTo>
                  <a:pt x="12065" y="9017"/>
                  <a:pt x="11303" y="8000"/>
                  <a:pt x="10541" y="7366"/>
                </a:cubicBezTo>
                <a:cubicBezTo>
                  <a:pt x="9779" y="6731"/>
                  <a:pt x="7747" y="5842"/>
                  <a:pt x="4572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6" name="object 26"/>
          <p:cNvSpPr/>
          <p:nvPr/>
        </p:nvSpPr>
        <p:spPr>
          <a:xfrm>
            <a:off x="5463850" y="2707640"/>
            <a:ext cx="9143" cy="28574"/>
          </a:xfrm>
          <a:custGeom>
            <a:avLst/>
            <a:gdLst/>
            <a:ahLst/>
            <a:cxnLst/>
            <a:rect l="l" t="t" r="r" b="b"/>
            <a:pathLst>
              <a:path w="9143" h="28574">
                <a:moveTo>
                  <a:pt x="4572" y="24003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7" name="object 27"/>
          <p:cNvSpPr/>
          <p:nvPr/>
        </p:nvSpPr>
        <p:spPr>
          <a:xfrm>
            <a:off x="5463850" y="2693035"/>
            <a:ext cx="19685" cy="23748"/>
          </a:xfrm>
          <a:custGeom>
            <a:avLst/>
            <a:gdLst/>
            <a:ahLst/>
            <a:cxnLst/>
            <a:rect l="l" t="t" r="r" b="b"/>
            <a:pathLst>
              <a:path w="19685" h="23748">
                <a:moveTo>
                  <a:pt x="4572" y="19177"/>
                </a:moveTo>
                <a:cubicBezTo>
                  <a:pt x="7747" y="17907"/>
                  <a:pt x="9779" y="16891"/>
                  <a:pt x="10668" y="16129"/>
                </a:cubicBezTo>
                <a:cubicBezTo>
                  <a:pt x="11430" y="15367"/>
                  <a:pt x="12065" y="14351"/>
                  <a:pt x="12573" y="12954"/>
                </a:cubicBezTo>
                <a:cubicBezTo>
                  <a:pt x="12954" y="11938"/>
                  <a:pt x="13462" y="10286"/>
                  <a:pt x="14224" y="8001"/>
                </a:cubicBezTo>
                <a:cubicBezTo>
                  <a:pt x="14859" y="5715"/>
                  <a:pt x="15113" y="4572"/>
                  <a:pt x="15113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8" name="object 28"/>
          <p:cNvSpPr/>
          <p:nvPr/>
        </p:nvSpPr>
        <p:spPr>
          <a:xfrm>
            <a:off x="5474335" y="2652776"/>
            <a:ext cx="9144" cy="49402"/>
          </a:xfrm>
          <a:custGeom>
            <a:avLst/>
            <a:gdLst/>
            <a:ahLst/>
            <a:cxnLst/>
            <a:rect l="l" t="t" r="r" b="b"/>
            <a:pathLst>
              <a:path w="9144" h="49402">
                <a:moveTo>
                  <a:pt x="4572" y="44831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5071166" y="2615311"/>
            <a:ext cx="412369" cy="141604"/>
          </a:xfrm>
          <a:custGeom>
            <a:avLst/>
            <a:gdLst/>
            <a:ahLst/>
            <a:cxnLst/>
            <a:rect l="l" t="t" r="r" b="b"/>
            <a:pathLst>
              <a:path w="412369" h="141604">
                <a:moveTo>
                  <a:pt x="407797" y="42037"/>
                </a:moveTo>
                <a:cubicBezTo>
                  <a:pt x="407797" y="41402"/>
                  <a:pt x="407543" y="40005"/>
                  <a:pt x="407162" y="38227"/>
                </a:cubicBezTo>
                <a:lnTo>
                  <a:pt x="405384" y="29718"/>
                </a:lnTo>
                <a:cubicBezTo>
                  <a:pt x="404749" y="28067"/>
                  <a:pt x="402082" y="26035"/>
                  <a:pt x="397256" y="23622"/>
                </a:cubicBezTo>
                <a:moveTo>
                  <a:pt x="4572" y="137033"/>
                </a:moveTo>
                <a:moveTo>
                  <a:pt x="39319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0" name="object 30"/>
          <p:cNvSpPr/>
          <p:nvPr/>
        </p:nvSpPr>
        <p:spPr>
          <a:xfrm>
            <a:off x="5459786" y="2615311"/>
            <a:ext cx="9143" cy="28066"/>
          </a:xfrm>
          <a:custGeom>
            <a:avLst/>
            <a:gdLst/>
            <a:ahLst/>
            <a:cxnLst/>
            <a:rect l="l" t="t" r="r" b="b"/>
            <a:pathLst>
              <a:path w="9143" h="28066">
                <a:moveTo>
                  <a:pt x="4572" y="4572"/>
                </a:moveTo>
                <a:lnTo>
                  <a:pt x="4572" y="23495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1" name="object 31"/>
          <p:cNvSpPr/>
          <p:nvPr/>
        </p:nvSpPr>
        <p:spPr>
          <a:xfrm>
            <a:off x="5450205" y="2634346"/>
            <a:ext cx="18668" cy="27685"/>
          </a:xfrm>
          <a:custGeom>
            <a:avLst/>
            <a:gdLst/>
            <a:ahLst/>
            <a:cxnLst/>
            <a:rect l="l" t="t" r="r" b="b"/>
            <a:pathLst>
              <a:path w="18668" h="27685">
                <a:moveTo>
                  <a:pt x="14097" y="4572"/>
                </a:moveTo>
                <a:cubicBezTo>
                  <a:pt x="9652" y="6985"/>
                  <a:pt x="6858" y="9144"/>
                  <a:pt x="5969" y="11049"/>
                </a:cubicBezTo>
                <a:cubicBezTo>
                  <a:pt x="5080" y="12954"/>
                  <a:pt x="4572" y="17018"/>
                  <a:pt x="4572" y="23114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2" name="object 32"/>
          <p:cNvSpPr/>
          <p:nvPr/>
        </p:nvSpPr>
        <p:spPr>
          <a:xfrm>
            <a:off x="5450261" y="2652776"/>
            <a:ext cx="9143" cy="49402"/>
          </a:xfrm>
          <a:custGeom>
            <a:avLst/>
            <a:gdLst/>
            <a:ahLst/>
            <a:cxnLst/>
            <a:rect l="l" t="t" r="r" b="b"/>
            <a:pathLst>
              <a:path w="9143" h="49402">
                <a:moveTo>
                  <a:pt x="4572" y="4572"/>
                </a:moveTo>
                <a:lnTo>
                  <a:pt x="4572" y="4483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3" name="object 33"/>
          <p:cNvSpPr/>
          <p:nvPr/>
        </p:nvSpPr>
        <p:spPr>
          <a:xfrm>
            <a:off x="5450205" y="2693147"/>
            <a:ext cx="18668" cy="23875"/>
          </a:xfrm>
          <a:custGeom>
            <a:avLst/>
            <a:gdLst/>
            <a:ahLst/>
            <a:cxnLst/>
            <a:rect l="l" t="t" r="r" b="b"/>
            <a:pathLst>
              <a:path w="18668" h="23875">
                <a:moveTo>
                  <a:pt x="4572" y="4572"/>
                </a:moveTo>
                <a:cubicBezTo>
                  <a:pt x="4572" y="7493"/>
                  <a:pt x="5080" y="10160"/>
                  <a:pt x="5969" y="12446"/>
                </a:cubicBezTo>
                <a:cubicBezTo>
                  <a:pt x="6731" y="14097"/>
                  <a:pt x="7493" y="15367"/>
                  <a:pt x="8382" y="16255"/>
                </a:cubicBezTo>
                <a:cubicBezTo>
                  <a:pt x="9144" y="17018"/>
                  <a:pt x="11176" y="18034"/>
                  <a:pt x="14097" y="19304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4" name="object 34"/>
          <p:cNvSpPr/>
          <p:nvPr/>
        </p:nvSpPr>
        <p:spPr>
          <a:xfrm>
            <a:off x="5459786" y="2707767"/>
            <a:ext cx="9143" cy="28320"/>
          </a:xfrm>
          <a:custGeom>
            <a:avLst/>
            <a:gdLst/>
            <a:ahLst/>
            <a:cxnLst/>
            <a:rect l="l" t="t" r="r" b="b"/>
            <a:pathLst>
              <a:path w="9143" h="28320">
                <a:moveTo>
                  <a:pt x="4572" y="4572"/>
                </a:moveTo>
                <a:lnTo>
                  <a:pt x="4572" y="23748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5" name="object 35"/>
          <p:cNvSpPr/>
          <p:nvPr/>
        </p:nvSpPr>
        <p:spPr>
          <a:xfrm>
            <a:off x="5450205" y="2726944"/>
            <a:ext cx="18668" cy="23240"/>
          </a:xfrm>
          <a:custGeom>
            <a:avLst/>
            <a:gdLst/>
            <a:ahLst/>
            <a:cxnLst/>
            <a:rect l="l" t="t" r="r" b="b"/>
            <a:pathLst>
              <a:path w="18668" h="23240">
                <a:moveTo>
                  <a:pt x="14097" y="4571"/>
                </a:moveTo>
                <a:cubicBezTo>
                  <a:pt x="10033" y="6223"/>
                  <a:pt x="7366" y="8001"/>
                  <a:pt x="6350" y="9906"/>
                </a:cubicBezTo>
                <a:cubicBezTo>
                  <a:pt x="5207" y="11811"/>
                  <a:pt x="4572" y="14732"/>
                  <a:pt x="4572" y="18669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6" name="object 36"/>
          <p:cNvSpPr/>
          <p:nvPr/>
        </p:nvSpPr>
        <p:spPr>
          <a:xfrm>
            <a:off x="5450261" y="2741041"/>
            <a:ext cx="9143" cy="59054"/>
          </a:xfrm>
          <a:custGeom>
            <a:avLst/>
            <a:gdLst/>
            <a:ahLst/>
            <a:cxnLst/>
            <a:rect l="l" t="t" r="r" b="b"/>
            <a:pathLst>
              <a:path w="9143" h="59054">
                <a:moveTo>
                  <a:pt x="4572" y="4572"/>
                </a:moveTo>
                <a:lnTo>
                  <a:pt x="4572" y="5448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7" name="object 37"/>
          <p:cNvSpPr/>
          <p:nvPr/>
        </p:nvSpPr>
        <p:spPr>
          <a:xfrm>
            <a:off x="5450205" y="2791064"/>
            <a:ext cx="18668" cy="23241"/>
          </a:xfrm>
          <a:custGeom>
            <a:avLst/>
            <a:gdLst/>
            <a:ahLst/>
            <a:cxnLst/>
            <a:rect l="l" t="t" r="r" b="b"/>
            <a:pathLst>
              <a:path w="18668" h="23241">
                <a:moveTo>
                  <a:pt x="4572" y="4572"/>
                </a:moveTo>
                <a:cubicBezTo>
                  <a:pt x="4572" y="8128"/>
                  <a:pt x="4953" y="10541"/>
                  <a:pt x="5588" y="11938"/>
                </a:cubicBezTo>
                <a:cubicBezTo>
                  <a:pt x="6604" y="14351"/>
                  <a:pt x="7493" y="15875"/>
                  <a:pt x="8128" y="16510"/>
                </a:cubicBezTo>
                <a:cubicBezTo>
                  <a:pt x="8890" y="17018"/>
                  <a:pt x="10922" y="17780"/>
                  <a:pt x="14097" y="18669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8" name="object 38"/>
          <p:cNvSpPr/>
          <p:nvPr/>
        </p:nvSpPr>
        <p:spPr>
          <a:xfrm>
            <a:off x="5453507" y="2805161"/>
            <a:ext cx="15367" cy="29463"/>
          </a:xfrm>
          <a:custGeom>
            <a:avLst/>
            <a:gdLst/>
            <a:ahLst/>
            <a:cxnLst/>
            <a:rect l="l" t="t" r="r" b="b"/>
            <a:pathLst>
              <a:path w="15367" h="29463">
                <a:moveTo>
                  <a:pt x="10795" y="4572"/>
                </a:moveTo>
                <a:lnTo>
                  <a:pt x="10795" y="24891"/>
                </a:lnTo>
                <a:lnTo>
                  <a:pt x="4572" y="24765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9" name="object 39"/>
          <p:cNvSpPr/>
          <p:nvPr/>
        </p:nvSpPr>
        <p:spPr>
          <a:xfrm>
            <a:off x="5071116" y="2615311"/>
            <a:ext cx="397764" cy="219074"/>
          </a:xfrm>
          <a:custGeom>
            <a:avLst/>
            <a:gdLst/>
            <a:ahLst/>
            <a:cxnLst/>
            <a:rect l="l" t="t" r="r" b="b"/>
            <a:pathLst>
              <a:path w="397764" h="219074">
                <a:moveTo>
                  <a:pt x="386969" y="214503"/>
                </a:moveTo>
                <a:cubicBezTo>
                  <a:pt x="378206" y="214503"/>
                  <a:pt x="369316" y="213487"/>
                  <a:pt x="360172" y="211454"/>
                </a:cubicBezTo>
                <a:cubicBezTo>
                  <a:pt x="354457" y="210058"/>
                  <a:pt x="349885" y="208660"/>
                  <a:pt x="346075" y="206883"/>
                </a:cubicBezTo>
                <a:cubicBezTo>
                  <a:pt x="342392" y="205232"/>
                  <a:pt x="338836" y="203073"/>
                  <a:pt x="335661" y="200406"/>
                </a:cubicBezTo>
                <a:cubicBezTo>
                  <a:pt x="323596" y="190373"/>
                  <a:pt x="317627" y="177038"/>
                  <a:pt x="317627" y="160528"/>
                </a:cubicBezTo>
                <a:cubicBezTo>
                  <a:pt x="317627" y="151384"/>
                  <a:pt x="319405" y="143002"/>
                  <a:pt x="323088" y="135382"/>
                </a:cubicBezTo>
                <a:cubicBezTo>
                  <a:pt x="326771" y="127762"/>
                  <a:pt x="331978" y="121412"/>
                  <a:pt x="338709" y="116459"/>
                </a:cubicBezTo>
                <a:cubicBezTo>
                  <a:pt x="342519" y="113538"/>
                  <a:pt x="346456" y="111252"/>
                  <a:pt x="350647" y="109347"/>
                </a:cubicBezTo>
                <a:cubicBezTo>
                  <a:pt x="354838" y="107569"/>
                  <a:pt x="359537" y="106553"/>
                  <a:pt x="364998" y="106426"/>
                </a:cubicBezTo>
                <a:cubicBezTo>
                  <a:pt x="359791" y="106298"/>
                  <a:pt x="355092" y="105410"/>
                  <a:pt x="351028" y="103504"/>
                </a:cubicBezTo>
                <a:cubicBezTo>
                  <a:pt x="346964" y="101600"/>
                  <a:pt x="342773" y="98425"/>
                  <a:pt x="338582" y="94107"/>
                </a:cubicBezTo>
                <a:cubicBezTo>
                  <a:pt x="328422" y="86487"/>
                  <a:pt x="323215" y="74929"/>
                  <a:pt x="323215" y="59563"/>
                </a:cubicBezTo>
                <a:cubicBezTo>
                  <a:pt x="323215" y="49529"/>
                  <a:pt x="325755" y="40513"/>
                  <a:pt x="330708" y="32258"/>
                </a:cubicBezTo>
                <a:cubicBezTo>
                  <a:pt x="335661" y="24130"/>
                  <a:pt x="342519" y="17653"/>
                  <a:pt x="351282" y="13208"/>
                </a:cubicBezTo>
                <a:cubicBezTo>
                  <a:pt x="360807" y="8255"/>
                  <a:pt x="374904" y="5334"/>
                  <a:pt x="393192" y="4572"/>
                </a:cubicBezTo>
                <a:moveTo>
                  <a:pt x="4572" y="137033"/>
                </a:moveTo>
                <a:moveTo>
                  <a:pt x="221996" y="4572"/>
                </a:moveTo>
                <a:cubicBezTo>
                  <a:pt x="240411" y="5334"/>
                  <a:pt x="254381" y="8255"/>
                  <a:pt x="264033" y="13208"/>
                </a:cubicBezTo>
                <a:cubicBezTo>
                  <a:pt x="272796" y="17780"/>
                  <a:pt x="279654" y="24130"/>
                  <a:pt x="284607" y="32385"/>
                </a:cubicBezTo>
                <a:cubicBezTo>
                  <a:pt x="289560" y="40513"/>
                  <a:pt x="292100" y="49657"/>
                  <a:pt x="292100" y="59563"/>
                </a:cubicBezTo>
                <a:cubicBezTo>
                  <a:pt x="292100" y="74803"/>
                  <a:pt x="287020" y="86360"/>
                  <a:pt x="276733" y="93853"/>
                </a:cubicBezTo>
                <a:cubicBezTo>
                  <a:pt x="272542" y="98298"/>
                  <a:pt x="268478" y="101473"/>
                  <a:pt x="264287" y="103378"/>
                </a:cubicBezTo>
                <a:cubicBezTo>
                  <a:pt x="260223" y="105410"/>
                  <a:pt x="255651" y="106298"/>
                  <a:pt x="250444" y="106426"/>
                </a:cubicBezTo>
                <a:cubicBezTo>
                  <a:pt x="255778" y="106553"/>
                  <a:pt x="260604" y="107569"/>
                  <a:pt x="264795" y="109473"/>
                </a:cubicBezTo>
                <a:cubicBezTo>
                  <a:pt x="268986" y="111252"/>
                  <a:pt x="272923" y="113665"/>
                  <a:pt x="276606" y="116459"/>
                </a:cubicBezTo>
                <a:cubicBezTo>
                  <a:pt x="283464" y="121412"/>
                  <a:pt x="288671" y="127889"/>
                  <a:pt x="292354" y="135509"/>
                </a:cubicBezTo>
                <a:cubicBezTo>
                  <a:pt x="296037" y="143129"/>
                  <a:pt x="297942" y="151510"/>
                  <a:pt x="297942" y="160528"/>
                </a:cubicBezTo>
                <a:cubicBezTo>
                  <a:pt x="297942" y="176910"/>
                  <a:pt x="291973" y="190119"/>
                  <a:pt x="280289" y="200025"/>
                </a:cubicBezTo>
                <a:cubicBezTo>
                  <a:pt x="276733" y="202946"/>
                  <a:pt x="273050" y="205359"/>
                  <a:pt x="269367" y="207010"/>
                </a:cubicBezTo>
                <a:cubicBezTo>
                  <a:pt x="265557" y="208788"/>
                  <a:pt x="260858" y="210185"/>
                  <a:pt x="255143" y="211454"/>
                </a:cubicBezTo>
                <a:cubicBezTo>
                  <a:pt x="247396" y="213106"/>
                  <a:pt x="238379" y="214122"/>
                  <a:pt x="228473" y="214503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5289550" y="2805161"/>
            <a:ext cx="14605" cy="29463"/>
          </a:xfrm>
          <a:custGeom>
            <a:avLst/>
            <a:gdLst/>
            <a:ahLst/>
            <a:cxnLst/>
            <a:rect l="l" t="t" r="r" b="b"/>
            <a:pathLst>
              <a:path w="14605" h="29463">
                <a:moveTo>
                  <a:pt x="10033" y="24765"/>
                </a:moveTo>
                <a:lnTo>
                  <a:pt x="4572" y="24891"/>
                </a:ln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5289550" y="2791064"/>
            <a:ext cx="18668" cy="23241"/>
          </a:xfrm>
          <a:custGeom>
            <a:avLst/>
            <a:gdLst/>
            <a:ahLst/>
            <a:cxnLst/>
            <a:rect l="l" t="t" r="r" b="b"/>
            <a:pathLst>
              <a:path w="18668" h="23241">
                <a:moveTo>
                  <a:pt x="4572" y="18669"/>
                </a:moveTo>
                <a:cubicBezTo>
                  <a:pt x="7747" y="17780"/>
                  <a:pt x="9779" y="17018"/>
                  <a:pt x="10414" y="16510"/>
                </a:cubicBezTo>
                <a:cubicBezTo>
                  <a:pt x="11176" y="15875"/>
                  <a:pt x="12065" y="14351"/>
                  <a:pt x="13081" y="11938"/>
                </a:cubicBezTo>
                <a:cubicBezTo>
                  <a:pt x="13716" y="10413"/>
                  <a:pt x="14097" y="8001"/>
                  <a:pt x="14097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2" name="object 42"/>
          <p:cNvSpPr/>
          <p:nvPr/>
        </p:nvSpPr>
        <p:spPr>
          <a:xfrm>
            <a:off x="5299131" y="2741041"/>
            <a:ext cx="9143" cy="59054"/>
          </a:xfrm>
          <a:custGeom>
            <a:avLst/>
            <a:gdLst/>
            <a:ahLst/>
            <a:cxnLst/>
            <a:rect l="l" t="t" r="r" b="b"/>
            <a:pathLst>
              <a:path w="9143" h="59054">
                <a:moveTo>
                  <a:pt x="4572" y="54483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3" name="object 43"/>
          <p:cNvSpPr/>
          <p:nvPr/>
        </p:nvSpPr>
        <p:spPr>
          <a:xfrm>
            <a:off x="5288534" y="2727183"/>
            <a:ext cx="19684" cy="23113"/>
          </a:xfrm>
          <a:custGeom>
            <a:avLst/>
            <a:gdLst/>
            <a:ahLst/>
            <a:cxnLst/>
            <a:rect l="l" t="t" r="r" b="b"/>
            <a:pathLst>
              <a:path w="19684" h="23113">
                <a:moveTo>
                  <a:pt x="15113" y="18542"/>
                </a:moveTo>
                <a:cubicBezTo>
                  <a:pt x="15113" y="18034"/>
                  <a:pt x="14859" y="16763"/>
                  <a:pt x="14224" y="14732"/>
                </a:cubicBezTo>
                <a:cubicBezTo>
                  <a:pt x="13589" y="12700"/>
                  <a:pt x="13081" y="11175"/>
                  <a:pt x="12700" y="10160"/>
                </a:cubicBezTo>
                <a:cubicBezTo>
                  <a:pt x="12065" y="9017"/>
                  <a:pt x="11303" y="8000"/>
                  <a:pt x="10541" y="7366"/>
                </a:cubicBezTo>
                <a:cubicBezTo>
                  <a:pt x="9779" y="6731"/>
                  <a:pt x="7747" y="5842"/>
                  <a:pt x="4572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4" name="object 44"/>
          <p:cNvSpPr/>
          <p:nvPr/>
        </p:nvSpPr>
        <p:spPr>
          <a:xfrm>
            <a:off x="5288534" y="2707640"/>
            <a:ext cx="9144" cy="28574"/>
          </a:xfrm>
          <a:custGeom>
            <a:avLst/>
            <a:gdLst/>
            <a:ahLst/>
            <a:cxnLst/>
            <a:rect l="l" t="t" r="r" b="b"/>
            <a:pathLst>
              <a:path w="9144" h="28574">
                <a:moveTo>
                  <a:pt x="4572" y="24003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5" name="object 45"/>
          <p:cNvSpPr/>
          <p:nvPr/>
        </p:nvSpPr>
        <p:spPr>
          <a:xfrm>
            <a:off x="5288534" y="2693035"/>
            <a:ext cx="19684" cy="23748"/>
          </a:xfrm>
          <a:custGeom>
            <a:avLst/>
            <a:gdLst/>
            <a:ahLst/>
            <a:cxnLst/>
            <a:rect l="l" t="t" r="r" b="b"/>
            <a:pathLst>
              <a:path w="19684" h="23748">
                <a:moveTo>
                  <a:pt x="4572" y="19177"/>
                </a:moveTo>
                <a:cubicBezTo>
                  <a:pt x="7747" y="17907"/>
                  <a:pt x="9779" y="16891"/>
                  <a:pt x="10668" y="16129"/>
                </a:cubicBezTo>
                <a:cubicBezTo>
                  <a:pt x="11430" y="15367"/>
                  <a:pt x="12065" y="14351"/>
                  <a:pt x="12573" y="12954"/>
                </a:cubicBezTo>
                <a:cubicBezTo>
                  <a:pt x="12954" y="11938"/>
                  <a:pt x="13462" y="10286"/>
                  <a:pt x="14224" y="8001"/>
                </a:cubicBezTo>
                <a:cubicBezTo>
                  <a:pt x="14859" y="5715"/>
                  <a:pt x="15113" y="4572"/>
                  <a:pt x="15113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6" name="object 46"/>
          <p:cNvSpPr/>
          <p:nvPr/>
        </p:nvSpPr>
        <p:spPr>
          <a:xfrm>
            <a:off x="5299131" y="2652776"/>
            <a:ext cx="9143" cy="49402"/>
          </a:xfrm>
          <a:custGeom>
            <a:avLst/>
            <a:gdLst/>
            <a:ahLst/>
            <a:cxnLst/>
            <a:rect l="l" t="t" r="r" b="b"/>
            <a:pathLst>
              <a:path w="9143" h="49402">
                <a:moveTo>
                  <a:pt x="4572" y="44831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7" name="object 47"/>
          <p:cNvSpPr/>
          <p:nvPr/>
        </p:nvSpPr>
        <p:spPr>
          <a:xfrm>
            <a:off x="5071116" y="2615311"/>
            <a:ext cx="237108" cy="141604"/>
          </a:xfrm>
          <a:custGeom>
            <a:avLst/>
            <a:gdLst/>
            <a:ahLst/>
            <a:cxnLst/>
            <a:rect l="l" t="t" r="r" b="b"/>
            <a:pathLst>
              <a:path w="237108" h="141604">
                <a:moveTo>
                  <a:pt x="232537" y="42037"/>
                </a:moveTo>
                <a:cubicBezTo>
                  <a:pt x="232537" y="41402"/>
                  <a:pt x="232283" y="40005"/>
                  <a:pt x="231902" y="38227"/>
                </a:cubicBezTo>
                <a:lnTo>
                  <a:pt x="230124" y="29718"/>
                </a:lnTo>
                <a:cubicBezTo>
                  <a:pt x="229489" y="28067"/>
                  <a:pt x="226822" y="26035"/>
                  <a:pt x="221996" y="23622"/>
                </a:cubicBezTo>
                <a:moveTo>
                  <a:pt x="4572" y="137033"/>
                </a:moveTo>
                <a:moveTo>
                  <a:pt x="21793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8" name="object 48"/>
          <p:cNvSpPr/>
          <p:nvPr/>
        </p:nvSpPr>
        <p:spPr>
          <a:xfrm>
            <a:off x="5284526" y="2615311"/>
            <a:ext cx="9143" cy="28066"/>
          </a:xfrm>
          <a:custGeom>
            <a:avLst/>
            <a:gdLst/>
            <a:ahLst/>
            <a:cxnLst/>
            <a:rect l="l" t="t" r="r" b="b"/>
            <a:pathLst>
              <a:path w="9143" h="28066">
                <a:moveTo>
                  <a:pt x="4572" y="4572"/>
                </a:moveTo>
                <a:lnTo>
                  <a:pt x="4572" y="23495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9" name="object 49"/>
          <p:cNvSpPr/>
          <p:nvPr/>
        </p:nvSpPr>
        <p:spPr>
          <a:xfrm>
            <a:off x="5274945" y="2634346"/>
            <a:ext cx="18668" cy="27685"/>
          </a:xfrm>
          <a:custGeom>
            <a:avLst/>
            <a:gdLst/>
            <a:ahLst/>
            <a:cxnLst/>
            <a:rect l="l" t="t" r="r" b="b"/>
            <a:pathLst>
              <a:path w="18668" h="27685">
                <a:moveTo>
                  <a:pt x="14097" y="4572"/>
                </a:moveTo>
                <a:cubicBezTo>
                  <a:pt x="9652" y="6985"/>
                  <a:pt x="6858" y="9144"/>
                  <a:pt x="5969" y="11049"/>
                </a:cubicBezTo>
                <a:cubicBezTo>
                  <a:pt x="5080" y="12954"/>
                  <a:pt x="4572" y="17018"/>
                  <a:pt x="4572" y="23114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0" name="object 50"/>
          <p:cNvSpPr/>
          <p:nvPr/>
        </p:nvSpPr>
        <p:spPr>
          <a:xfrm>
            <a:off x="5275001" y="2652776"/>
            <a:ext cx="9143" cy="49402"/>
          </a:xfrm>
          <a:custGeom>
            <a:avLst/>
            <a:gdLst/>
            <a:ahLst/>
            <a:cxnLst/>
            <a:rect l="l" t="t" r="r" b="b"/>
            <a:pathLst>
              <a:path w="9143" h="49402">
                <a:moveTo>
                  <a:pt x="4572" y="4572"/>
                </a:moveTo>
                <a:lnTo>
                  <a:pt x="4572" y="4483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1" name="object 51"/>
          <p:cNvSpPr/>
          <p:nvPr/>
        </p:nvSpPr>
        <p:spPr>
          <a:xfrm>
            <a:off x="5274945" y="2693147"/>
            <a:ext cx="18668" cy="23875"/>
          </a:xfrm>
          <a:custGeom>
            <a:avLst/>
            <a:gdLst/>
            <a:ahLst/>
            <a:cxnLst/>
            <a:rect l="l" t="t" r="r" b="b"/>
            <a:pathLst>
              <a:path w="18668" h="23875">
                <a:moveTo>
                  <a:pt x="4572" y="4572"/>
                </a:moveTo>
                <a:cubicBezTo>
                  <a:pt x="4572" y="7493"/>
                  <a:pt x="5080" y="10160"/>
                  <a:pt x="5969" y="12446"/>
                </a:cubicBezTo>
                <a:cubicBezTo>
                  <a:pt x="6731" y="14097"/>
                  <a:pt x="7493" y="15367"/>
                  <a:pt x="8382" y="16255"/>
                </a:cubicBezTo>
                <a:cubicBezTo>
                  <a:pt x="9144" y="17018"/>
                  <a:pt x="11176" y="18034"/>
                  <a:pt x="14097" y="19304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2" name="object 52"/>
          <p:cNvSpPr/>
          <p:nvPr/>
        </p:nvSpPr>
        <p:spPr>
          <a:xfrm>
            <a:off x="5284526" y="2707767"/>
            <a:ext cx="9143" cy="28320"/>
          </a:xfrm>
          <a:custGeom>
            <a:avLst/>
            <a:gdLst/>
            <a:ahLst/>
            <a:cxnLst/>
            <a:rect l="l" t="t" r="r" b="b"/>
            <a:pathLst>
              <a:path w="9143" h="28320">
                <a:moveTo>
                  <a:pt x="4572" y="4572"/>
                </a:moveTo>
                <a:lnTo>
                  <a:pt x="4572" y="23748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3" name="object 53"/>
          <p:cNvSpPr/>
          <p:nvPr/>
        </p:nvSpPr>
        <p:spPr>
          <a:xfrm>
            <a:off x="5274945" y="2726944"/>
            <a:ext cx="18668" cy="23240"/>
          </a:xfrm>
          <a:custGeom>
            <a:avLst/>
            <a:gdLst/>
            <a:ahLst/>
            <a:cxnLst/>
            <a:rect l="l" t="t" r="r" b="b"/>
            <a:pathLst>
              <a:path w="18668" h="23240">
                <a:moveTo>
                  <a:pt x="14097" y="4571"/>
                </a:moveTo>
                <a:cubicBezTo>
                  <a:pt x="10033" y="6223"/>
                  <a:pt x="7366" y="8001"/>
                  <a:pt x="6350" y="9906"/>
                </a:cubicBezTo>
                <a:cubicBezTo>
                  <a:pt x="5207" y="11811"/>
                  <a:pt x="4572" y="14732"/>
                  <a:pt x="4572" y="18669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4" name="object 54"/>
          <p:cNvSpPr/>
          <p:nvPr/>
        </p:nvSpPr>
        <p:spPr>
          <a:xfrm>
            <a:off x="5275001" y="2741041"/>
            <a:ext cx="9143" cy="59054"/>
          </a:xfrm>
          <a:custGeom>
            <a:avLst/>
            <a:gdLst/>
            <a:ahLst/>
            <a:cxnLst/>
            <a:rect l="l" t="t" r="r" b="b"/>
            <a:pathLst>
              <a:path w="9143" h="59054">
                <a:moveTo>
                  <a:pt x="4572" y="4572"/>
                </a:moveTo>
                <a:lnTo>
                  <a:pt x="4572" y="5448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5" name="object 55"/>
          <p:cNvSpPr/>
          <p:nvPr/>
        </p:nvSpPr>
        <p:spPr>
          <a:xfrm>
            <a:off x="5274945" y="2791064"/>
            <a:ext cx="18668" cy="23241"/>
          </a:xfrm>
          <a:custGeom>
            <a:avLst/>
            <a:gdLst/>
            <a:ahLst/>
            <a:cxnLst/>
            <a:rect l="l" t="t" r="r" b="b"/>
            <a:pathLst>
              <a:path w="18668" h="23241">
                <a:moveTo>
                  <a:pt x="4572" y="4572"/>
                </a:moveTo>
                <a:cubicBezTo>
                  <a:pt x="4572" y="8128"/>
                  <a:pt x="4953" y="10541"/>
                  <a:pt x="5588" y="11938"/>
                </a:cubicBezTo>
                <a:cubicBezTo>
                  <a:pt x="6604" y="14351"/>
                  <a:pt x="7493" y="15875"/>
                  <a:pt x="8128" y="16510"/>
                </a:cubicBezTo>
                <a:cubicBezTo>
                  <a:pt x="8890" y="17018"/>
                  <a:pt x="10922" y="17780"/>
                  <a:pt x="14097" y="18669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6" name="object 56"/>
          <p:cNvSpPr/>
          <p:nvPr/>
        </p:nvSpPr>
        <p:spPr>
          <a:xfrm>
            <a:off x="5278251" y="2805161"/>
            <a:ext cx="15366" cy="29463"/>
          </a:xfrm>
          <a:custGeom>
            <a:avLst/>
            <a:gdLst/>
            <a:ahLst/>
            <a:cxnLst/>
            <a:rect l="l" t="t" r="r" b="b"/>
            <a:pathLst>
              <a:path w="15366" h="29463">
                <a:moveTo>
                  <a:pt x="10795" y="4572"/>
                </a:moveTo>
                <a:lnTo>
                  <a:pt x="10795" y="24891"/>
                </a:lnTo>
                <a:lnTo>
                  <a:pt x="4572" y="24765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7" name="object 57"/>
          <p:cNvSpPr/>
          <p:nvPr/>
        </p:nvSpPr>
        <p:spPr>
          <a:xfrm>
            <a:off x="5071166" y="2615423"/>
            <a:ext cx="222503" cy="219201"/>
          </a:xfrm>
          <a:custGeom>
            <a:avLst/>
            <a:gdLst/>
            <a:ahLst/>
            <a:cxnLst/>
            <a:rect l="l" t="t" r="r" b="b"/>
            <a:pathLst>
              <a:path w="222503" h="219201">
                <a:moveTo>
                  <a:pt x="211709" y="214503"/>
                </a:moveTo>
                <a:cubicBezTo>
                  <a:pt x="202946" y="214503"/>
                  <a:pt x="194056" y="213487"/>
                  <a:pt x="184912" y="211454"/>
                </a:cubicBezTo>
                <a:cubicBezTo>
                  <a:pt x="179197" y="210058"/>
                  <a:pt x="174625" y="208660"/>
                  <a:pt x="170815" y="206883"/>
                </a:cubicBezTo>
                <a:cubicBezTo>
                  <a:pt x="167132" y="205232"/>
                  <a:pt x="163576" y="203073"/>
                  <a:pt x="160401" y="200406"/>
                </a:cubicBezTo>
                <a:cubicBezTo>
                  <a:pt x="148336" y="190373"/>
                  <a:pt x="142367" y="177038"/>
                  <a:pt x="142367" y="160528"/>
                </a:cubicBezTo>
                <a:cubicBezTo>
                  <a:pt x="142367" y="151384"/>
                  <a:pt x="144145" y="143002"/>
                  <a:pt x="147828" y="135382"/>
                </a:cubicBezTo>
                <a:cubicBezTo>
                  <a:pt x="151511" y="127762"/>
                  <a:pt x="156718" y="121412"/>
                  <a:pt x="163449" y="116459"/>
                </a:cubicBezTo>
                <a:cubicBezTo>
                  <a:pt x="167259" y="113538"/>
                  <a:pt x="171196" y="111252"/>
                  <a:pt x="175387" y="109347"/>
                </a:cubicBezTo>
                <a:cubicBezTo>
                  <a:pt x="179578" y="107569"/>
                  <a:pt x="184277" y="106553"/>
                  <a:pt x="189738" y="106426"/>
                </a:cubicBezTo>
                <a:cubicBezTo>
                  <a:pt x="184531" y="106298"/>
                  <a:pt x="179832" y="105410"/>
                  <a:pt x="175768" y="103504"/>
                </a:cubicBezTo>
                <a:cubicBezTo>
                  <a:pt x="171704" y="101600"/>
                  <a:pt x="167513" y="98425"/>
                  <a:pt x="163322" y="94107"/>
                </a:cubicBezTo>
                <a:cubicBezTo>
                  <a:pt x="153162" y="86487"/>
                  <a:pt x="147955" y="74929"/>
                  <a:pt x="147955" y="59563"/>
                </a:cubicBezTo>
                <a:cubicBezTo>
                  <a:pt x="147955" y="49529"/>
                  <a:pt x="150495" y="40513"/>
                  <a:pt x="155448" y="32258"/>
                </a:cubicBezTo>
                <a:cubicBezTo>
                  <a:pt x="160401" y="24130"/>
                  <a:pt x="167259" y="17653"/>
                  <a:pt x="176022" y="13208"/>
                </a:cubicBezTo>
                <a:cubicBezTo>
                  <a:pt x="185547" y="8255"/>
                  <a:pt x="199644" y="5334"/>
                  <a:pt x="217932" y="4572"/>
                </a:cubicBezTo>
                <a:moveTo>
                  <a:pt x="4572" y="137033"/>
                </a:moveTo>
                <a:moveTo>
                  <a:pt x="43434" y="4572"/>
                </a:moveTo>
                <a:cubicBezTo>
                  <a:pt x="55372" y="5715"/>
                  <a:pt x="65659" y="8509"/>
                  <a:pt x="74168" y="13335"/>
                </a:cubicBezTo>
                <a:cubicBezTo>
                  <a:pt x="82677" y="18034"/>
                  <a:pt x="90424" y="24511"/>
                  <a:pt x="97409" y="33020"/>
                </a:cubicBezTo>
                <a:cubicBezTo>
                  <a:pt x="104648" y="41529"/>
                  <a:pt x="110236" y="52704"/>
                  <a:pt x="114300" y="66421"/>
                </a:cubicBezTo>
                <a:cubicBezTo>
                  <a:pt x="118364" y="80137"/>
                  <a:pt x="120396" y="94996"/>
                  <a:pt x="120396" y="110871"/>
                </a:cubicBezTo>
                <a:cubicBezTo>
                  <a:pt x="120396" y="145160"/>
                  <a:pt x="110490" y="172212"/>
                  <a:pt x="90678" y="192404"/>
                </a:cubicBezTo>
                <a:cubicBezTo>
                  <a:pt x="83693" y="199390"/>
                  <a:pt x="76073" y="204851"/>
                  <a:pt x="67818" y="208788"/>
                </a:cubicBezTo>
                <a:cubicBezTo>
                  <a:pt x="59563" y="212725"/>
                  <a:pt x="50292" y="214629"/>
                  <a:pt x="40132" y="214629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8" name="object 58"/>
          <p:cNvSpPr/>
          <p:nvPr/>
        </p:nvSpPr>
        <p:spPr>
          <a:xfrm>
            <a:off x="5106726" y="2805669"/>
            <a:ext cx="9143" cy="28955"/>
          </a:xfrm>
          <a:custGeom>
            <a:avLst/>
            <a:gdLst/>
            <a:ahLst/>
            <a:cxnLst/>
            <a:rect l="l" t="t" r="r" b="b"/>
            <a:pathLst>
              <a:path w="9143" h="28955">
                <a:moveTo>
                  <a:pt x="4572" y="24383"/>
                </a:moveTo>
                <a:lnTo>
                  <a:pt x="4572" y="457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9" name="object 59"/>
          <p:cNvSpPr/>
          <p:nvPr/>
        </p:nvSpPr>
        <p:spPr>
          <a:xfrm>
            <a:off x="5106726" y="2786619"/>
            <a:ext cx="24003" cy="28193"/>
          </a:xfrm>
          <a:custGeom>
            <a:avLst/>
            <a:gdLst/>
            <a:ahLst/>
            <a:cxnLst/>
            <a:rect l="l" t="t" r="r" b="b"/>
            <a:pathLst>
              <a:path w="24003" h="28193">
                <a:moveTo>
                  <a:pt x="4572" y="23621"/>
                </a:moveTo>
                <a:cubicBezTo>
                  <a:pt x="8763" y="22225"/>
                  <a:pt x="11557" y="21208"/>
                  <a:pt x="12827" y="20320"/>
                </a:cubicBezTo>
                <a:cubicBezTo>
                  <a:pt x="14097" y="19431"/>
                  <a:pt x="15113" y="18542"/>
                  <a:pt x="15748" y="17399"/>
                </a:cubicBezTo>
                <a:cubicBezTo>
                  <a:pt x="18288" y="13208"/>
                  <a:pt x="19431" y="9017"/>
                  <a:pt x="19431" y="4571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0" name="object 60"/>
          <p:cNvSpPr/>
          <p:nvPr/>
        </p:nvSpPr>
        <p:spPr>
          <a:xfrm>
            <a:off x="5121529" y="2651999"/>
            <a:ext cx="9144" cy="143763"/>
          </a:xfrm>
          <a:custGeom>
            <a:avLst/>
            <a:gdLst/>
            <a:ahLst/>
            <a:cxnLst/>
            <a:rect l="l" t="t" r="r" b="b"/>
            <a:pathLst>
              <a:path w="9144" h="143763">
                <a:moveTo>
                  <a:pt x="4572" y="139191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1" name="object 61"/>
          <p:cNvSpPr/>
          <p:nvPr/>
        </p:nvSpPr>
        <p:spPr>
          <a:xfrm>
            <a:off x="5071166" y="2615311"/>
            <a:ext cx="59563" cy="141604"/>
          </a:xfrm>
          <a:custGeom>
            <a:avLst/>
            <a:gdLst/>
            <a:ahLst/>
            <a:cxnLst/>
            <a:rect l="l" t="t" r="r" b="b"/>
            <a:pathLst>
              <a:path w="59563" h="141604">
                <a:moveTo>
                  <a:pt x="54991" y="41148"/>
                </a:moveTo>
                <a:cubicBezTo>
                  <a:pt x="54991" y="36957"/>
                  <a:pt x="54864" y="34163"/>
                  <a:pt x="54610" y="32512"/>
                </a:cubicBezTo>
                <a:cubicBezTo>
                  <a:pt x="54356" y="30861"/>
                  <a:pt x="54356" y="29972"/>
                  <a:pt x="54356" y="29718"/>
                </a:cubicBezTo>
                <a:cubicBezTo>
                  <a:pt x="52451" y="27432"/>
                  <a:pt x="48768" y="25654"/>
                  <a:pt x="43434" y="24257"/>
                </a:cubicBezTo>
                <a:moveTo>
                  <a:pt x="4572" y="137033"/>
                </a:moveTo>
                <a:moveTo>
                  <a:pt x="38608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2" name="object 62"/>
          <p:cNvSpPr/>
          <p:nvPr/>
        </p:nvSpPr>
        <p:spPr>
          <a:xfrm>
            <a:off x="5105146" y="2615311"/>
            <a:ext cx="9144" cy="28828"/>
          </a:xfrm>
          <a:custGeom>
            <a:avLst/>
            <a:gdLst/>
            <a:ahLst/>
            <a:cxnLst/>
            <a:rect l="l" t="t" r="r" b="b"/>
            <a:pathLst>
              <a:path w="9144" h="28828">
                <a:moveTo>
                  <a:pt x="4572" y="4572"/>
                </a:moveTo>
                <a:lnTo>
                  <a:pt x="4572" y="24257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3" name="object 63"/>
          <p:cNvSpPr/>
          <p:nvPr/>
        </p:nvSpPr>
        <p:spPr>
          <a:xfrm>
            <a:off x="5094362" y="2634996"/>
            <a:ext cx="19939" cy="20828"/>
          </a:xfrm>
          <a:custGeom>
            <a:avLst/>
            <a:gdLst/>
            <a:ahLst/>
            <a:cxnLst/>
            <a:rect l="l" t="t" r="r" b="b"/>
            <a:pathLst>
              <a:path w="19939" h="20828">
                <a:moveTo>
                  <a:pt x="15367" y="4572"/>
                </a:moveTo>
                <a:cubicBezTo>
                  <a:pt x="10668" y="5715"/>
                  <a:pt x="7620" y="7112"/>
                  <a:pt x="6477" y="8763"/>
                </a:cubicBezTo>
                <a:cubicBezTo>
                  <a:pt x="5207" y="10287"/>
                  <a:pt x="4572" y="12827"/>
                  <a:pt x="4572" y="16256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4" name="object 64"/>
          <p:cNvSpPr/>
          <p:nvPr/>
        </p:nvSpPr>
        <p:spPr>
          <a:xfrm>
            <a:off x="5094407" y="2646680"/>
            <a:ext cx="9143" cy="64642"/>
          </a:xfrm>
          <a:custGeom>
            <a:avLst/>
            <a:gdLst/>
            <a:ahLst/>
            <a:cxnLst/>
            <a:rect l="l" t="t" r="r" b="b"/>
            <a:pathLst>
              <a:path w="9143" h="64642">
                <a:moveTo>
                  <a:pt x="4572" y="4572"/>
                </a:moveTo>
                <a:lnTo>
                  <a:pt x="4572" y="6007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5" name="object 65"/>
          <p:cNvSpPr/>
          <p:nvPr/>
        </p:nvSpPr>
        <p:spPr>
          <a:xfrm>
            <a:off x="5094385" y="2702179"/>
            <a:ext cx="30861" cy="20192"/>
          </a:xfrm>
          <a:custGeom>
            <a:avLst/>
            <a:gdLst/>
            <a:ahLst/>
            <a:cxnLst/>
            <a:rect l="l" t="t" r="r" b="b"/>
            <a:pathLst>
              <a:path w="30861" h="20192">
                <a:moveTo>
                  <a:pt x="4572" y="4572"/>
                </a:moveTo>
                <a:cubicBezTo>
                  <a:pt x="4572" y="8382"/>
                  <a:pt x="5207" y="11176"/>
                  <a:pt x="6477" y="12954"/>
                </a:cubicBezTo>
                <a:cubicBezTo>
                  <a:pt x="7874" y="14732"/>
                  <a:pt x="9525" y="15621"/>
                  <a:pt x="11430" y="15494"/>
                </a:cubicBezTo>
                <a:cubicBezTo>
                  <a:pt x="13843" y="15494"/>
                  <a:pt x="18796" y="14097"/>
                  <a:pt x="26289" y="11430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6" name="object 66"/>
          <p:cNvSpPr/>
          <p:nvPr/>
        </p:nvSpPr>
        <p:spPr>
          <a:xfrm>
            <a:off x="5116124" y="2709037"/>
            <a:ext cx="9143" cy="30606"/>
          </a:xfrm>
          <a:custGeom>
            <a:avLst/>
            <a:gdLst/>
            <a:ahLst/>
            <a:cxnLst/>
            <a:rect l="l" t="t" r="r" b="b"/>
            <a:pathLst>
              <a:path w="9143" h="30606">
                <a:moveTo>
                  <a:pt x="4572" y="4572"/>
                </a:moveTo>
                <a:lnTo>
                  <a:pt x="4572" y="26034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7" name="object 67"/>
          <p:cNvSpPr/>
          <p:nvPr/>
        </p:nvSpPr>
        <p:spPr>
          <a:xfrm>
            <a:off x="5028946" y="2615311"/>
            <a:ext cx="96266" cy="141604"/>
          </a:xfrm>
          <a:custGeom>
            <a:avLst/>
            <a:gdLst/>
            <a:ahLst/>
            <a:cxnLst/>
            <a:rect l="l" t="t" r="r" b="b"/>
            <a:pathLst>
              <a:path w="96266" h="141604">
                <a:moveTo>
                  <a:pt x="91694" y="119760"/>
                </a:moveTo>
                <a:cubicBezTo>
                  <a:pt x="79629" y="126492"/>
                  <a:pt x="68326" y="129794"/>
                  <a:pt x="57785" y="129794"/>
                </a:cubicBezTo>
                <a:cubicBezTo>
                  <a:pt x="51308" y="129794"/>
                  <a:pt x="44958" y="128523"/>
                  <a:pt x="38481" y="126110"/>
                </a:cubicBezTo>
                <a:cubicBezTo>
                  <a:pt x="32131" y="123571"/>
                  <a:pt x="26162" y="119760"/>
                  <a:pt x="20701" y="114554"/>
                </a:cubicBezTo>
                <a:cubicBezTo>
                  <a:pt x="16002" y="110490"/>
                  <a:pt x="12065" y="105029"/>
                  <a:pt x="9144" y="97917"/>
                </a:cubicBezTo>
                <a:cubicBezTo>
                  <a:pt x="6096" y="90804"/>
                  <a:pt x="4572" y="83312"/>
                  <a:pt x="4572" y="75310"/>
                </a:cubicBezTo>
                <a:cubicBezTo>
                  <a:pt x="4572" y="63881"/>
                  <a:pt x="7239" y="52959"/>
                  <a:pt x="12446" y="42418"/>
                </a:cubicBezTo>
                <a:cubicBezTo>
                  <a:pt x="17653" y="31877"/>
                  <a:pt x="24638" y="23622"/>
                  <a:pt x="33274" y="17526"/>
                </a:cubicBezTo>
                <a:cubicBezTo>
                  <a:pt x="45974" y="8890"/>
                  <a:pt x="61722" y="4572"/>
                  <a:pt x="80772" y="4572"/>
                </a:cubicBezTo>
                <a:moveTo>
                  <a:pt x="46736" y="137033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8" name="object 68"/>
          <p:cNvSpPr/>
          <p:nvPr/>
        </p:nvSpPr>
        <p:spPr>
          <a:xfrm>
            <a:off x="6354191" y="2523236"/>
            <a:ext cx="1324990" cy="157098"/>
          </a:xfrm>
          <a:custGeom>
            <a:avLst/>
            <a:gdLst/>
            <a:ahLst/>
            <a:cxnLst/>
            <a:rect l="l" t="t" r="r" b="b"/>
            <a:pathLst>
              <a:path w="1324990" h="157098">
                <a:moveTo>
                  <a:pt x="921512" y="101854"/>
                </a:moveTo>
                <a:cubicBezTo>
                  <a:pt x="916686" y="102235"/>
                  <a:pt x="911478" y="102870"/>
                  <a:pt x="905890" y="103505"/>
                </a:cubicBezTo>
                <a:cubicBezTo>
                  <a:pt x="900302" y="104140"/>
                  <a:pt x="895985" y="105029"/>
                  <a:pt x="893064" y="105918"/>
                </a:cubicBezTo>
                <a:cubicBezTo>
                  <a:pt x="889508" y="107061"/>
                  <a:pt x="886840" y="108712"/>
                  <a:pt x="884936" y="110744"/>
                </a:cubicBezTo>
                <a:cubicBezTo>
                  <a:pt x="883031" y="112903"/>
                  <a:pt x="882141" y="115697"/>
                  <a:pt x="882141" y="119253"/>
                </a:cubicBezTo>
                <a:cubicBezTo>
                  <a:pt x="882141" y="121539"/>
                  <a:pt x="882396" y="123444"/>
                  <a:pt x="882777" y="124841"/>
                </a:cubicBezTo>
                <a:cubicBezTo>
                  <a:pt x="883158" y="126365"/>
                  <a:pt x="884174" y="127635"/>
                  <a:pt x="885698" y="129032"/>
                </a:cubicBezTo>
                <a:cubicBezTo>
                  <a:pt x="887222" y="130302"/>
                  <a:pt x="889000" y="131318"/>
                  <a:pt x="891159" y="131953"/>
                </a:cubicBezTo>
                <a:cubicBezTo>
                  <a:pt x="893190" y="132588"/>
                  <a:pt x="896493" y="132842"/>
                  <a:pt x="901065" y="132842"/>
                </a:cubicBezTo>
                <a:cubicBezTo>
                  <a:pt x="904621" y="132842"/>
                  <a:pt x="908177" y="132080"/>
                  <a:pt x="911860" y="130683"/>
                </a:cubicBezTo>
                <a:cubicBezTo>
                  <a:pt x="915543" y="129286"/>
                  <a:pt x="918718" y="127381"/>
                  <a:pt x="921512" y="124968"/>
                </a:cubicBezTo>
                <a:close/>
                <a:moveTo>
                  <a:pt x="1273810" y="65786"/>
                </a:moveTo>
                <a:cubicBezTo>
                  <a:pt x="1264412" y="65786"/>
                  <a:pt x="1257427" y="68834"/>
                  <a:pt x="1252727" y="74676"/>
                </a:cubicBezTo>
                <a:cubicBezTo>
                  <a:pt x="1248028" y="80518"/>
                  <a:pt x="1245743" y="88519"/>
                  <a:pt x="1245743" y="98933"/>
                </a:cubicBezTo>
                <a:cubicBezTo>
                  <a:pt x="1245743" y="109855"/>
                  <a:pt x="1247648" y="117729"/>
                  <a:pt x="1251331" y="122682"/>
                </a:cubicBezTo>
                <a:cubicBezTo>
                  <a:pt x="1255140" y="127635"/>
                  <a:pt x="1261110" y="130048"/>
                  <a:pt x="1269491" y="130048"/>
                </a:cubicBezTo>
                <a:cubicBezTo>
                  <a:pt x="1272666" y="130048"/>
                  <a:pt x="1276096" y="129413"/>
                  <a:pt x="1279652" y="128270"/>
                </a:cubicBezTo>
                <a:cubicBezTo>
                  <a:pt x="1283335" y="127000"/>
                  <a:pt x="1286510" y="125476"/>
                  <a:pt x="1289303" y="123444"/>
                </a:cubicBezTo>
                <a:lnTo>
                  <a:pt x="1289303" y="68834"/>
                </a:lnTo>
                <a:cubicBezTo>
                  <a:pt x="1286764" y="67818"/>
                  <a:pt x="1284097" y="67056"/>
                  <a:pt x="1281430" y="66548"/>
                </a:cubicBezTo>
                <a:cubicBezTo>
                  <a:pt x="1278636" y="66040"/>
                  <a:pt x="1276096" y="65786"/>
                  <a:pt x="1273810" y="65786"/>
                </a:cubicBezTo>
                <a:close/>
                <a:moveTo>
                  <a:pt x="228346" y="65786"/>
                </a:moveTo>
                <a:cubicBezTo>
                  <a:pt x="218948" y="65786"/>
                  <a:pt x="211963" y="68834"/>
                  <a:pt x="207264" y="74676"/>
                </a:cubicBezTo>
                <a:cubicBezTo>
                  <a:pt x="202565" y="80518"/>
                  <a:pt x="200278" y="88519"/>
                  <a:pt x="200278" y="98933"/>
                </a:cubicBezTo>
                <a:cubicBezTo>
                  <a:pt x="200278" y="109855"/>
                  <a:pt x="202184" y="117729"/>
                  <a:pt x="205866" y="122682"/>
                </a:cubicBezTo>
                <a:cubicBezTo>
                  <a:pt x="209677" y="127635"/>
                  <a:pt x="215646" y="130048"/>
                  <a:pt x="224027" y="130048"/>
                </a:cubicBezTo>
                <a:cubicBezTo>
                  <a:pt x="227202" y="130048"/>
                  <a:pt x="230632" y="129413"/>
                  <a:pt x="234188" y="128270"/>
                </a:cubicBezTo>
                <a:cubicBezTo>
                  <a:pt x="237871" y="127000"/>
                  <a:pt x="241046" y="125476"/>
                  <a:pt x="243840" y="123444"/>
                </a:cubicBezTo>
                <a:lnTo>
                  <a:pt x="243840" y="68834"/>
                </a:lnTo>
                <a:cubicBezTo>
                  <a:pt x="241300" y="67818"/>
                  <a:pt x="238633" y="67056"/>
                  <a:pt x="235965" y="66548"/>
                </a:cubicBezTo>
                <a:cubicBezTo>
                  <a:pt x="233172" y="66040"/>
                  <a:pt x="230632" y="65786"/>
                  <a:pt x="228346" y="65786"/>
                </a:cubicBezTo>
                <a:close/>
                <a:moveTo>
                  <a:pt x="1134999" y="61722"/>
                </a:moveTo>
                <a:cubicBezTo>
                  <a:pt x="1128140" y="61722"/>
                  <a:pt x="1122426" y="63500"/>
                  <a:pt x="1118108" y="67056"/>
                </a:cubicBezTo>
                <a:cubicBezTo>
                  <a:pt x="1113663" y="70612"/>
                  <a:pt x="1111123" y="76327"/>
                  <a:pt x="1110615" y="84201"/>
                </a:cubicBezTo>
                <a:lnTo>
                  <a:pt x="1156843" y="84201"/>
                </a:lnTo>
                <a:cubicBezTo>
                  <a:pt x="1156715" y="76708"/>
                  <a:pt x="1154811" y="71120"/>
                  <a:pt x="1151255" y="67310"/>
                </a:cubicBezTo>
                <a:cubicBezTo>
                  <a:pt x="1147826" y="63627"/>
                  <a:pt x="1142365" y="61722"/>
                  <a:pt x="1134999" y="61722"/>
                </a:cubicBezTo>
                <a:close/>
                <a:moveTo>
                  <a:pt x="671702" y="61722"/>
                </a:moveTo>
                <a:cubicBezTo>
                  <a:pt x="664845" y="61722"/>
                  <a:pt x="659130" y="63500"/>
                  <a:pt x="654812" y="67056"/>
                </a:cubicBezTo>
                <a:cubicBezTo>
                  <a:pt x="650366" y="70612"/>
                  <a:pt x="647827" y="76327"/>
                  <a:pt x="647319" y="84201"/>
                </a:cubicBezTo>
                <a:lnTo>
                  <a:pt x="693547" y="84201"/>
                </a:lnTo>
                <a:cubicBezTo>
                  <a:pt x="693420" y="76708"/>
                  <a:pt x="691515" y="71120"/>
                  <a:pt x="687959" y="67310"/>
                </a:cubicBezTo>
                <a:cubicBezTo>
                  <a:pt x="684530" y="63627"/>
                  <a:pt x="679069" y="61722"/>
                  <a:pt x="671702" y="61722"/>
                </a:cubicBezTo>
                <a:close/>
                <a:moveTo>
                  <a:pt x="75946" y="44450"/>
                </a:moveTo>
                <a:lnTo>
                  <a:pt x="57785" y="97282"/>
                </a:lnTo>
                <a:lnTo>
                  <a:pt x="93980" y="97282"/>
                </a:lnTo>
                <a:close/>
                <a:moveTo>
                  <a:pt x="312293" y="42926"/>
                </a:moveTo>
                <a:lnTo>
                  <a:pt x="347980" y="42926"/>
                </a:lnTo>
                <a:lnTo>
                  <a:pt x="347980" y="98044"/>
                </a:lnTo>
                <a:cubicBezTo>
                  <a:pt x="347980" y="103632"/>
                  <a:pt x="348234" y="108331"/>
                  <a:pt x="348615" y="112014"/>
                </a:cubicBezTo>
                <a:cubicBezTo>
                  <a:pt x="348996" y="115697"/>
                  <a:pt x="349758" y="118872"/>
                  <a:pt x="351155" y="121285"/>
                </a:cubicBezTo>
                <a:cubicBezTo>
                  <a:pt x="352425" y="123698"/>
                  <a:pt x="354202" y="125476"/>
                  <a:pt x="356743" y="126619"/>
                </a:cubicBezTo>
                <a:cubicBezTo>
                  <a:pt x="359283" y="127762"/>
                  <a:pt x="362839" y="128270"/>
                  <a:pt x="367411" y="128270"/>
                </a:cubicBezTo>
                <a:cubicBezTo>
                  <a:pt x="370459" y="128270"/>
                  <a:pt x="373888" y="127762"/>
                  <a:pt x="377571" y="126619"/>
                </a:cubicBezTo>
                <a:cubicBezTo>
                  <a:pt x="381253" y="125476"/>
                  <a:pt x="384810" y="123825"/>
                  <a:pt x="388239" y="121666"/>
                </a:cubicBezTo>
                <a:lnTo>
                  <a:pt x="388239" y="42926"/>
                </a:lnTo>
                <a:lnTo>
                  <a:pt x="423926" y="42926"/>
                </a:lnTo>
                <a:lnTo>
                  <a:pt x="423926" y="154051"/>
                </a:lnTo>
                <a:lnTo>
                  <a:pt x="388239" y="154051"/>
                </a:lnTo>
                <a:lnTo>
                  <a:pt x="388239" y="141732"/>
                </a:lnTo>
                <a:cubicBezTo>
                  <a:pt x="381635" y="146812"/>
                  <a:pt x="375665" y="150622"/>
                  <a:pt x="370077" y="153162"/>
                </a:cubicBezTo>
                <a:cubicBezTo>
                  <a:pt x="364616" y="155829"/>
                  <a:pt x="358140" y="157098"/>
                  <a:pt x="350520" y="157098"/>
                </a:cubicBezTo>
                <a:cubicBezTo>
                  <a:pt x="338327" y="157098"/>
                  <a:pt x="328930" y="153542"/>
                  <a:pt x="322199" y="146558"/>
                </a:cubicBezTo>
                <a:cubicBezTo>
                  <a:pt x="315595" y="139446"/>
                  <a:pt x="312293" y="129032"/>
                  <a:pt x="312293" y="115189"/>
                </a:cubicBezTo>
                <a:close/>
                <a:moveTo>
                  <a:pt x="825753" y="42545"/>
                </a:moveTo>
                <a:cubicBezTo>
                  <a:pt x="827024" y="42545"/>
                  <a:pt x="828421" y="42545"/>
                  <a:pt x="830072" y="42545"/>
                </a:cubicBezTo>
                <a:cubicBezTo>
                  <a:pt x="831596" y="42672"/>
                  <a:pt x="832993" y="42799"/>
                  <a:pt x="834263" y="42926"/>
                </a:cubicBezTo>
                <a:lnTo>
                  <a:pt x="834263" y="76835"/>
                </a:lnTo>
                <a:lnTo>
                  <a:pt x="831088" y="76835"/>
                </a:lnTo>
                <a:cubicBezTo>
                  <a:pt x="829564" y="76327"/>
                  <a:pt x="827151" y="75946"/>
                  <a:pt x="823722" y="75692"/>
                </a:cubicBezTo>
                <a:cubicBezTo>
                  <a:pt x="820420" y="75438"/>
                  <a:pt x="817626" y="75311"/>
                  <a:pt x="815340" y="75311"/>
                </a:cubicBezTo>
                <a:cubicBezTo>
                  <a:pt x="810260" y="75311"/>
                  <a:pt x="805815" y="75565"/>
                  <a:pt x="801877" y="76200"/>
                </a:cubicBezTo>
                <a:cubicBezTo>
                  <a:pt x="798068" y="76962"/>
                  <a:pt x="793877" y="77978"/>
                  <a:pt x="789432" y="79629"/>
                </a:cubicBezTo>
                <a:lnTo>
                  <a:pt x="789432" y="154051"/>
                </a:lnTo>
                <a:lnTo>
                  <a:pt x="753618" y="154051"/>
                </a:lnTo>
                <a:lnTo>
                  <a:pt x="753618" y="42926"/>
                </a:lnTo>
                <a:lnTo>
                  <a:pt x="789432" y="42926"/>
                </a:lnTo>
                <a:lnTo>
                  <a:pt x="789432" y="59182"/>
                </a:lnTo>
                <a:cubicBezTo>
                  <a:pt x="797178" y="52451"/>
                  <a:pt x="804037" y="48006"/>
                  <a:pt x="809752" y="45847"/>
                </a:cubicBezTo>
                <a:cubicBezTo>
                  <a:pt x="815594" y="43561"/>
                  <a:pt x="820927" y="42545"/>
                  <a:pt x="825753" y="42545"/>
                </a:cubicBezTo>
                <a:close/>
                <a:moveTo>
                  <a:pt x="899414" y="39751"/>
                </a:moveTo>
                <a:cubicBezTo>
                  <a:pt x="919734" y="39751"/>
                  <a:pt x="934339" y="42799"/>
                  <a:pt x="943356" y="49022"/>
                </a:cubicBezTo>
                <a:cubicBezTo>
                  <a:pt x="952373" y="55245"/>
                  <a:pt x="956818" y="65151"/>
                  <a:pt x="956818" y="78359"/>
                </a:cubicBezTo>
                <a:lnTo>
                  <a:pt x="956818" y="154051"/>
                </a:lnTo>
                <a:lnTo>
                  <a:pt x="921512" y="154051"/>
                </a:lnTo>
                <a:lnTo>
                  <a:pt x="921512" y="142240"/>
                </a:lnTo>
                <a:cubicBezTo>
                  <a:pt x="919607" y="143764"/>
                  <a:pt x="917194" y="145415"/>
                  <a:pt x="914400" y="147447"/>
                </a:cubicBezTo>
                <a:cubicBezTo>
                  <a:pt x="911606" y="149606"/>
                  <a:pt x="908939" y="151129"/>
                  <a:pt x="906399" y="152400"/>
                </a:cubicBezTo>
                <a:cubicBezTo>
                  <a:pt x="902843" y="153923"/>
                  <a:pt x="899287" y="155067"/>
                  <a:pt x="895477" y="155829"/>
                </a:cubicBezTo>
                <a:cubicBezTo>
                  <a:pt x="891794" y="156591"/>
                  <a:pt x="887602" y="156972"/>
                  <a:pt x="883158" y="156972"/>
                </a:cubicBezTo>
                <a:cubicBezTo>
                  <a:pt x="872616" y="156972"/>
                  <a:pt x="863727" y="153797"/>
                  <a:pt x="856615" y="147192"/>
                </a:cubicBezTo>
                <a:cubicBezTo>
                  <a:pt x="849502" y="140716"/>
                  <a:pt x="845947" y="132334"/>
                  <a:pt x="845947" y="122174"/>
                </a:cubicBezTo>
                <a:cubicBezTo>
                  <a:pt x="845947" y="114046"/>
                  <a:pt x="847725" y="107442"/>
                  <a:pt x="851408" y="102235"/>
                </a:cubicBezTo>
                <a:cubicBezTo>
                  <a:pt x="854964" y="97155"/>
                  <a:pt x="860171" y="93091"/>
                  <a:pt x="866775" y="90043"/>
                </a:cubicBezTo>
                <a:cubicBezTo>
                  <a:pt x="873378" y="87122"/>
                  <a:pt x="881634" y="84963"/>
                  <a:pt x="891286" y="83820"/>
                </a:cubicBezTo>
                <a:cubicBezTo>
                  <a:pt x="901065" y="82550"/>
                  <a:pt x="911225" y="81534"/>
                  <a:pt x="921765" y="81026"/>
                </a:cubicBezTo>
                <a:lnTo>
                  <a:pt x="921765" y="80391"/>
                </a:lnTo>
                <a:cubicBezTo>
                  <a:pt x="921765" y="74295"/>
                  <a:pt x="919226" y="69977"/>
                  <a:pt x="914146" y="67691"/>
                </a:cubicBezTo>
                <a:cubicBezTo>
                  <a:pt x="909193" y="65278"/>
                  <a:pt x="901827" y="64135"/>
                  <a:pt x="892048" y="64135"/>
                </a:cubicBezTo>
                <a:cubicBezTo>
                  <a:pt x="886206" y="64135"/>
                  <a:pt x="879856" y="65151"/>
                  <a:pt x="873252" y="67310"/>
                </a:cubicBezTo>
                <a:cubicBezTo>
                  <a:pt x="866521" y="69342"/>
                  <a:pt x="861822" y="70993"/>
                  <a:pt x="858901" y="72136"/>
                </a:cubicBezTo>
                <a:lnTo>
                  <a:pt x="855599" y="72136"/>
                </a:lnTo>
                <a:lnTo>
                  <a:pt x="855599" y="45212"/>
                </a:lnTo>
                <a:cubicBezTo>
                  <a:pt x="859409" y="44323"/>
                  <a:pt x="865505" y="43053"/>
                  <a:pt x="874014" y="41783"/>
                </a:cubicBezTo>
                <a:cubicBezTo>
                  <a:pt x="882396" y="40386"/>
                  <a:pt x="890905" y="39751"/>
                  <a:pt x="899414" y="39751"/>
                </a:cubicBezTo>
                <a:close/>
                <a:moveTo>
                  <a:pt x="1137793" y="39370"/>
                </a:moveTo>
                <a:cubicBezTo>
                  <a:pt x="1155953" y="39370"/>
                  <a:pt x="1169543" y="43942"/>
                  <a:pt x="1178687" y="53086"/>
                </a:cubicBezTo>
                <a:cubicBezTo>
                  <a:pt x="1187703" y="62230"/>
                  <a:pt x="1192276" y="75438"/>
                  <a:pt x="1192276" y="92583"/>
                </a:cubicBezTo>
                <a:lnTo>
                  <a:pt x="1192276" y="105029"/>
                </a:lnTo>
                <a:lnTo>
                  <a:pt x="1110741" y="105029"/>
                </a:lnTo>
                <a:cubicBezTo>
                  <a:pt x="1111250" y="113792"/>
                  <a:pt x="1114552" y="120396"/>
                  <a:pt x="1120648" y="125095"/>
                </a:cubicBezTo>
                <a:cubicBezTo>
                  <a:pt x="1126744" y="129667"/>
                  <a:pt x="1135761" y="131953"/>
                  <a:pt x="1147699" y="131953"/>
                </a:cubicBezTo>
                <a:cubicBezTo>
                  <a:pt x="1155191" y="131953"/>
                  <a:pt x="1162431" y="130556"/>
                  <a:pt x="1169543" y="127889"/>
                </a:cubicBezTo>
                <a:cubicBezTo>
                  <a:pt x="1176527" y="125222"/>
                  <a:pt x="1182115" y="122301"/>
                  <a:pt x="1186307" y="119253"/>
                </a:cubicBezTo>
                <a:lnTo>
                  <a:pt x="1190244" y="119253"/>
                </a:lnTo>
                <a:lnTo>
                  <a:pt x="1190244" y="147828"/>
                </a:lnTo>
                <a:cubicBezTo>
                  <a:pt x="1182115" y="151003"/>
                  <a:pt x="1174623" y="153416"/>
                  <a:pt x="1167384" y="154813"/>
                </a:cubicBezTo>
                <a:cubicBezTo>
                  <a:pt x="1160272" y="156337"/>
                  <a:pt x="1152398" y="156972"/>
                  <a:pt x="1143762" y="156972"/>
                </a:cubicBezTo>
                <a:cubicBezTo>
                  <a:pt x="1121537" y="156972"/>
                  <a:pt x="1104391" y="152019"/>
                  <a:pt x="1092581" y="141985"/>
                </a:cubicBezTo>
                <a:cubicBezTo>
                  <a:pt x="1080643" y="131953"/>
                  <a:pt x="1074674" y="117602"/>
                  <a:pt x="1074674" y="99060"/>
                </a:cubicBezTo>
                <a:cubicBezTo>
                  <a:pt x="1074674" y="80772"/>
                  <a:pt x="1080389" y="66167"/>
                  <a:pt x="1091565" y="55499"/>
                </a:cubicBezTo>
                <a:cubicBezTo>
                  <a:pt x="1102868" y="44831"/>
                  <a:pt x="1118235" y="39370"/>
                  <a:pt x="1137793" y="39370"/>
                </a:cubicBezTo>
                <a:close/>
                <a:moveTo>
                  <a:pt x="674497" y="39370"/>
                </a:moveTo>
                <a:cubicBezTo>
                  <a:pt x="692658" y="39370"/>
                  <a:pt x="706247" y="43942"/>
                  <a:pt x="715390" y="53086"/>
                </a:cubicBezTo>
                <a:cubicBezTo>
                  <a:pt x="724408" y="62230"/>
                  <a:pt x="728980" y="75438"/>
                  <a:pt x="728980" y="92583"/>
                </a:cubicBezTo>
                <a:lnTo>
                  <a:pt x="728980" y="105029"/>
                </a:lnTo>
                <a:lnTo>
                  <a:pt x="647446" y="105029"/>
                </a:lnTo>
                <a:cubicBezTo>
                  <a:pt x="647953" y="113792"/>
                  <a:pt x="651256" y="120396"/>
                  <a:pt x="657352" y="125095"/>
                </a:cubicBezTo>
                <a:cubicBezTo>
                  <a:pt x="663448" y="129667"/>
                  <a:pt x="672465" y="131953"/>
                  <a:pt x="684402" y="131953"/>
                </a:cubicBezTo>
                <a:cubicBezTo>
                  <a:pt x="691896" y="131953"/>
                  <a:pt x="699135" y="130556"/>
                  <a:pt x="706247" y="127889"/>
                </a:cubicBezTo>
                <a:cubicBezTo>
                  <a:pt x="713232" y="125222"/>
                  <a:pt x="718820" y="122301"/>
                  <a:pt x="723011" y="119253"/>
                </a:cubicBezTo>
                <a:lnTo>
                  <a:pt x="726948" y="119253"/>
                </a:lnTo>
                <a:lnTo>
                  <a:pt x="726948" y="147828"/>
                </a:lnTo>
                <a:cubicBezTo>
                  <a:pt x="718820" y="151003"/>
                  <a:pt x="711327" y="153416"/>
                  <a:pt x="704088" y="154813"/>
                </a:cubicBezTo>
                <a:cubicBezTo>
                  <a:pt x="696976" y="156337"/>
                  <a:pt x="689102" y="156972"/>
                  <a:pt x="680465" y="156972"/>
                </a:cubicBezTo>
                <a:cubicBezTo>
                  <a:pt x="658240" y="156972"/>
                  <a:pt x="641096" y="152019"/>
                  <a:pt x="629285" y="141985"/>
                </a:cubicBezTo>
                <a:cubicBezTo>
                  <a:pt x="617347" y="131953"/>
                  <a:pt x="611377" y="117602"/>
                  <a:pt x="611377" y="99060"/>
                </a:cubicBezTo>
                <a:cubicBezTo>
                  <a:pt x="611377" y="80772"/>
                  <a:pt x="617093" y="66167"/>
                  <a:pt x="628269" y="55499"/>
                </a:cubicBezTo>
                <a:cubicBezTo>
                  <a:pt x="639572" y="44831"/>
                  <a:pt x="654939" y="39370"/>
                  <a:pt x="674497" y="39370"/>
                </a:cubicBezTo>
                <a:close/>
                <a:moveTo>
                  <a:pt x="991997" y="11176"/>
                </a:moveTo>
                <a:lnTo>
                  <a:pt x="1027684" y="11176"/>
                </a:lnTo>
                <a:lnTo>
                  <a:pt x="1027684" y="42926"/>
                </a:lnTo>
                <a:lnTo>
                  <a:pt x="1060958" y="42926"/>
                </a:lnTo>
                <a:lnTo>
                  <a:pt x="1060958" y="67056"/>
                </a:lnTo>
                <a:lnTo>
                  <a:pt x="1027684" y="67056"/>
                </a:lnTo>
                <a:lnTo>
                  <a:pt x="1027684" y="106426"/>
                </a:lnTo>
                <a:cubicBezTo>
                  <a:pt x="1027684" y="110363"/>
                  <a:pt x="1027684" y="113792"/>
                  <a:pt x="1027811" y="116713"/>
                </a:cubicBezTo>
                <a:cubicBezTo>
                  <a:pt x="1027811" y="119634"/>
                  <a:pt x="1028319" y="122174"/>
                  <a:pt x="1029335" y="124587"/>
                </a:cubicBezTo>
                <a:cubicBezTo>
                  <a:pt x="1030224" y="126873"/>
                  <a:pt x="1031875" y="128651"/>
                  <a:pt x="1034288" y="130048"/>
                </a:cubicBezTo>
                <a:cubicBezTo>
                  <a:pt x="1036574" y="131445"/>
                  <a:pt x="1040002" y="132080"/>
                  <a:pt x="1044448" y="132080"/>
                </a:cubicBezTo>
                <a:cubicBezTo>
                  <a:pt x="1046226" y="132080"/>
                  <a:pt x="1048765" y="131699"/>
                  <a:pt x="1051687" y="130810"/>
                </a:cubicBezTo>
                <a:cubicBezTo>
                  <a:pt x="1054735" y="130048"/>
                  <a:pt x="1056766" y="129413"/>
                  <a:pt x="1057910" y="128651"/>
                </a:cubicBezTo>
                <a:lnTo>
                  <a:pt x="1060958" y="128651"/>
                </a:lnTo>
                <a:lnTo>
                  <a:pt x="1060958" y="153035"/>
                </a:lnTo>
                <a:cubicBezTo>
                  <a:pt x="1057148" y="154051"/>
                  <a:pt x="1053084" y="154813"/>
                  <a:pt x="1048765" y="155321"/>
                </a:cubicBezTo>
                <a:cubicBezTo>
                  <a:pt x="1044448" y="155956"/>
                  <a:pt x="1039240" y="156210"/>
                  <a:pt x="1033018" y="156210"/>
                </a:cubicBezTo>
                <a:cubicBezTo>
                  <a:pt x="1019175" y="156210"/>
                  <a:pt x="1008888" y="153416"/>
                  <a:pt x="1002030" y="147828"/>
                </a:cubicBezTo>
                <a:cubicBezTo>
                  <a:pt x="995299" y="142240"/>
                  <a:pt x="991997" y="132588"/>
                  <a:pt x="991997" y="118999"/>
                </a:cubicBezTo>
                <a:lnTo>
                  <a:pt x="991997" y="67056"/>
                </a:lnTo>
                <a:lnTo>
                  <a:pt x="977265" y="67056"/>
                </a:lnTo>
                <a:lnTo>
                  <a:pt x="977265" y="42926"/>
                </a:lnTo>
                <a:lnTo>
                  <a:pt x="991997" y="42926"/>
                </a:lnTo>
                <a:close/>
                <a:moveTo>
                  <a:pt x="528701" y="11176"/>
                </a:moveTo>
                <a:lnTo>
                  <a:pt x="564388" y="11176"/>
                </a:lnTo>
                <a:lnTo>
                  <a:pt x="564388" y="42926"/>
                </a:lnTo>
                <a:lnTo>
                  <a:pt x="597662" y="42926"/>
                </a:lnTo>
                <a:lnTo>
                  <a:pt x="597662" y="67056"/>
                </a:lnTo>
                <a:lnTo>
                  <a:pt x="564388" y="67056"/>
                </a:lnTo>
                <a:lnTo>
                  <a:pt x="564388" y="106426"/>
                </a:lnTo>
                <a:cubicBezTo>
                  <a:pt x="564388" y="110363"/>
                  <a:pt x="564388" y="113792"/>
                  <a:pt x="564515" y="116713"/>
                </a:cubicBezTo>
                <a:cubicBezTo>
                  <a:pt x="564515" y="119634"/>
                  <a:pt x="565023" y="122174"/>
                  <a:pt x="566039" y="124587"/>
                </a:cubicBezTo>
                <a:cubicBezTo>
                  <a:pt x="566927" y="126873"/>
                  <a:pt x="568578" y="128651"/>
                  <a:pt x="570991" y="130048"/>
                </a:cubicBezTo>
                <a:cubicBezTo>
                  <a:pt x="573277" y="131445"/>
                  <a:pt x="576707" y="132080"/>
                  <a:pt x="581152" y="132080"/>
                </a:cubicBezTo>
                <a:cubicBezTo>
                  <a:pt x="582930" y="132080"/>
                  <a:pt x="585470" y="131699"/>
                  <a:pt x="588390" y="130810"/>
                </a:cubicBezTo>
                <a:cubicBezTo>
                  <a:pt x="591439" y="130048"/>
                  <a:pt x="593471" y="129413"/>
                  <a:pt x="594614" y="128651"/>
                </a:cubicBezTo>
                <a:lnTo>
                  <a:pt x="597662" y="128651"/>
                </a:lnTo>
                <a:lnTo>
                  <a:pt x="597662" y="153035"/>
                </a:lnTo>
                <a:cubicBezTo>
                  <a:pt x="593852" y="154051"/>
                  <a:pt x="589788" y="154813"/>
                  <a:pt x="585470" y="155321"/>
                </a:cubicBezTo>
                <a:cubicBezTo>
                  <a:pt x="581152" y="155956"/>
                  <a:pt x="575945" y="156210"/>
                  <a:pt x="569722" y="156210"/>
                </a:cubicBezTo>
                <a:cubicBezTo>
                  <a:pt x="555878" y="156210"/>
                  <a:pt x="545591" y="153416"/>
                  <a:pt x="538734" y="147828"/>
                </a:cubicBezTo>
                <a:cubicBezTo>
                  <a:pt x="532002" y="142240"/>
                  <a:pt x="528701" y="132588"/>
                  <a:pt x="528701" y="118999"/>
                </a:cubicBezTo>
                <a:lnTo>
                  <a:pt x="528701" y="67056"/>
                </a:lnTo>
                <a:lnTo>
                  <a:pt x="513969" y="67056"/>
                </a:lnTo>
                <a:lnTo>
                  <a:pt x="513969" y="42926"/>
                </a:lnTo>
                <a:lnTo>
                  <a:pt x="528701" y="42926"/>
                </a:lnTo>
                <a:close/>
                <a:moveTo>
                  <a:pt x="54483" y="6604"/>
                </a:moveTo>
                <a:lnTo>
                  <a:pt x="98171" y="6604"/>
                </a:lnTo>
                <a:lnTo>
                  <a:pt x="152653" y="154051"/>
                </a:lnTo>
                <a:lnTo>
                  <a:pt x="113411" y="154051"/>
                </a:lnTo>
                <a:lnTo>
                  <a:pt x="103124" y="124206"/>
                </a:lnTo>
                <a:lnTo>
                  <a:pt x="48641" y="124206"/>
                </a:lnTo>
                <a:lnTo>
                  <a:pt x="38354" y="154051"/>
                </a:lnTo>
                <a:lnTo>
                  <a:pt x="0" y="154051"/>
                </a:lnTo>
                <a:close/>
                <a:moveTo>
                  <a:pt x="1289303" y="0"/>
                </a:moveTo>
                <a:lnTo>
                  <a:pt x="1324990" y="0"/>
                </a:lnTo>
                <a:lnTo>
                  <a:pt x="1324990" y="154051"/>
                </a:lnTo>
                <a:lnTo>
                  <a:pt x="1289303" y="154051"/>
                </a:lnTo>
                <a:lnTo>
                  <a:pt x="1289303" y="142494"/>
                </a:lnTo>
                <a:cubicBezTo>
                  <a:pt x="1283208" y="147447"/>
                  <a:pt x="1277365" y="151129"/>
                  <a:pt x="1272032" y="153542"/>
                </a:cubicBezTo>
                <a:cubicBezTo>
                  <a:pt x="1266698" y="155956"/>
                  <a:pt x="1260602" y="157098"/>
                  <a:pt x="1253616" y="157098"/>
                </a:cubicBezTo>
                <a:cubicBezTo>
                  <a:pt x="1240155" y="157098"/>
                  <a:pt x="1229233" y="151892"/>
                  <a:pt x="1221232" y="141478"/>
                </a:cubicBezTo>
                <a:cubicBezTo>
                  <a:pt x="1213103" y="131064"/>
                  <a:pt x="1209040" y="116967"/>
                  <a:pt x="1209040" y="99314"/>
                </a:cubicBezTo>
                <a:cubicBezTo>
                  <a:pt x="1209040" y="89916"/>
                  <a:pt x="1210437" y="81534"/>
                  <a:pt x="1213103" y="74168"/>
                </a:cubicBezTo>
                <a:cubicBezTo>
                  <a:pt x="1215898" y="66929"/>
                  <a:pt x="1219581" y="60706"/>
                  <a:pt x="1224280" y="55499"/>
                </a:cubicBezTo>
                <a:cubicBezTo>
                  <a:pt x="1228852" y="50546"/>
                  <a:pt x="1234313" y="46609"/>
                  <a:pt x="1240663" y="43942"/>
                </a:cubicBezTo>
                <a:cubicBezTo>
                  <a:pt x="1247013" y="41148"/>
                  <a:pt x="1253490" y="39878"/>
                  <a:pt x="1259840" y="39878"/>
                </a:cubicBezTo>
                <a:cubicBezTo>
                  <a:pt x="1266444" y="39878"/>
                  <a:pt x="1271905" y="40513"/>
                  <a:pt x="1276223" y="41910"/>
                </a:cubicBezTo>
                <a:cubicBezTo>
                  <a:pt x="1280414" y="43307"/>
                  <a:pt x="1284859" y="45212"/>
                  <a:pt x="1289303" y="47371"/>
                </a:cubicBezTo>
                <a:close/>
                <a:moveTo>
                  <a:pt x="457962" y="0"/>
                </a:moveTo>
                <a:lnTo>
                  <a:pt x="493776" y="0"/>
                </a:lnTo>
                <a:lnTo>
                  <a:pt x="493776" y="154051"/>
                </a:lnTo>
                <a:lnTo>
                  <a:pt x="457962" y="154051"/>
                </a:lnTo>
                <a:close/>
                <a:moveTo>
                  <a:pt x="243840" y="0"/>
                </a:moveTo>
                <a:lnTo>
                  <a:pt x="279527" y="0"/>
                </a:lnTo>
                <a:lnTo>
                  <a:pt x="279527" y="154051"/>
                </a:lnTo>
                <a:lnTo>
                  <a:pt x="243840" y="154051"/>
                </a:lnTo>
                <a:lnTo>
                  <a:pt x="243840" y="142494"/>
                </a:lnTo>
                <a:cubicBezTo>
                  <a:pt x="237744" y="147447"/>
                  <a:pt x="231902" y="151129"/>
                  <a:pt x="226568" y="153542"/>
                </a:cubicBezTo>
                <a:cubicBezTo>
                  <a:pt x="221234" y="155956"/>
                  <a:pt x="215138" y="157098"/>
                  <a:pt x="208152" y="157098"/>
                </a:cubicBezTo>
                <a:cubicBezTo>
                  <a:pt x="194690" y="157098"/>
                  <a:pt x="183769" y="151892"/>
                  <a:pt x="175768" y="141478"/>
                </a:cubicBezTo>
                <a:cubicBezTo>
                  <a:pt x="167640" y="131064"/>
                  <a:pt x="163576" y="116967"/>
                  <a:pt x="163576" y="99314"/>
                </a:cubicBezTo>
                <a:cubicBezTo>
                  <a:pt x="163576" y="89916"/>
                  <a:pt x="164973" y="81534"/>
                  <a:pt x="167640" y="74168"/>
                </a:cubicBezTo>
                <a:cubicBezTo>
                  <a:pt x="170434" y="66929"/>
                  <a:pt x="174116" y="60706"/>
                  <a:pt x="178815" y="55499"/>
                </a:cubicBezTo>
                <a:cubicBezTo>
                  <a:pt x="183388" y="50546"/>
                  <a:pt x="188849" y="46609"/>
                  <a:pt x="195199" y="43942"/>
                </a:cubicBezTo>
                <a:cubicBezTo>
                  <a:pt x="201549" y="41148"/>
                  <a:pt x="208026" y="39878"/>
                  <a:pt x="214376" y="39878"/>
                </a:cubicBezTo>
                <a:cubicBezTo>
                  <a:pt x="220980" y="39878"/>
                  <a:pt x="226440" y="40513"/>
                  <a:pt x="230759" y="41910"/>
                </a:cubicBezTo>
                <a:cubicBezTo>
                  <a:pt x="234950" y="43307"/>
                  <a:pt x="239395" y="45212"/>
                  <a:pt x="243840" y="47371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9" name="object 69"/>
          <p:cNvSpPr/>
          <p:nvPr/>
        </p:nvSpPr>
        <p:spPr>
          <a:xfrm>
            <a:off x="7271187" y="2620630"/>
            <a:ext cx="9143" cy="9143"/>
          </a:xfrm>
          <a:custGeom>
            <a:avLst/>
            <a:gdLst/>
            <a:ahLst/>
            <a:cxnLst/>
            <a:rect l="l" t="t" r="r" b="b"/>
            <a:pathLst>
              <a:path w="9143" h="9143"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0" name="object 70"/>
          <p:cNvSpPr/>
          <p:nvPr/>
        </p:nvSpPr>
        <p:spPr>
          <a:xfrm>
            <a:off x="7231765" y="2620630"/>
            <a:ext cx="48514" cy="40131"/>
          </a:xfrm>
          <a:custGeom>
            <a:avLst/>
            <a:gdLst/>
            <a:ahLst/>
            <a:cxnLst/>
            <a:rect l="l" t="t" r="r" b="b"/>
            <a:pathLst>
              <a:path w="48514" h="40131">
                <a:moveTo>
                  <a:pt x="43942" y="4572"/>
                </a:moveTo>
                <a:cubicBezTo>
                  <a:pt x="39116" y="4953"/>
                  <a:pt x="33908" y="5588"/>
                  <a:pt x="28320" y="6223"/>
                </a:cubicBezTo>
                <a:cubicBezTo>
                  <a:pt x="22732" y="6858"/>
                  <a:pt x="18415" y="7747"/>
                  <a:pt x="15494" y="8636"/>
                </a:cubicBezTo>
                <a:cubicBezTo>
                  <a:pt x="11938" y="9779"/>
                  <a:pt x="9270" y="11430"/>
                  <a:pt x="7366" y="13462"/>
                </a:cubicBezTo>
                <a:cubicBezTo>
                  <a:pt x="5461" y="15621"/>
                  <a:pt x="4571" y="18415"/>
                  <a:pt x="4571" y="21971"/>
                </a:cubicBezTo>
                <a:cubicBezTo>
                  <a:pt x="4571" y="24257"/>
                  <a:pt x="4826" y="26162"/>
                  <a:pt x="5207" y="27559"/>
                </a:cubicBezTo>
                <a:cubicBezTo>
                  <a:pt x="5588" y="29083"/>
                  <a:pt x="6604" y="30353"/>
                  <a:pt x="8128" y="31750"/>
                </a:cubicBezTo>
                <a:cubicBezTo>
                  <a:pt x="9652" y="33020"/>
                  <a:pt x="11430" y="34036"/>
                  <a:pt x="13589" y="34671"/>
                </a:cubicBezTo>
                <a:cubicBezTo>
                  <a:pt x="15620" y="35306"/>
                  <a:pt x="18923" y="35560"/>
                  <a:pt x="23495" y="35560"/>
                </a:cubicBezTo>
                <a:cubicBezTo>
                  <a:pt x="27051" y="35560"/>
                  <a:pt x="30607" y="34798"/>
                  <a:pt x="34290" y="33401"/>
                </a:cubicBezTo>
                <a:cubicBezTo>
                  <a:pt x="37973" y="32004"/>
                  <a:pt x="41148" y="30099"/>
                  <a:pt x="43942" y="27686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1" name="object 71"/>
          <p:cNvSpPr/>
          <p:nvPr/>
        </p:nvSpPr>
        <p:spPr>
          <a:xfrm>
            <a:off x="7271187" y="2584562"/>
            <a:ext cx="361441" cy="68325"/>
          </a:xfrm>
          <a:custGeom>
            <a:avLst/>
            <a:gdLst/>
            <a:ahLst/>
            <a:cxnLst/>
            <a:rect l="l" t="t" r="r" b="b"/>
            <a:pathLst>
              <a:path w="361441" h="68325">
                <a:moveTo>
                  <a:pt x="4572" y="63754"/>
                </a:moveTo>
                <a:moveTo>
                  <a:pt x="4572" y="40640"/>
                </a:moveTo>
                <a:moveTo>
                  <a:pt x="356870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2" name="object 72"/>
          <p:cNvSpPr/>
          <p:nvPr/>
        </p:nvSpPr>
        <p:spPr>
          <a:xfrm>
            <a:off x="7595362" y="2584450"/>
            <a:ext cx="52704" cy="73406"/>
          </a:xfrm>
          <a:custGeom>
            <a:avLst/>
            <a:gdLst/>
            <a:ahLst/>
            <a:cxnLst/>
            <a:rect l="l" t="t" r="r" b="b"/>
            <a:pathLst>
              <a:path w="52704" h="73406">
                <a:moveTo>
                  <a:pt x="32639" y="4572"/>
                </a:moveTo>
                <a:cubicBezTo>
                  <a:pt x="23241" y="4572"/>
                  <a:pt x="16256" y="7620"/>
                  <a:pt x="11556" y="13462"/>
                </a:cubicBezTo>
                <a:cubicBezTo>
                  <a:pt x="6857" y="19304"/>
                  <a:pt x="4572" y="27305"/>
                  <a:pt x="4572" y="37719"/>
                </a:cubicBezTo>
                <a:cubicBezTo>
                  <a:pt x="4572" y="48641"/>
                  <a:pt x="6477" y="56515"/>
                  <a:pt x="10160" y="61468"/>
                </a:cubicBezTo>
                <a:cubicBezTo>
                  <a:pt x="13969" y="66421"/>
                  <a:pt x="19939" y="68834"/>
                  <a:pt x="28320" y="68834"/>
                </a:cubicBezTo>
                <a:cubicBezTo>
                  <a:pt x="31495" y="68834"/>
                  <a:pt x="34925" y="68199"/>
                  <a:pt x="38481" y="67056"/>
                </a:cubicBezTo>
                <a:cubicBezTo>
                  <a:pt x="42164" y="65786"/>
                  <a:pt x="45339" y="64262"/>
                  <a:pt x="48132" y="62230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3" name="object 73"/>
          <p:cNvSpPr/>
          <p:nvPr/>
        </p:nvSpPr>
        <p:spPr>
          <a:xfrm>
            <a:off x="7638979" y="2587610"/>
            <a:ext cx="9143" cy="63753"/>
          </a:xfrm>
          <a:custGeom>
            <a:avLst/>
            <a:gdLst/>
            <a:ahLst/>
            <a:cxnLst/>
            <a:rect l="l" t="t" r="r" b="b"/>
            <a:pathLst>
              <a:path w="9143" h="63753">
                <a:moveTo>
                  <a:pt x="4571" y="59182"/>
                </a:moveTo>
                <a:lnTo>
                  <a:pt x="4571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4" name="object 74"/>
          <p:cNvSpPr/>
          <p:nvPr/>
        </p:nvSpPr>
        <p:spPr>
          <a:xfrm>
            <a:off x="6549898" y="2584450"/>
            <a:ext cx="1098168" cy="73406"/>
          </a:xfrm>
          <a:custGeom>
            <a:avLst/>
            <a:gdLst/>
            <a:ahLst/>
            <a:cxnLst/>
            <a:rect l="l" t="t" r="r" b="b"/>
            <a:pathLst>
              <a:path w="1098168" h="73406">
                <a:moveTo>
                  <a:pt x="1093596" y="7620"/>
                </a:moveTo>
                <a:cubicBezTo>
                  <a:pt x="1091057" y="6604"/>
                  <a:pt x="1088390" y="5842"/>
                  <a:pt x="1085723" y="5334"/>
                </a:cubicBezTo>
                <a:cubicBezTo>
                  <a:pt x="1082929" y="4826"/>
                  <a:pt x="1080389" y="4572"/>
                  <a:pt x="1078103" y="4572"/>
                </a:cubicBezTo>
                <a:moveTo>
                  <a:pt x="725805" y="40640"/>
                </a:moveTo>
                <a:moveTo>
                  <a:pt x="32639" y="4572"/>
                </a:moveTo>
                <a:cubicBezTo>
                  <a:pt x="23241" y="4572"/>
                  <a:pt x="16256" y="7620"/>
                  <a:pt x="11557" y="13462"/>
                </a:cubicBezTo>
                <a:cubicBezTo>
                  <a:pt x="6858" y="19304"/>
                  <a:pt x="4571" y="27305"/>
                  <a:pt x="4571" y="37719"/>
                </a:cubicBezTo>
                <a:cubicBezTo>
                  <a:pt x="4571" y="48641"/>
                  <a:pt x="6477" y="56515"/>
                  <a:pt x="10159" y="61468"/>
                </a:cubicBezTo>
                <a:cubicBezTo>
                  <a:pt x="13970" y="66421"/>
                  <a:pt x="19939" y="68834"/>
                  <a:pt x="28320" y="68834"/>
                </a:cubicBezTo>
                <a:cubicBezTo>
                  <a:pt x="31495" y="68834"/>
                  <a:pt x="34925" y="68199"/>
                  <a:pt x="38481" y="67056"/>
                </a:cubicBezTo>
                <a:cubicBezTo>
                  <a:pt x="42164" y="65786"/>
                  <a:pt x="45339" y="64262"/>
                  <a:pt x="48133" y="62230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5" name="object 75"/>
          <p:cNvSpPr/>
          <p:nvPr/>
        </p:nvSpPr>
        <p:spPr>
          <a:xfrm>
            <a:off x="6593515" y="2587610"/>
            <a:ext cx="9143" cy="63753"/>
          </a:xfrm>
          <a:custGeom>
            <a:avLst/>
            <a:gdLst/>
            <a:ahLst/>
            <a:cxnLst/>
            <a:rect l="l" t="t" r="r" b="b"/>
            <a:pathLst>
              <a:path w="9143" h="63753">
                <a:moveTo>
                  <a:pt x="4572" y="59182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6" name="object 76"/>
          <p:cNvSpPr/>
          <p:nvPr/>
        </p:nvSpPr>
        <p:spPr>
          <a:xfrm>
            <a:off x="6578021" y="2580498"/>
            <a:ext cx="915797" cy="49275"/>
          </a:xfrm>
          <a:custGeom>
            <a:avLst/>
            <a:gdLst/>
            <a:ahLst/>
            <a:cxnLst/>
            <a:rect l="l" t="t" r="r" b="b"/>
            <a:pathLst>
              <a:path w="915797" h="49275">
                <a:moveTo>
                  <a:pt x="20066" y="11684"/>
                </a:moveTo>
                <a:cubicBezTo>
                  <a:pt x="17526" y="10668"/>
                  <a:pt x="14859" y="9906"/>
                  <a:pt x="12191" y="9398"/>
                </a:cubicBezTo>
                <a:cubicBezTo>
                  <a:pt x="9398" y="8890"/>
                  <a:pt x="6858" y="8636"/>
                  <a:pt x="4572" y="8636"/>
                </a:cubicBezTo>
                <a:moveTo>
                  <a:pt x="697738" y="44704"/>
                </a:moveTo>
                <a:moveTo>
                  <a:pt x="911225" y="4572"/>
                </a:moveTo>
                <a:cubicBezTo>
                  <a:pt x="904366" y="4572"/>
                  <a:pt x="898652" y="6350"/>
                  <a:pt x="894334" y="9906"/>
                </a:cubicBezTo>
                <a:cubicBezTo>
                  <a:pt x="889889" y="13462"/>
                  <a:pt x="887349" y="19177"/>
                  <a:pt x="886841" y="27051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7" name="object 77"/>
          <p:cNvSpPr/>
          <p:nvPr/>
        </p:nvSpPr>
        <p:spPr>
          <a:xfrm>
            <a:off x="7460290" y="2602865"/>
            <a:ext cx="55371" cy="9144"/>
          </a:xfrm>
          <a:custGeom>
            <a:avLst/>
            <a:gdLst/>
            <a:ahLst/>
            <a:cxnLst/>
            <a:rect l="l" t="t" r="r" b="b"/>
            <a:pathLst>
              <a:path w="55371" h="9144">
                <a:moveTo>
                  <a:pt x="4572" y="4572"/>
                </a:moveTo>
                <a:lnTo>
                  <a:pt x="50800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8" name="object 78"/>
          <p:cNvSpPr/>
          <p:nvPr/>
        </p:nvSpPr>
        <p:spPr>
          <a:xfrm>
            <a:off x="6996946" y="2580498"/>
            <a:ext cx="518667" cy="49275"/>
          </a:xfrm>
          <a:custGeom>
            <a:avLst/>
            <a:gdLst/>
            <a:ahLst/>
            <a:cxnLst/>
            <a:rect l="l" t="t" r="r" b="b"/>
            <a:pathLst>
              <a:path w="518667" h="49275">
                <a:moveTo>
                  <a:pt x="514096" y="27051"/>
                </a:moveTo>
                <a:cubicBezTo>
                  <a:pt x="513968" y="19558"/>
                  <a:pt x="512064" y="13970"/>
                  <a:pt x="508508" y="10160"/>
                </a:cubicBezTo>
                <a:cubicBezTo>
                  <a:pt x="505079" y="6477"/>
                  <a:pt x="499618" y="4572"/>
                  <a:pt x="492252" y="4572"/>
                </a:cubicBezTo>
                <a:moveTo>
                  <a:pt x="278765" y="44704"/>
                </a:moveTo>
                <a:moveTo>
                  <a:pt x="28955" y="4572"/>
                </a:moveTo>
                <a:cubicBezTo>
                  <a:pt x="22098" y="4572"/>
                  <a:pt x="16383" y="6350"/>
                  <a:pt x="12065" y="9906"/>
                </a:cubicBezTo>
                <a:cubicBezTo>
                  <a:pt x="7619" y="13462"/>
                  <a:pt x="5080" y="19177"/>
                  <a:pt x="4572" y="27051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9" name="object 79"/>
          <p:cNvSpPr/>
          <p:nvPr/>
        </p:nvSpPr>
        <p:spPr>
          <a:xfrm>
            <a:off x="6996938" y="2602865"/>
            <a:ext cx="55372" cy="9144"/>
          </a:xfrm>
          <a:custGeom>
            <a:avLst/>
            <a:gdLst/>
            <a:ahLst/>
            <a:cxnLst/>
            <a:rect l="l" t="t" r="r" b="b"/>
            <a:pathLst>
              <a:path w="55372" h="9144">
                <a:moveTo>
                  <a:pt x="4572" y="4572"/>
                </a:moveTo>
                <a:lnTo>
                  <a:pt x="50800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0" name="object 80"/>
          <p:cNvSpPr/>
          <p:nvPr/>
        </p:nvSpPr>
        <p:spPr>
          <a:xfrm>
            <a:off x="6407405" y="2563114"/>
            <a:ext cx="872871" cy="66548"/>
          </a:xfrm>
          <a:custGeom>
            <a:avLst/>
            <a:gdLst/>
            <a:ahLst/>
            <a:cxnLst/>
            <a:rect l="l" t="t" r="r" b="b"/>
            <a:pathLst>
              <a:path w="872871" h="66548">
                <a:moveTo>
                  <a:pt x="640334" y="44323"/>
                </a:moveTo>
                <a:cubicBezTo>
                  <a:pt x="640207" y="36830"/>
                  <a:pt x="638302" y="31242"/>
                  <a:pt x="634746" y="27432"/>
                </a:cubicBezTo>
                <a:cubicBezTo>
                  <a:pt x="631317" y="23749"/>
                  <a:pt x="625856" y="21844"/>
                  <a:pt x="618489" y="21844"/>
                </a:cubicBezTo>
                <a:moveTo>
                  <a:pt x="868299" y="61976"/>
                </a:moveTo>
                <a:moveTo>
                  <a:pt x="22733" y="4572"/>
                </a:moveTo>
                <a:lnTo>
                  <a:pt x="4572" y="57404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1" name="object 81"/>
          <p:cNvSpPr/>
          <p:nvPr/>
        </p:nvSpPr>
        <p:spPr>
          <a:xfrm>
            <a:off x="6407460" y="2615946"/>
            <a:ext cx="45339" cy="9144"/>
          </a:xfrm>
          <a:custGeom>
            <a:avLst/>
            <a:gdLst/>
            <a:ahLst/>
            <a:cxnLst/>
            <a:rect l="l" t="t" r="r" b="b"/>
            <a:pathLst>
              <a:path w="45339" h="9144">
                <a:moveTo>
                  <a:pt x="4572" y="4572"/>
                </a:moveTo>
                <a:lnTo>
                  <a:pt x="40767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2" name="object 82"/>
          <p:cNvSpPr/>
          <p:nvPr/>
        </p:nvSpPr>
        <p:spPr>
          <a:xfrm>
            <a:off x="6443599" y="2561590"/>
            <a:ext cx="836675" cy="68072"/>
          </a:xfrm>
          <a:custGeom>
            <a:avLst/>
            <a:gdLst/>
            <a:ahLst/>
            <a:cxnLst/>
            <a:rect l="l" t="t" r="r" b="b"/>
            <a:pathLst>
              <a:path w="836675" h="68072">
                <a:moveTo>
                  <a:pt x="4572" y="58928"/>
                </a:moveTo>
                <a:moveTo>
                  <a:pt x="832104" y="63500"/>
                </a:moveTo>
                <a:moveTo>
                  <a:pt x="222885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3" name="object 83"/>
          <p:cNvSpPr/>
          <p:nvPr/>
        </p:nvSpPr>
        <p:spPr>
          <a:xfrm>
            <a:off x="6661912" y="2561702"/>
            <a:ext cx="44830" cy="64261"/>
          </a:xfrm>
          <a:custGeom>
            <a:avLst/>
            <a:gdLst/>
            <a:ahLst/>
            <a:cxnLst/>
            <a:rect l="l" t="t" r="r" b="b"/>
            <a:pathLst>
              <a:path w="44830" h="64261">
                <a:moveTo>
                  <a:pt x="4572" y="4572"/>
                </a:moveTo>
                <a:lnTo>
                  <a:pt x="40259" y="4572"/>
                </a:lnTo>
                <a:lnTo>
                  <a:pt x="40259" y="59690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4" name="object 84"/>
          <p:cNvSpPr/>
          <p:nvPr/>
        </p:nvSpPr>
        <p:spPr>
          <a:xfrm>
            <a:off x="6697603" y="2616708"/>
            <a:ext cx="49403" cy="39370"/>
          </a:xfrm>
          <a:custGeom>
            <a:avLst/>
            <a:gdLst/>
            <a:ahLst/>
            <a:cxnLst/>
            <a:rect l="l" t="t" r="r" b="b"/>
            <a:pathLst>
              <a:path w="49403" h="39370">
                <a:moveTo>
                  <a:pt x="4572" y="4572"/>
                </a:moveTo>
                <a:cubicBezTo>
                  <a:pt x="4572" y="10160"/>
                  <a:pt x="4826" y="14859"/>
                  <a:pt x="5207" y="18542"/>
                </a:cubicBezTo>
                <a:cubicBezTo>
                  <a:pt x="5588" y="22225"/>
                  <a:pt x="6350" y="25400"/>
                  <a:pt x="7747" y="27813"/>
                </a:cubicBezTo>
                <a:cubicBezTo>
                  <a:pt x="9017" y="30226"/>
                  <a:pt x="10794" y="32004"/>
                  <a:pt x="13335" y="33147"/>
                </a:cubicBezTo>
                <a:cubicBezTo>
                  <a:pt x="15875" y="34290"/>
                  <a:pt x="19431" y="34798"/>
                  <a:pt x="24003" y="34798"/>
                </a:cubicBezTo>
                <a:cubicBezTo>
                  <a:pt x="27051" y="34798"/>
                  <a:pt x="30480" y="34290"/>
                  <a:pt x="34163" y="33147"/>
                </a:cubicBezTo>
                <a:cubicBezTo>
                  <a:pt x="37845" y="32004"/>
                  <a:pt x="41402" y="30353"/>
                  <a:pt x="44831" y="28194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5" name="object 85"/>
          <p:cNvSpPr/>
          <p:nvPr/>
        </p:nvSpPr>
        <p:spPr>
          <a:xfrm>
            <a:off x="6737858" y="2561590"/>
            <a:ext cx="44830" cy="120268"/>
          </a:xfrm>
          <a:custGeom>
            <a:avLst/>
            <a:gdLst/>
            <a:ahLst/>
            <a:cxnLst/>
            <a:rect l="l" t="t" r="r" b="b"/>
            <a:pathLst>
              <a:path w="44830" h="120268">
                <a:moveTo>
                  <a:pt x="4572" y="83312"/>
                </a:moveTo>
                <a:lnTo>
                  <a:pt x="4572" y="4572"/>
                </a:lnTo>
                <a:lnTo>
                  <a:pt x="40259" y="4572"/>
                </a:lnTo>
                <a:lnTo>
                  <a:pt x="40259" y="115697"/>
                </a:lnTo>
                <a:lnTo>
                  <a:pt x="4572" y="115697"/>
                </a:lnTo>
                <a:lnTo>
                  <a:pt x="4572" y="103378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6" name="object 86"/>
          <p:cNvSpPr/>
          <p:nvPr/>
        </p:nvSpPr>
        <p:spPr>
          <a:xfrm>
            <a:off x="6661968" y="2561321"/>
            <a:ext cx="618363" cy="123697"/>
          </a:xfrm>
          <a:custGeom>
            <a:avLst/>
            <a:gdLst/>
            <a:ahLst/>
            <a:cxnLst/>
            <a:rect l="l" t="t" r="r" b="b"/>
            <a:pathLst>
              <a:path w="618363" h="123697">
                <a:moveTo>
                  <a:pt x="80518" y="103759"/>
                </a:moveTo>
                <a:cubicBezTo>
                  <a:pt x="73914" y="108839"/>
                  <a:pt x="67944" y="112649"/>
                  <a:pt x="62356" y="115189"/>
                </a:cubicBezTo>
                <a:cubicBezTo>
                  <a:pt x="56895" y="117856"/>
                  <a:pt x="50419" y="119125"/>
                  <a:pt x="42799" y="119125"/>
                </a:cubicBezTo>
                <a:cubicBezTo>
                  <a:pt x="30606" y="119125"/>
                  <a:pt x="21209" y="115569"/>
                  <a:pt x="14478" y="108585"/>
                </a:cubicBezTo>
                <a:cubicBezTo>
                  <a:pt x="7874" y="101473"/>
                  <a:pt x="4572" y="91059"/>
                  <a:pt x="4572" y="77216"/>
                </a:cubicBezTo>
                <a:moveTo>
                  <a:pt x="613791" y="63881"/>
                </a:moveTo>
                <a:moveTo>
                  <a:pt x="518032" y="4572"/>
                </a:moveTo>
                <a:cubicBezTo>
                  <a:pt x="519303" y="4572"/>
                  <a:pt x="520700" y="4572"/>
                  <a:pt x="522351" y="4572"/>
                </a:cubicBezTo>
                <a:cubicBezTo>
                  <a:pt x="523875" y="4699"/>
                  <a:pt x="525272" y="4826"/>
                  <a:pt x="526542" y="4953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7" name="object 87"/>
          <p:cNvSpPr/>
          <p:nvPr/>
        </p:nvSpPr>
        <p:spPr>
          <a:xfrm>
            <a:off x="7180707" y="2561702"/>
            <a:ext cx="12318" cy="43053"/>
          </a:xfrm>
          <a:custGeom>
            <a:avLst/>
            <a:gdLst/>
            <a:ahLst/>
            <a:cxnLst/>
            <a:rect l="l" t="t" r="r" b="b"/>
            <a:pathLst>
              <a:path w="12318" h="43053">
                <a:moveTo>
                  <a:pt x="7747" y="4572"/>
                </a:moveTo>
                <a:lnTo>
                  <a:pt x="7747" y="38481"/>
                </a:lnTo>
                <a:lnTo>
                  <a:pt x="4572" y="3848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8" name="object 88"/>
          <p:cNvSpPr/>
          <p:nvPr/>
        </p:nvSpPr>
        <p:spPr>
          <a:xfrm>
            <a:off x="7139051" y="2593975"/>
            <a:ext cx="50800" cy="13462"/>
          </a:xfrm>
          <a:custGeom>
            <a:avLst/>
            <a:gdLst/>
            <a:ahLst/>
            <a:cxnLst/>
            <a:rect l="l" t="t" r="r" b="b"/>
            <a:pathLst>
              <a:path w="50800" h="13462">
                <a:moveTo>
                  <a:pt x="46228" y="6096"/>
                </a:moveTo>
                <a:cubicBezTo>
                  <a:pt x="44704" y="5588"/>
                  <a:pt x="42291" y="5207"/>
                  <a:pt x="38862" y="4953"/>
                </a:cubicBezTo>
                <a:cubicBezTo>
                  <a:pt x="35560" y="4699"/>
                  <a:pt x="32766" y="4572"/>
                  <a:pt x="30480" y="4572"/>
                </a:cubicBezTo>
                <a:cubicBezTo>
                  <a:pt x="25400" y="4572"/>
                  <a:pt x="20955" y="4826"/>
                  <a:pt x="17017" y="5461"/>
                </a:cubicBezTo>
                <a:cubicBezTo>
                  <a:pt x="13208" y="6223"/>
                  <a:pt x="9017" y="7239"/>
                  <a:pt x="4572" y="8890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9" name="object 89"/>
          <p:cNvSpPr/>
          <p:nvPr/>
        </p:nvSpPr>
        <p:spPr>
          <a:xfrm>
            <a:off x="7103293" y="2561590"/>
            <a:ext cx="44957" cy="120268"/>
          </a:xfrm>
          <a:custGeom>
            <a:avLst/>
            <a:gdLst/>
            <a:ahLst/>
            <a:cxnLst/>
            <a:rect l="l" t="t" r="r" b="b"/>
            <a:pathLst>
              <a:path w="44957" h="120268">
                <a:moveTo>
                  <a:pt x="40386" y="41275"/>
                </a:moveTo>
                <a:lnTo>
                  <a:pt x="40386" y="115697"/>
                </a:lnTo>
                <a:lnTo>
                  <a:pt x="4572" y="115697"/>
                </a:lnTo>
                <a:lnTo>
                  <a:pt x="4572" y="4572"/>
                </a:lnTo>
                <a:lnTo>
                  <a:pt x="40386" y="4572"/>
                </a:lnTo>
                <a:lnTo>
                  <a:pt x="40386" y="20828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90" name="object 90"/>
          <p:cNvSpPr/>
          <p:nvPr/>
        </p:nvSpPr>
        <p:spPr>
          <a:xfrm>
            <a:off x="7139051" y="2558527"/>
            <a:ext cx="176529" cy="71247"/>
          </a:xfrm>
          <a:custGeom>
            <a:avLst/>
            <a:gdLst/>
            <a:ahLst/>
            <a:cxnLst/>
            <a:rect l="l" t="t" r="r" b="b"/>
            <a:pathLst>
              <a:path w="176529" h="71247">
                <a:moveTo>
                  <a:pt x="4572" y="24003"/>
                </a:moveTo>
                <a:cubicBezTo>
                  <a:pt x="12318" y="17272"/>
                  <a:pt x="19177" y="12827"/>
                  <a:pt x="24892" y="10668"/>
                </a:cubicBezTo>
                <a:cubicBezTo>
                  <a:pt x="30734" y="8382"/>
                  <a:pt x="36067" y="7366"/>
                  <a:pt x="40893" y="7366"/>
                </a:cubicBezTo>
                <a:moveTo>
                  <a:pt x="136652" y="66675"/>
                </a:moveTo>
                <a:moveTo>
                  <a:pt x="114554" y="4572"/>
                </a:moveTo>
                <a:cubicBezTo>
                  <a:pt x="134874" y="4572"/>
                  <a:pt x="149479" y="7620"/>
                  <a:pt x="158496" y="13843"/>
                </a:cubicBezTo>
                <a:cubicBezTo>
                  <a:pt x="167513" y="20066"/>
                  <a:pt x="171958" y="29972"/>
                  <a:pt x="171958" y="43180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91" name="object 91"/>
          <p:cNvSpPr/>
          <p:nvPr/>
        </p:nvSpPr>
        <p:spPr>
          <a:xfrm>
            <a:off x="7271187" y="2597135"/>
            <a:ext cx="44449" cy="84835"/>
          </a:xfrm>
          <a:custGeom>
            <a:avLst/>
            <a:gdLst/>
            <a:ahLst/>
            <a:cxnLst/>
            <a:rect l="l" t="t" r="r" b="b"/>
            <a:pathLst>
              <a:path w="44449" h="84835">
                <a:moveTo>
                  <a:pt x="39878" y="4572"/>
                </a:moveTo>
                <a:lnTo>
                  <a:pt x="39878" y="80264"/>
                </a:lnTo>
                <a:lnTo>
                  <a:pt x="4572" y="80264"/>
                </a:lnTo>
                <a:lnTo>
                  <a:pt x="4572" y="6845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92" name="object 92"/>
          <p:cNvSpPr/>
          <p:nvPr/>
        </p:nvSpPr>
        <p:spPr>
          <a:xfrm>
            <a:off x="7195566" y="2599690"/>
            <a:ext cx="84962" cy="85090"/>
          </a:xfrm>
          <a:custGeom>
            <a:avLst/>
            <a:gdLst/>
            <a:ahLst/>
            <a:cxnLst/>
            <a:rect l="l" t="t" r="r" b="b"/>
            <a:pathLst>
              <a:path w="84962" h="85090">
                <a:moveTo>
                  <a:pt x="80137" y="65786"/>
                </a:moveTo>
                <a:cubicBezTo>
                  <a:pt x="78232" y="67310"/>
                  <a:pt x="75819" y="68961"/>
                  <a:pt x="73025" y="70993"/>
                </a:cubicBezTo>
                <a:cubicBezTo>
                  <a:pt x="70231" y="73152"/>
                  <a:pt x="67564" y="74675"/>
                  <a:pt x="65024" y="75946"/>
                </a:cubicBezTo>
                <a:cubicBezTo>
                  <a:pt x="61468" y="77469"/>
                  <a:pt x="57912" y="78613"/>
                  <a:pt x="54102" y="79375"/>
                </a:cubicBezTo>
                <a:cubicBezTo>
                  <a:pt x="50419" y="80137"/>
                  <a:pt x="46227" y="80518"/>
                  <a:pt x="41783" y="80518"/>
                </a:cubicBezTo>
                <a:cubicBezTo>
                  <a:pt x="31241" y="80518"/>
                  <a:pt x="22352" y="77343"/>
                  <a:pt x="15240" y="70738"/>
                </a:cubicBezTo>
                <a:cubicBezTo>
                  <a:pt x="8127" y="64262"/>
                  <a:pt x="4572" y="55880"/>
                  <a:pt x="4572" y="45720"/>
                </a:cubicBezTo>
                <a:cubicBezTo>
                  <a:pt x="4572" y="37592"/>
                  <a:pt x="6350" y="30988"/>
                  <a:pt x="10033" y="25781"/>
                </a:cubicBezTo>
                <a:cubicBezTo>
                  <a:pt x="13589" y="20701"/>
                  <a:pt x="18796" y="16637"/>
                  <a:pt x="25400" y="13589"/>
                </a:cubicBezTo>
                <a:cubicBezTo>
                  <a:pt x="32003" y="10668"/>
                  <a:pt x="40259" y="8509"/>
                  <a:pt x="49911" y="7366"/>
                </a:cubicBezTo>
                <a:cubicBezTo>
                  <a:pt x="59690" y="6096"/>
                  <a:pt x="69850" y="5080"/>
                  <a:pt x="80390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93" name="object 93"/>
          <p:cNvSpPr/>
          <p:nvPr/>
        </p:nvSpPr>
        <p:spPr>
          <a:xfrm>
            <a:off x="7271400" y="2599055"/>
            <a:ext cx="9143" cy="9778"/>
          </a:xfrm>
          <a:custGeom>
            <a:avLst/>
            <a:gdLst/>
            <a:ahLst/>
            <a:cxnLst/>
            <a:rect l="l" t="t" r="r" b="b"/>
            <a:pathLst>
              <a:path w="9143" h="9778">
                <a:moveTo>
                  <a:pt x="4571" y="5207"/>
                </a:moveTo>
                <a:lnTo>
                  <a:pt x="4571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94" name="object 94"/>
          <p:cNvSpPr/>
          <p:nvPr/>
        </p:nvSpPr>
        <p:spPr>
          <a:xfrm>
            <a:off x="7208522" y="2582911"/>
            <a:ext cx="72008" cy="25399"/>
          </a:xfrm>
          <a:custGeom>
            <a:avLst/>
            <a:gdLst/>
            <a:ahLst/>
            <a:cxnLst/>
            <a:rect l="l" t="t" r="r" b="b"/>
            <a:pathLst>
              <a:path w="72008" h="25399">
                <a:moveTo>
                  <a:pt x="67436" y="20828"/>
                </a:moveTo>
                <a:cubicBezTo>
                  <a:pt x="67436" y="14732"/>
                  <a:pt x="64897" y="10414"/>
                  <a:pt x="59817" y="8128"/>
                </a:cubicBezTo>
                <a:cubicBezTo>
                  <a:pt x="54864" y="5715"/>
                  <a:pt x="47498" y="4572"/>
                  <a:pt x="37719" y="4572"/>
                </a:cubicBezTo>
                <a:cubicBezTo>
                  <a:pt x="31877" y="4572"/>
                  <a:pt x="25527" y="5588"/>
                  <a:pt x="18923" y="7747"/>
                </a:cubicBezTo>
                <a:cubicBezTo>
                  <a:pt x="12192" y="9779"/>
                  <a:pt x="7493" y="11430"/>
                  <a:pt x="4572" y="12573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95" name="object 95"/>
          <p:cNvSpPr/>
          <p:nvPr/>
        </p:nvSpPr>
        <p:spPr>
          <a:xfrm>
            <a:off x="7205218" y="2563988"/>
            <a:ext cx="12445" cy="36067"/>
          </a:xfrm>
          <a:custGeom>
            <a:avLst/>
            <a:gdLst/>
            <a:ahLst/>
            <a:cxnLst/>
            <a:rect l="l" t="t" r="r" b="b"/>
            <a:pathLst>
              <a:path w="12445" h="36067">
                <a:moveTo>
                  <a:pt x="7874" y="31496"/>
                </a:moveTo>
                <a:lnTo>
                  <a:pt x="4572" y="31496"/>
                </a:ln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96" name="object 96"/>
          <p:cNvSpPr/>
          <p:nvPr/>
        </p:nvSpPr>
        <p:spPr>
          <a:xfrm>
            <a:off x="7205218" y="2558034"/>
            <a:ext cx="345820" cy="71628"/>
          </a:xfrm>
          <a:custGeom>
            <a:avLst/>
            <a:gdLst/>
            <a:ahLst/>
            <a:cxnLst/>
            <a:rect l="l" t="t" r="r" b="b"/>
            <a:pathLst>
              <a:path w="345820" h="71628">
                <a:moveTo>
                  <a:pt x="4572" y="10414"/>
                </a:moveTo>
                <a:cubicBezTo>
                  <a:pt x="8382" y="9525"/>
                  <a:pt x="14478" y="8255"/>
                  <a:pt x="22987" y="6985"/>
                </a:cubicBezTo>
                <a:cubicBezTo>
                  <a:pt x="31369" y="5588"/>
                  <a:pt x="39878" y="4953"/>
                  <a:pt x="48387" y="4953"/>
                </a:cubicBezTo>
                <a:moveTo>
                  <a:pt x="70485" y="67056"/>
                </a:moveTo>
                <a:moveTo>
                  <a:pt x="286766" y="4572"/>
                </a:moveTo>
                <a:cubicBezTo>
                  <a:pt x="304926" y="4572"/>
                  <a:pt x="318516" y="9144"/>
                  <a:pt x="327660" y="18288"/>
                </a:cubicBezTo>
                <a:cubicBezTo>
                  <a:pt x="336676" y="27432"/>
                  <a:pt x="341249" y="40640"/>
                  <a:pt x="341249" y="57785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97" name="object 97"/>
          <p:cNvSpPr/>
          <p:nvPr/>
        </p:nvSpPr>
        <p:spPr>
          <a:xfrm>
            <a:off x="7460367" y="2611247"/>
            <a:ext cx="90678" cy="21590"/>
          </a:xfrm>
          <a:custGeom>
            <a:avLst/>
            <a:gdLst/>
            <a:ahLst/>
            <a:cxnLst/>
            <a:rect l="l" t="t" r="r" b="b"/>
            <a:pathLst>
              <a:path w="90678" h="21590">
                <a:moveTo>
                  <a:pt x="86106" y="4572"/>
                </a:moveTo>
                <a:lnTo>
                  <a:pt x="86106" y="17018"/>
                </a:lnTo>
                <a:lnTo>
                  <a:pt x="4571" y="17018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98" name="object 98"/>
          <p:cNvSpPr/>
          <p:nvPr/>
        </p:nvSpPr>
        <p:spPr>
          <a:xfrm>
            <a:off x="7460364" y="2623805"/>
            <a:ext cx="84708" cy="36067"/>
          </a:xfrm>
          <a:custGeom>
            <a:avLst/>
            <a:gdLst/>
            <a:ahLst/>
            <a:cxnLst/>
            <a:rect l="l" t="t" r="r" b="b"/>
            <a:pathLst>
              <a:path w="84708" h="36067">
                <a:moveTo>
                  <a:pt x="4571" y="4572"/>
                </a:moveTo>
                <a:cubicBezTo>
                  <a:pt x="5080" y="13335"/>
                  <a:pt x="8382" y="19939"/>
                  <a:pt x="14478" y="24638"/>
                </a:cubicBezTo>
                <a:cubicBezTo>
                  <a:pt x="20574" y="29210"/>
                  <a:pt x="29591" y="31496"/>
                  <a:pt x="41529" y="31496"/>
                </a:cubicBezTo>
                <a:cubicBezTo>
                  <a:pt x="49021" y="31496"/>
                  <a:pt x="56261" y="30099"/>
                  <a:pt x="63373" y="27432"/>
                </a:cubicBezTo>
                <a:cubicBezTo>
                  <a:pt x="70357" y="24765"/>
                  <a:pt x="75945" y="21844"/>
                  <a:pt x="80137" y="18796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99" name="object 99"/>
          <p:cNvSpPr/>
          <p:nvPr/>
        </p:nvSpPr>
        <p:spPr>
          <a:xfrm>
            <a:off x="7535926" y="2637917"/>
            <a:ext cx="13080" cy="37718"/>
          </a:xfrm>
          <a:custGeom>
            <a:avLst/>
            <a:gdLst/>
            <a:ahLst/>
            <a:cxnLst/>
            <a:rect l="l" t="t" r="r" b="b"/>
            <a:pathLst>
              <a:path w="13080" h="37718">
                <a:moveTo>
                  <a:pt x="4572" y="4572"/>
                </a:moveTo>
                <a:lnTo>
                  <a:pt x="8509" y="4572"/>
                </a:lnTo>
                <a:lnTo>
                  <a:pt x="8509" y="33147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00" name="object 100"/>
          <p:cNvSpPr/>
          <p:nvPr/>
        </p:nvSpPr>
        <p:spPr>
          <a:xfrm>
            <a:off x="7024117" y="2558034"/>
            <a:ext cx="524890" cy="126746"/>
          </a:xfrm>
          <a:custGeom>
            <a:avLst/>
            <a:gdLst/>
            <a:ahLst/>
            <a:cxnLst/>
            <a:rect l="l" t="t" r="r" b="b"/>
            <a:pathLst>
              <a:path w="524890" h="126746">
                <a:moveTo>
                  <a:pt x="520319" y="113030"/>
                </a:moveTo>
                <a:cubicBezTo>
                  <a:pt x="512190" y="116205"/>
                  <a:pt x="504698" y="118618"/>
                  <a:pt x="497459" y="120015"/>
                </a:cubicBezTo>
                <a:cubicBezTo>
                  <a:pt x="490347" y="121539"/>
                  <a:pt x="482473" y="122174"/>
                  <a:pt x="473837" y="122174"/>
                </a:cubicBezTo>
                <a:cubicBezTo>
                  <a:pt x="451612" y="122174"/>
                  <a:pt x="434466" y="117221"/>
                  <a:pt x="422656" y="107187"/>
                </a:cubicBezTo>
                <a:cubicBezTo>
                  <a:pt x="410718" y="97155"/>
                  <a:pt x="404749" y="82804"/>
                  <a:pt x="404749" y="64262"/>
                </a:cubicBezTo>
                <a:cubicBezTo>
                  <a:pt x="404749" y="45974"/>
                  <a:pt x="410464" y="31369"/>
                  <a:pt x="421640" y="20701"/>
                </a:cubicBezTo>
                <a:cubicBezTo>
                  <a:pt x="432943" y="10033"/>
                  <a:pt x="448310" y="4572"/>
                  <a:pt x="467868" y="4572"/>
                </a:cubicBezTo>
                <a:moveTo>
                  <a:pt x="251587" y="67056"/>
                </a:moveTo>
                <a:moveTo>
                  <a:pt x="4572" y="4572"/>
                </a:moveTo>
                <a:cubicBezTo>
                  <a:pt x="22733" y="4572"/>
                  <a:pt x="36322" y="9144"/>
                  <a:pt x="45465" y="18288"/>
                </a:cubicBezTo>
                <a:cubicBezTo>
                  <a:pt x="54483" y="27432"/>
                  <a:pt x="59055" y="40640"/>
                  <a:pt x="59055" y="57785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01" name="object 101"/>
          <p:cNvSpPr/>
          <p:nvPr/>
        </p:nvSpPr>
        <p:spPr>
          <a:xfrm>
            <a:off x="6997121" y="2611247"/>
            <a:ext cx="90677" cy="21590"/>
          </a:xfrm>
          <a:custGeom>
            <a:avLst/>
            <a:gdLst/>
            <a:ahLst/>
            <a:cxnLst/>
            <a:rect l="l" t="t" r="r" b="b"/>
            <a:pathLst>
              <a:path w="90677" h="21590">
                <a:moveTo>
                  <a:pt x="86106" y="4572"/>
                </a:moveTo>
                <a:lnTo>
                  <a:pt x="86106" y="17018"/>
                </a:lnTo>
                <a:lnTo>
                  <a:pt x="4572" y="17018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02" name="object 102"/>
          <p:cNvSpPr/>
          <p:nvPr/>
        </p:nvSpPr>
        <p:spPr>
          <a:xfrm>
            <a:off x="6997065" y="2623805"/>
            <a:ext cx="84709" cy="36067"/>
          </a:xfrm>
          <a:custGeom>
            <a:avLst/>
            <a:gdLst/>
            <a:ahLst/>
            <a:cxnLst/>
            <a:rect l="l" t="t" r="r" b="b"/>
            <a:pathLst>
              <a:path w="84709" h="36067">
                <a:moveTo>
                  <a:pt x="4572" y="4572"/>
                </a:moveTo>
                <a:cubicBezTo>
                  <a:pt x="5079" y="13335"/>
                  <a:pt x="8382" y="19939"/>
                  <a:pt x="14478" y="24638"/>
                </a:cubicBezTo>
                <a:cubicBezTo>
                  <a:pt x="20574" y="29210"/>
                  <a:pt x="29591" y="31496"/>
                  <a:pt x="41528" y="31496"/>
                </a:cubicBezTo>
                <a:cubicBezTo>
                  <a:pt x="49022" y="31496"/>
                  <a:pt x="56261" y="30099"/>
                  <a:pt x="63373" y="27432"/>
                </a:cubicBezTo>
                <a:cubicBezTo>
                  <a:pt x="70358" y="24765"/>
                  <a:pt x="75946" y="21844"/>
                  <a:pt x="80137" y="18796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03" name="object 103"/>
          <p:cNvSpPr/>
          <p:nvPr/>
        </p:nvSpPr>
        <p:spPr>
          <a:xfrm>
            <a:off x="7072630" y="2637917"/>
            <a:ext cx="13080" cy="37718"/>
          </a:xfrm>
          <a:custGeom>
            <a:avLst/>
            <a:gdLst/>
            <a:ahLst/>
            <a:cxnLst/>
            <a:rect l="l" t="t" r="r" b="b"/>
            <a:pathLst>
              <a:path w="13080" h="37718">
                <a:moveTo>
                  <a:pt x="4572" y="4572"/>
                </a:moveTo>
                <a:lnTo>
                  <a:pt x="8509" y="4572"/>
                </a:lnTo>
                <a:lnTo>
                  <a:pt x="8509" y="33147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04" name="object 104"/>
          <p:cNvSpPr/>
          <p:nvPr/>
        </p:nvSpPr>
        <p:spPr>
          <a:xfrm>
            <a:off x="6961053" y="2529840"/>
            <a:ext cx="389763" cy="154940"/>
          </a:xfrm>
          <a:custGeom>
            <a:avLst/>
            <a:gdLst/>
            <a:ahLst/>
            <a:cxnLst/>
            <a:rect l="l" t="t" r="r" b="b"/>
            <a:pathLst>
              <a:path w="389763" h="154940">
                <a:moveTo>
                  <a:pt x="120142" y="141224"/>
                </a:moveTo>
                <a:cubicBezTo>
                  <a:pt x="112014" y="144399"/>
                  <a:pt x="104521" y="146812"/>
                  <a:pt x="97282" y="148209"/>
                </a:cubicBezTo>
                <a:cubicBezTo>
                  <a:pt x="90170" y="149733"/>
                  <a:pt x="82296" y="150368"/>
                  <a:pt x="73659" y="150368"/>
                </a:cubicBezTo>
                <a:cubicBezTo>
                  <a:pt x="51434" y="150368"/>
                  <a:pt x="34290" y="145415"/>
                  <a:pt x="22479" y="135381"/>
                </a:cubicBezTo>
                <a:cubicBezTo>
                  <a:pt x="10541" y="125349"/>
                  <a:pt x="4571" y="110998"/>
                  <a:pt x="4571" y="92456"/>
                </a:cubicBezTo>
                <a:cubicBezTo>
                  <a:pt x="4571" y="74168"/>
                  <a:pt x="10287" y="59563"/>
                  <a:pt x="21463" y="48895"/>
                </a:cubicBezTo>
                <a:cubicBezTo>
                  <a:pt x="32766" y="38227"/>
                  <a:pt x="48133" y="32766"/>
                  <a:pt x="67691" y="32766"/>
                </a:cubicBezTo>
                <a:moveTo>
                  <a:pt x="314706" y="95250"/>
                </a:moveTo>
                <a:moveTo>
                  <a:pt x="385191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05" name="object 105"/>
          <p:cNvSpPr/>
          <p:nvPr/>
        </p:nvSpPr>
        <p:spPr>
          <a:xfrm>
            <a:off x="7341620" y="2529840"/>
            <a:ext cx="78105" cy="104394"/>
          </a:xfrm>
          <a:custGeom>
            <a:avLst/>
            <a:gdLst/>
            <a:ahLst/>
            <a:cxnLst/>
            <a:rect l="l" t="t" r="r" b="b"/>
            <a:pathLst>
              <a:path w="78105" h="104394">
                <a:moveTo>
                  <a:pt x="4572" y="4572"/>
                </a:moveTo>
                <a:lnTo>
                  <a:pt x="40259" y="4572"/>
                </a:lnTo>
                <a:lnTo>
                  <a:pt x="40259" y="36322"/>
                </a:lnTo>
                <a:lnTo>
                  <a:pt x="73533" y="36322"/>
                </a:lnTo>
                <a:lnTo>
                  <a:pt x="73533" y="60452"/>
                </a:lnTo>
                <a:lnTo>
                  <a:pt x="40259" y="60452"/>
                </a:lnTo>
                <a:lnTo>
                  <a:pt x="40259" y="9982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06" name="object 106"/>
          <p:cNvSpPr/>
          <p:nvPr/>
        </p:nvSpPr>
        <p:spPr>
          <a:xfrm>
            <a:off x="7377303" y="2625202"/>
            <a:ext cx="39370" cy="34797"/>
          </a:xfrm>
          <a:custGeom>
            <a:avLst/>
            <a:gdLst/>
            <a:ahLst/>
            <a:cxnLst/>
            <a:rect l="l" t="t" r="r" b="b"/>
            <a:pathLst>
              <a:path w="39370" h="34797">
                <a:moveTo>
                  <a:pt x="4572" y="4572"/>
                </a:moveTo>
                <a:cubicBezTo>
                  <a:pt x="4572" y="8509"/>
                  <a:pt x="4572" y="11938"/>
                  <a:pt x="4699" y="14859"/>
                </a:cubicBezTo>
                <a:cubicBezTo>
                  <a:pt x="4699" y="17780"/>
                  <a:pt x="5207" y="20320"/>
                  <a:pt x="6223" y="22733"/>
                </a:cubicBezTo>
                <a:cubicBezTo>
                  <a:pt x="7112" y="25019"/>
                  <a:pt x="8763" y="26797"/>
                  <a:pt x="11176" y="28194"/>
                </a:cubicBezTo>
                <a:cubicBezTo>
                  <a:pt x="13462" y="29591"/>
                  <a:pt x="16890" y="30226"/>
                  <a:pt x="21336" y="30226"/>
                </a:cubicBezTo>
                <a:cubicBezTo>
                  <a:pt x="23114" y="30226"/>
                  <a:pt x="25653" y="29845"/>
                  <a:pt x="28575" y="28956"/>
                </a:cubicBezTo>
                <a:cubicBezTo>
                  <a:pt x="31623" y="28194"/>
                  <a:pt x="33654" y="27559"/>
                  <a:pt x="34798" y="26797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07" name="object 107"/>
          <p:cNvSpPr/>
          <p:nvPr/>
        </p:nvSpPr>
        <p:spPr>
          <a:xfrm>
            <a:off x="7407529" y="2647315"/>
            <a:ext cx="12192" cy="33528"/>
          </a:xfrm>
          <a:custGeom>
            <a:avLst/>
            <a:gdLst/>
            <a:ahLst/>
            <a:cxnLst/>
            <a:rect l="l" t="t" r="r" b="b"/>
            <a:pathLst>
              <a:path w="12192" h="33528">
                <a:moveTo>
                  <a:pt x="4572" y="4572"/>
                </a:moveTo>
                <a:lnTo>
                  <a:pt x="7620" y="4572"/>
                </a:lnTo>
                <a:lnTo>
                  <a:pt x="7620" y="28956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08" name="object 108"/>
          <p:cNvSpPr/>
          <p:nvPr/>
        </p:nvSpPr>
        <p:spPr>
          <a:xfrm>
            <a:off x="7341620" y="2637775"/>
            <a:ext cx="78105" cy="46355"/>
          </a:xfrm>
          <a:custGeom>
            <a:avLst/>
            <a:gdLst/>
            <a:ahLst/>
            <a:cxnLst/>
            <a:rect l="l" t="t" r="r" b="b"/>
            <a:pathLst>
              <a:path w="78105" h="46355">
                <a:moveTo>
                  <a:pt x="73533" y="38608"/>
                </a:moveTo>
                <a:cubicBezTo>
                  <a:pt x="69723" y="39624"/>
                  <a:pt x="65659" y="40386"/>
                  <a:pt x="61340" y="40894"/>
                </a:cubicBezTo>
                <a:cubicBezTo>
                  <a:pt x="57023" y="41529"/>
                  <a:pt x="51815" y="41783"/>
                  <a:pt x="45593" y="41783"/>
                </a:cubicBezTo>
                <a:cubicBezTo>
                  <a:pt x="31750" y="41783"/>
                  <a:pt x="21463" y="38989"/>
                  <a:pt x="14605" y="33401"/>
                </a:cubicBezTo>
                <a:cubicBezTo>
                  <a:pt x="7874" y="27813"/>
                  <a:pt x="4572" y="18161"/>
                  <a:pt x="4572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09" name="object 109"/>
          <p:cNvSpPr/>
          <p:nvPr/>
        </p:nvSpPr>
        <p:spPr>
          <a:xfrm>
            <a:off x="7326940" y="2561590"/>
            <a:ext cx="23875" cy="85216"/>
          </a:xfrm>
          <a:custGeom>
            <a:avLst/>
            <a:gdLst/>
            <a:ahLst/>
            <a:cxnLst/>
            <a:rect l="l" t="t" r="r" b="b"/>
            <a:pathLst>
              <a:path w="23875" h="85216">
                <a:moveTo>
                  <a:pt x="19304" y="80645"/>
                </a:moveTo>
                <a:lnTo>
                  <a:pt x="19304" y="28702"/>
                </a:lnTo>
                <a:lnTo>
                  <a:pt x="4572" y="28702"/>
                </a:lnTo>
                <a:lnTo>
                  <a:pt x="4572" y="4572"/>
                </a:lnTo>
                <a:lnTo>
                  <a:pt x="19304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10" name="object 110"/>
          <p:cNvSpPr/>
          <p:nvPr/>
        </p:nvSpPr>
        <p:spPr>
          <a:xfrm>
            <a:off x="6878376" y="2529840"/>
            <a:ext cx="472439" cy="99822"/>
          </a:xfrm>
          <a:custGeom>
            <a:avLst/>
            <a:gdLst/>
            <a:ahLst/>
            <a:cxnLst/>
            <a:rect l="l" t="t" r="r" b="b"/>
            <a:pathLst>
              <a:path w="472439" h="99822">
                <a:moveTo>
                  <a:pt x="467868" y="36322"/>
                </a:moveTo>
                <a:moveTo>
                  <a:pt x="397383" y="95250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11" name="object 111"/>
          <p:cNvSpPr/>
          <p:nvPr/>
        </p:nvSpPr>
        <p:spPr>
          <a:xfrm>
            <a:off x="6878320" y="2529840"/>
            <a:ext cx="78104" cy="104394"/>
          </a:xfrm>
          <a:custGeom>
            <a:avLst/>
            <a:gdLst/>
            <a:ahLst/>
            <a:cxnLst/>
            <a:rect l="l" t="t" r="r" b="b"/>
            <a:pathLst>
              <a:path w="78104" h="104394">
                <a:moveTo>
                  <a:pt x="4572" y="4572"/>
                </a:moveTo>
                <a:lnTo>
                  <a:pt x="40259" y="4572"/>
                </a:lnTo>
                <a:lnTo>
                  <a:pt x="40259" y="36322"/>
                </a:lnTo>
                <a:lnTo>
                  <a:pt x="73533" y="36322"/>
                </a:lnTo>
                <a:lnTo>
                  <a:pt x="73533" y="60452"/>
                </a:lnTo>
                <a:lnTo>
                  <a:pt x="40259" y="60452"/>
                </a:lnTo>
                <a:lnTo>
                  <a:pt x="40259" y="9982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12" name="object 112"/>
          <p:cNvSpPr/>
          <p:nvPr/>
        </p:nvSpPr>
        <p:spPr>
          <a:xfrm>
            <a:off x="6914012" y="2625202"/>
            <a:ext cx="39369" cy="34797"/>
          </a:xfrm>
          <a:custGeom>
            <a:avLst/>
            <a:gdLst/>
            <a:ahLst/>
            <a:cxnLst/>
            <a:rect l="l" t="t" r="r" b="b"/>
            <a:pathLst>
              <a:path w="39369" h="34797">
                <a:moveTo>
                  <a:pt x="4572" y="4572"/>
                </a:moveTo>
                <a:cubicBezTo>
                  <a:pt x="4572" y="8509"/>
                  <a:pt x="4572" y="11938"/>
                  <a:pt x="4699" y="14859"/>
                </a:cubicBezTo>
                <a:cubicBezTo>
                  <a:pt x="4699" y="17780"/>
                  <a:pt x="5207" y="20320"/>
                  <a:pt x="6223" y="22733"/>
                </a:cubicBezTo>
                <a:cubicBezTo>
                  <a:pt x="7111" y="25019"/>
                  <a:pt x="8762" y="26797"/>
                  <a:pt x="11175" y="28194"/>
                </a:cubicBezTo>
                <a:cubicBezTo>
                  <a:pt x="13461" y="29591"/>
                  <a:pt x="16891" y="30226"/>
                  <a:pt x="21336" y="30226"/>
                </a:cubicBezTo>
                <a:cubicBezTo>
                  <a:pt x="23114" y="30226"/>
                  <a:pt x="25654" y="29845"/>
                  <a:pt x="28574" y="28956"/>
                </a:cubicBezTo>
                <a:cubicBezTo>
                  <a:pt x="31623" y="28194"/>
                  <a:pt x="33655" y="27559"/>
                  <a:pt x="34798" y="26797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13" name="object 113"/>
          <p:cNvSpPr/>
          <p:nvPr/>
        </p:nvSpPr>
        <p:spPr>
          <a:xfrm>
            <a:off x="6944289" y="2647315"/>
            <a:ext cx="12191" cy="33528"/>
          </a:xfrm>
          <a:custGeom>
            <a:avLst/>
            <a:gdLst/>
            <a:ahLst/>
            <a:cxnLst/>
            <a:rect l="l" t="t" r="r" b="b"/>
            <a:pathLst>
              <a:path w="12191" h="33528">
                <a:moveTo>
                  <a:pt x="4572" y="4572"/>
                </a:moveTo>
                <a:lnTo>
                  <a:pt x="7620" y="4572"/>
                </a:lnTo>
                <a:lnTo>
                  <a:pt x="7620" y="28956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14" name="object 114"/>
          <p:cNvSpPr/>
          <p:nvPr/>
        </p:nvSpPr>
        <p:spPr>
          <a:xfrm>
            <a:off x="6878320" y="2637775"/>
            <a:ext cx="78104" cy="46355"/>
          </a:xfrm>
          <a:custGeom>
            <a:avLst/>
            <a:gdLst/>
            <a:ahLst/>
            <a:cxnLst/>
            <a:rect l="l" t="t" r="r" b="b"/>
            <a:pathLst>
              <a:path w="78104" h="46355">
                <a:moveTo>
                  <a:pt x="73533" y="38608"/>
                </a:moveTo>
                <a:cubicBezTo>
                  <a:pt x="69723" y="39624"/>
                  <a:pt x="65659" y="40386"/>
                  <a:pt x="61341" y="40894"/>
                </a:cubicBezTo>
                <a:cubicBezTo>
                  <a:pt x="57023" y="41529"/>
                  <a:pt x="51816" y="41783"/>
                  <a:pt x="45593" y="41783"/>
                </a:cubicBezTo>
                <a:cubicBezTo>
                  <a:pt x="31749" y="41783"/>
                  <a:pt x="21462" y="38989"/>
                  <a:pt x="14605" y="33401"/>
                </a:cubicBezTo>
                <a:cubicBezTo>
                  <a:pt x="7873" y="27813"/>
                  <a:pt x="4572" y="18161"/>
                  <a:pt x="4572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15" name="object 115"/>
          <p:cNvSpPr/>
          <p:nvPr/>
        </p:nvSpPr>
        <p:spPr>
          <a:xfrm>
            <a:off x="6863588" y="2561590"/>
            <a:ext cx="23876" cy="85216"/>
          </a:xfrm>
          <a:custGeom>
            <a:avLst/>
            <a:gdLst/>
            <a:ahLst/>
            <a:cxnLst/>
            <a:rect l="l" t="t" r="r" b="b"/>
            <a:pathLst>
              <a:path w="23876" h="85216">
                <a:moveTo>
                  <a:pt x="19304" y="80645"/>
                </a:moveTo>
                <a:lnTo>
                  <a:pt x="19304" y="28702"/>
                </a:lnTo>
                <a:lnTo>
                  <a:pt x="4572" y="28702"/>
                </a:lnTo>
                <a:lnTo>
                  <a:pt x="4572" y="4572"/>
                </a:lnTo>
                <a:lnTo>
                  <a:pt x="19304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16" name="object 116"/>
          <p:cNvSpPr/>
          <p:nvPr/>
        </p:nvSpPr>
        <p:spPr>
          <a:xfrm>
            <a:off x="6404158" y="2525380"/>
            <a:ext cx="876173" cy="104393"/>
          </a:xfrm>
          <a:custGeom>
            <a:avLst/>
            <a:gdLst/>
            <a:ahLst/>
            <a:cxnLst/>
            <a:rect l="l" t="t" r="r" b="b"/>
            <a:pathLst>
              <a:path w="876173" h="104393">
                <a:moveTo>
                  <a:pt x="478790" y="40894"/>
                </a:moveTo>
                <a:moveTo>
                  <a:pt x="871601" y="99822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17" name="object 117"/>
          <p:cNvSpPr/>
          <p:nvPr/>
        </p:nvSpPr>
        <p:spPr>
          <a:xfrm>
            <a:off x="6404102" y="2525380"/>
            <a:ext cx="52832" cy="9143"/>
          </a:xfrm>
          <a:custGeom>
            <a:avLst/>
            <a:gdLst/>
            <a:ahLst/>
            <a:cxnLst/>
            <a:rect l="l" t="t" r="r" b="b"/>
            <a:pathLst>
              <a:path w="52832" h="9143">
                <a:moveTo>
                  <a:pt x="4572" y="4572"/>
                </a:moveTo>
                <a:lnTo>
                  <a:pt x="48260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18" name="object 118"/>
          <p:cNvSpPr/>
          <p:nvPr/>
        </p:nvSpPr>
        <p:spPr>
          <a:xfrm>
            <a:off x="6447790" y="2525268"/>
            <a:ext cx="63626" cy="156590"/>
          </a:xfrm>
          <a:custGeom>
            <a:avLst/>
            <a:gdLst/>
            <a:ahLst/>
            <a:cxnLst/>
            <a:rect l="l" t="t" r="r" b="b"/>
            <a:pathLst>
              <a:path w="63626" h="156590">
                <a:moveTo>
                  <a:pt x="4572" y="4572"/>
                </a:moveTo>
                <a:lnTo>
                  <a:pt x="59054" y="152019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19" name="object 119"/>
          <p:cNvSpPr/>
          <p:nvPr/>
        </p:nvSpPr>
        <p:spPr>
          <a:xfrm>
            <a:off x="6463030" y="2672827"/>
            <a:ext cx="48386" cy="9143"/>
          </a:xfrm>
          <a:custGeom>
            <a:avLst/>
            <a:gdLst/>
            <a:ahLst/>
            <a:cxnLst/>
            <a:rect l="l" t="t" r="r" b="b"/>
            <a:pathLst>
              <a:path w="48386" h="9143">
                <a:moveTo>
                  <a:pt x="43814" y="4572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20" name="object 120"/>
          <p:cNvSpPr/>
          <p:nvPr/>
        </p:nvSpPr>
        <p:spPr>
          <a:xfrm>
            <a:off x="6452747" y="2642870"/>
            <a:ext cx="19430" cy="38988"/>
          </a:xfrm>
          <a:custGeom>
            <a:avLst/>
            <a:gdLst/>
            <a:ahLst/>
            <a:cxnLst/>
            <a:rect l="l" t="t" r="r" b="b"/>
            <a:pathLst>
              <a:path w="19430" h="38988">
                <a:moveTo>
                  <a:pt x="14859" y="34417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21" name="object 121"/>
          <p:cNvSpPr/>
          <p:nvPr/>
        </p:nvSpPr>
        <p:spPr>
          <a:xfrm>
            <a:off x="6398316" y="2642982"/>
            <a:ext cx="63627" cy="9143"/>
          </a:xfrm>
          <a:custGeom>
            <a:avLst/>
            <a:gdLst/>
            <a:ahLst/>
            <a:cxnLst/>
            <a:rect l="l" t="t" r="r" b="b"/>
            <a:pathLst>
              <a:path w="63627" h="9143">
                <a:moveTo>
                  <a:pt x="59055" y="4572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22" name="object 122"/>
          <p:cNvSpPr/>
          <p:nvPr/>
        </p:nvSpPr>
        <p:spPr>
          <a:xfrm>
            <a:off x="6387973" y="2642870"/>
            <a:ext cx="19430" cy="38988"/>
          </a:xfrm>
          <a:custGeom>
            <a:avLst/>
            <a:gdLst/>
            <a:ahLst/>
            <a:cxnLst/>
            <a:rect l="l" t="t" r="r" b="b"/>
            <a:pathLst>
              <a:path w="19430" h="38988">
                <a:moveTo>
                  <a:pt x="14859" y="4572"/>
                </a:moveTo>
                <a:lnTo>
                  <a:pt x="4572" y="34417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23" name="object 123"/>
          <p:cNvSpPr/>
          <p:nvPr/>
        </p:nvSpPr>
        <p:spPr>
          <a:xfrm>
            <a:off x="6349619" y="2672827"/>
            <a:ext cx="47498" cy="9143"/>
          </a:xfrm>
          <a:custGeom>
            <a:avLst/>
            <a:gdLst/>
            <a:ahLst/>
            <a:cxnLst/>
            <a:rect l="l" t="t" r="r" b="b"/>
            <a:pathLst>
              <a:path w="47498" h="9143">
                <a:moveTo>
                  <a:pt x="42926" y="4572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24" name="object 124"/>
          <p:cNvSpPr/>
          <p:nvPr/>
        </p:nvSpPr>
        <p:spPr>
          <a:xfrm>
            <a:off x="6349675" y="2518664"/>
            <a:ext cx="1298447" cy="163194"/>
          </a:xfrm>
          <a:custGeom>
            <a:avLst/>
            <a:gdLst/>
            <a:ahLst/>
            <a:cxnLst/>
            <a:rect l="l" t="t" r="r" b="b"/>
            <a:pathLst>
              <a:path w="1298447" h="163194">
                <a:moveTo>
                  <a:pt x="4572" y="158623"/>
                </a:moveTo>
                <a:moveTo>
                  <a:pt x="926084" y="106426"/>
                </a:moveTo>
                <a:moveTo>
                  <a:pt x="1293875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25" name="object 125"/>
          <p:cNvSpPr/>
          <p:nvPr/>
        </p:nvSpPr>
        <p:spPr>
          <a:xfrm>
            <a:off x="7638923" y="2518664"/>
            <a:ext cx="44830" cy="163194"/>
          </a:xfrm>
          <a:custGeom>
            <a:avLst/>
            <a:gdLst/>
            <a:ahLst/>
            <a:cxnLst/>
            <a:rect l="l" t="t" r="r" b="b"/>
            <a:pathLst>
              <a:path w="44830" h="163194">
                <a:moveTo>
                  <a:pt x="4571" y="4572"/>
                </a:moveTo>
                <a:lnTo>
                  <a:pt x="40258" y="4572"/>
                </a:lnTo>
                <a:lnTo>
                  <a:pt x="40258" y="158623"/>
                </a:lnTo>
                <a:lnTo>
                  <a:pt x="4571" y="158623"/>
                </a:lnTo>
                <a:lnTo>
                  <a:pt x="4571" y="147066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26" name="object 126"/>
          <p:cNvSpPr/>
          <p:nvPr/>
        </p:nvSpPr>
        <p:spPr>
          <a:xfrm>
            <a:off x="6807637" y="2518664"/>
            <a:ext cx="840485" cy="166242"/>
          </a:xfrm>
          <a:custGeom>
            <a:avLst/>
            <a:gdLst/>
            <a:ahLst/>
            <a:cxnLst/>
            <a:rect l="l" t="t" r="r" b="b"/>
            <a:pathLst>
              <a:path w="840485" h="166242">
                <a:moveTo>
                  <a:pt x="835913" y="147066"/>
                </a:moveTo>
                <a:cubicBezTo>
                  <a:pt x="829818" y="152019"/>
                  <a:pt x="823975" y="155701"/>
                  <a:pt x="818642" y="158114"/>
                </a:cubicBezTo>
                <a:cubicBezTo>
                  <a:pt x="813308" y="160528"/>
                  <a:pt x="807212" y="161670"/>
                  <a:pt x="800226" y="161670"/>
                </a:cubicBezTo>
                <a:cubicBezTo>
                  <a:pt x="786765" y="161670"/>
                  <a:pt x="775843" y="156464"/>
                  <a:pt x="767842" y="146050"/>
                </a:cubicBezTo>
                <a:cubicBezTo>
                  <a:pt x="759713" y="135636"/>
                  <a:pt x="755650" y="121539"/>
                  <a:pt x="755650" y="103886"/>
                </a:cubicBezTo>
                <a:cubicBezTo>
                  <a:pt x="755650" y="94488"/>
                  <a:pt x="757047" y="86106"/>
                  <a:pt x="759713" y="78740"/>
                </a:cubicBezTo>
                <a:cubicBezTo>
                  <a:pt x="762508" y="71501"/>
                  <a:pt x="766191" y="65278"/>
                  <a:pt x="770890" y="60071"/>
                </a:cubicBezTo>
                <a:cubicBezTo>
                  <a:pt x="775462" y="55118"/>
                  <a:pt x="780923" y="51181"/>
                  <a:pt x="787273" y="48514"/>
                </a:cubicBezTo>
                <a:cubicBezTo>
                  <a:pt x="793623" y="45720"/>
                  <a:pt x="800100" y="44450"/>
                  <a:pt x="806450" y="44450"/>
                </a:cubicBezTo>
                <a:cubicBezTo>
                  <a:pt x="813054" y="44450"/>
                  <a:pt x="818515" y="45085"/>
                  <a:pt x="822833" y="46482"/>
                </a:cubicBezTo>
                <a:cubicBezTo>
                  <a:pt x="827024" y="47879"/>
                  <a:pt x="831469" y="49784"/>
                  <a:pt x="835913" y="51943"/>
                </a:cubicBezTo>
                <a:moveTo>
                  <a:pt x="468122" y="106426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27" name="object 127"/>
          <p:cNvSpPr/>
          <p:nvPr/>
        </p:nvSpPr>
        <p:spPr>
          <a:xfrm>
            <a:off x="6807637" y="2518664"/>
            <a:ext cx="44957" cy="163194"/>
          </a:xfrm>
          <a:custGeom>
            <a:avLst/>
            <a:gdLst/>
            <a:ahLst/>
            <a:cxnLst/>
            <a:rect l="l" t="t" r="r" b="b"/>
            <a:pathLst>
              <a:path w="44957" h="163194">
                <a:moveTo>
                  <a:pt x="4572" y="4572"/>
                </a:moveTo>
                <a:lnTo>
                  <a:pt x="40386" y="4572"/>
                </a:lnTo>
                <a:lnTo>
                  <a:pt x="40386" y="158623"/>
                </a:lnTo>
                <a:lnTo>
                  <a:pt x="4572" y="15862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28" name="object 128"/>
          <p:cNvSpPr/>
          <p:nvPr/>
        </p:nvSpPr>
        <p:spPr>
          <a:xfrm>
            <a:off x="6593459" y="2518664"/>
            <a:ext cx="686815" cy="163194"/>
          </a:xfrm>
          <a:custGeom>
            <a:avLst/>
            <a:gdLst/>
            <a:ahLst/>
            <a:cxnLst/>
            <a:rect l="l" t="t" r="r" b="b"/>
            <a:pathLst>
              <a:path w="686815" h="163194">
                <a:moveTo>
                  <a:pt x="218694" y="158623"/>
                </a:moveTo>
                <a:moveTo>
                  <a:pt x="682244" y="106426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29" name="object 129"/>
          <p:cNvSpPr/>
          <p:nvPr/>
        </p:nvSpPr>
        <p:spPr>
          <a:xfrm>
            <a:off x="6593459" y="2518664"/>
            <a:ext cx="44830" cy="163194"/>
          </a:xfrm>
          <a:custGeom>
            <a:avLst/>
            <a:gdLst/>
            <a:ahLst/>
            <a:cxnLst/>
            <a:rect l="l" t="t" r="r" b="b"/>
            <a:pathLst>
              <a:path w="44830" h="163194">
                <a:moveTo>
                  <a:pt x="4572" y="4572"/>
                </a:moveTo>
                <a:lnTo>
                  <a:pt x="40259" y="4572"/>
                </a:lnTo>
                <a:lnTo>
                  <a:pt x="40259" y="158623"/>
                </a:lnTo>
                <a:lnTo>
                  <a:pt x="4572" y="158623"/>
                </a:lnTo>
                <a:lnTo>
                  <a:pt x="4572" y="147066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30" name="object 130"/>
          <p:cNvSpPr/>
          <p:nvPr/>
        </p:nvSpPr>
        <p:spPr>
          <a:xfrm>
            <a:off x="6513197" y="2558542"/>
            <a:ext cx="767079" cy="126364"/>
          </a:xfrm>
          <a:custGeom>
            <a:avLst/>
            <a:gdLst/>
            <a:ahLst/>
            <a:cxnLst/>
            <a:rect l="l" t="t" r="r" b="b"/>
            <a:pathLst>
              <a:path w="767079" h="126364">
                <a:moveTo>
                  <a:pt x="84836" y="107188"/>
                </a:moveTo>
                <a:cubicBezTo>
                  <a:pt x="78740" y="112141"/>
                  <a:pt x="72898" y="115823"/>
                  <a:pt x="67564" y="118236"/>
                </a:cubicBezTo>
                <a:cubicBezTo>
                  <a:pt x="62230" y="120650"/>
                  <a:pt x="56134" y="121792"/>
                  <a:pt x="49148" y="121792"/>
                </a:cubicBezTo>
                <a:cubicBezTo>
                  <a:pt x="35686" y="121792"/>
                  <a:pt x="24765" y="116586"/>
                  <a:pt x="16764" y="106172"/>
                </a:cubicBezTo>
                <a:cubicBezTo>
                  <a:pt x="8636" y="95758"/>
                  <a:pt x="4572" y="81661"/>
                  <a:pt x="4572" y="64008"/>
                </a:cubicBezTo>
                <a:cubicBezTo>
                  <a:pt x="4572" y="54610"/>
                  <a:pt x="5969" y="46228"/>
                  <a:pt x="8636" y="38862"/>
                </a:cubicBezTo>
                <a:cubicBezTo>
                  <a:pt x="11430" y="31623"/>
                  <a:pt x="15112" y="25400"/>
                  <a:pt x="19811" y="20193"/>
                </a:cubicBezTo>
                <a:cubicBezTo>
                  <a:pt x="24384" y="15240"/>
                  <a:pt x="29845" y="11303"/>
                  <a:pt x="36195" y="8636"/>
                </a:cubicBezTo>
                <a:cubicBezTo>
                  <a:pt x="42545" y="5842"/>
                  <a:pt x="49022" y="4572"/>
                  <a:pt x="55372" y="4572"/>
                </a:cubicBezTo>
                <a:cubicBezTo>
                  <a:pt x="61976" y="4572"/>
                  <a:pt x="67436" y="5207"/>
                  <a:pt x="71755" y="6604"/>
                </a:cubicBezTo>
                <a:cubicBezTo>
                  <a:pt x="75946" y="8001"/>
                  <a:pt x="80391" y="9906"/>
                  <a:pt x="84836" y="12065"/>
                </a:cubicBezTo>
                <a:moveTo>
                  <a:pt x="762508" y="66548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31" name="object 131"/>
          <p:cNvSpPr/>
          <p:nvPr/>
        </p:nvSpPr>
        <p:spPr>
          <a:xfrm>
            <a:off x="7779385" y="2523348"/>
            <a:ext cx="251206" cy="157479"/>
          </a:xfrm>
          <a:custGeom>
            <a:avLst/>
            <a:gdLst/>
            <a:ahLst/>
            <a:cxnLst/>
            <a:rect l="l" t="t" r="r" b="b"/>
            <a:pathLst>
              <a:path w="251206" h="157479">
                <a:moveTo>
                  <a:pt x="60959" y="64262"/>
                </a:moveTo>
                <a:cubicBezTo>
                  <a:pt x="57531" y="64262"/>
                  <a:pt x="54483" y="64770"/>
                  <a:pt x="51689" y="65659"/>
                </a:cubicBezTo>
                <a:cubicBezTo>
                  <a:pt x="49021" y="66548"/>
                  <a:pt x="46482" y="68453"/>
                  <a:pt x="44069" y="71247"/>
                </a:cubicBezTo>
                <a:cubicBezTo>
                  <a:pt x="41909" y="73787"/>
                  <a:pt x="40132" y="77343"/>
                  <a:pt x="38862" y="81788"/>
                </a:cubicBezTo>
                <a:cubicBezTo>
                  <a:pt x="37592" y="86233"/>
                  <a:pt x="36957" y="91948"/>
                  <a:pt x="36957" y="98679"/>
                </a:cubicBezTo>
                <a:cubicBezTo>
                  <a:pt x="36957" y="104775"/>
                  <a:pt x="37465" y="109982"/>
                  <a:pt x="38608" y="114554"/>
                </a:cubicBezTo>
                <a:cubicBezTo>
                  <a:pt x="39751" y="118999"/>
                  <a:pt x="41402" y="122555"/>
                  <a:pt x="43561" y="125222"/>
                </a:cubicBezTo>
                <a:cubicBezTo>
                  <a:pt x="45720" y="127762"/>
                  <a:pt x="48259" y="129667"/>
                  <a:pt x="51181" y="130810"/>
                </a:cubicBezTo>
                <a:cubicBezTo>
                  <a:pt x="54102" y="132080"/>
                  <a:pt x="57404" y="132715"/>
                  <a:pt x="61214" y="132715"/>
                </a:cubicBezTo>
                <a:cubicBezTo>
                  <a:pt x="64389" y="132715"/>
                  <a:pt x="67564" y="132080"/>
                  <a:pt x="70484" y="131064"/>
                </a:cubicBezTo>
                <a:cubicBezTo>
                  <a:pt x="73406" y="129921"/>
                  <a:pt x="75819" y="128143"/>
                  <a:pt x="77978" y="125476"/>
                </a:cubicBezTo>
                <a:cubicBezTo>
                  <a:pt x="80264" y="122682"/>
                  <a:pt x="81915" y="119253"/>
                  <a:pt x="83184" y="115316"/>
                </a:cubicBezTo>
                <a:cubicBezTo>
                  <a:pt x="84328" y="111252"/>
                  <a:pt x="84836" y="105791"/>
                  <a:pt x="84836" y="98679"/>
                </a:cubicBezTo>
                <a:cubicBezTo>
                  <a:pt x="84836" y="92202"/>
                  <a:pt x="84201" y="86741"/>
                  <a:pt x="83058" y="82296"/>
                </a:cubicBezTo>
                <a:cubicBezTo>
                  <a:pt x="81915" y="77851"/>
                  <a:pt x="80264" y="74295"/>
                  <a:pt x="78105" y="71628"/>
                </a:cubicBezTo>
                <a:cubicBezTo>
                  <a:pt x="76072" y="68961"/>
                  <a:pt x="73533" y="67056"/>
                  <a:pt x="70484" y="65913"/>
                </a:cubicBezTo>
                <a:cubicBezTo>
                  <a:pt x="67564" y="64770"/>
                  <a:pt x="64389" y="64262"/>
                  <a:pt x="60959" y="64262"/>
                </a:cubicBezTo>
                <a:close/>
                <a:moveTo>
                  <a:pt x="146812" y="42926"/>
                </a:moveTo>
                <a:lnTo>
                  <a:pt x="182626" y="42926"/>
                </a:lnTo>
                <a:lnTo>
                  <a:pt x="182626" y="154051"/>
                </a:lnTo>
                <a:lnTo>
                  <a:pt x="146812" y="154051"/>
                </a:lnTo>
                <a:close/>
                <a:moveTo>
                  <a:pt x="60959" y="39370"/>
                </a:moveTo>
                <a:cubicBezTo>
                  <a:pt x="80264" y="39370"/>
                  <a:pt x="95250" y="44704"/>
                  <a:pt x="105918" y="55245"/>
                </a:cubicBezTo>
                <a:cubicBezTo>
                  <a:pt x="116458" y="65786"/>
                  <a:pt x="121793" y="80264"/>
                  <a:pt x="121793" y="98552"/>
                </a:cubicBezTo>
                <a:cubicBezTo>
                  <a:pt x="121793" y="116840"/>
                  <a:pt x="116458" y="131191"/>
                  <a:pt x="105791" y="141732"/>
                </a:cubicBezTo>
                <a:cubicBezTo>
                  <a:pt x="95122" y="152273"/>
                  <a:pt x="80137" y="157479"/>
                  <a:pt x="60959" y="157479"/>
                </a:cubicBezTo>
                <a:cubicBezTo>
                  <a:pt x="41656" y="157479"/>
                  <a:pt x="26670" y="152273"/>
                  <a:pt x="16002" y="141732"/>
                </a:cubicBezTo>
                <a:cubicBezTo>
                  <a:pt x="5333" y="131191"/>
                  <a:pt x="0" y="116840"/>
                  <a:pt x="0" y="98552"/>
                </a:cubicBezTo>
                <a:cubicBezTo>
                  <a:pt x="0" y="80137"/>
                  <a:pt x="5333" y="65659"/>
                  <a:pt x="16129" y="55118"/>
                </a:cubicBezTo>
                <a:cubicBezTo>
                  <a:pt x="26796" y="44704"/>
                  <a:pt x="41783" y="39370"/>
                  <a:pt x="60959" y="39370"/>
                </a:cubicBezTo>
                <a:close/>
                <a:moveTo>
                  <a:pt x="215392" y="0"/>
                </a:moveTo>
                <a:lnTo>
                  <a:pt x="251206" y="0"/>
                </a:lnTo>
                <a:lnTo>
                  <a:pt x="251206" y="154051"/>
                </a:lnTo>
                <a:lnTo>
                  <a:pt x="215392" y="154051"/>
                </a:lnTo>
                <a:close/>
                <a:moveTo>
                  <a:pt x="145796" y="0"/>
                </a:moveTo>
                <a:lnTo>
                  <a:pt x="183515" y="0"/>
                </a:lnTo>
                <a:lnTo>
                  <a:pt x="183515" y="27051"/>
                </a:lnTo>
                <a:lnTo>
                  <a:pt x="145796" y="2705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32" name="object 132"/>
          <p:cNvSpPr/>
          <p:nvPr/>
        </p:nvSpPr>
        <p:spPr>
          <a:xfrm>
            <a:off x="7835829" y="2583038"/>
            <a:ext cx="9143" cy="9143"/>
          </a:xfrm>
          <a:custGeom>
            <a:avLst/>
            <a:gdLst/>
            <a:ahLst/>
            <a:cxnLst/>
            <a:rect l="l" t="t" r="r" b="b"/>
            <a:pathLst>
              <a:path w="9143" h="9143">
                <a:moveTo>
                  <a:pt x="4571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33" name="object 133"/>
          <p:cNvSpPr/>
          <p:nvPr/>
        </p:nvSpPr>
        <p:spPr>
          <a:xfrm>
            <a:off x="7811770" y="2583038"/>
            <a:ext cx="57022" cy="77597"/>
          </a:xfrm>
          <a:custGeom>
            <a:avLst/>
            <a:gdLst/>
            <a:ahLst/>
            <a:cxnLst/>
            <a:rect l="l" t="t" r="r" b="b"/>
            <a:pathLst>
              <a:path w="57022" h="77597">
                <a:moveTo>
                  <a:pt x="28574" y="4572"/>
                </a:moveTo>
                <a:cubicBezTo>
                  <a:pt x="25146" y="4572"/>
                  <a:pt x="22098" y="5080"/>
                  <a:pt x="19304" y="5969"/>
                </a:cubicBezTo>
                <a:cubicBezTo>
                  <a:pt x="16636" y="6858"/>
                  <a:pt x="14097" y="8763"/>
                  <a:pt x="11684" y="11557"/>
                </a:cubicBezTo>
                <a:cubicBezTo>
                  <a:pt x="9524" y="14097"/>
                  <a:pt x="7747" y="17653"/>
                  <a:pt x="6477" y="22098"/>
                </a:cubicBezTo>
                <a:cubicBezTo>
                  <a:pt x="5207" y="26543"/>
                  <a:pt x="4572" y="32258"/>
                  <a:pt x="4572" y="38989"/>
                </a:cubicBezTo>
                <a:cubicBezTo>
                  <a:pt x="4572" y="45085"/>
                  <a:pt x="5080" y="50292"/>
                  <a:pt x="6223" y="54864"/>
                </a:cubicBezTo>
                <a:cubicBezTo>
                  <a:pt x="7366" y="59309"/>
                  <a:pt x="9017" y="62865"/>
                  <a:pt x="11176" y="65532"/>
                </a:cubicBezTo>
                <a:cubicBezTo>
                  <a:pt x="13335" y="68072"/>
                  <a:pt x="15874" y="69977"/>
                  <a:pt x="18796" y="71120"/>
                </a:cubicBezTo>
                <a:cubicBezTo>
                  <a:pt x="21717" y="72390"/>
                  <a:pt x="25019" y="73025"/>
                  <a:pt x="28829" y="73025"/>
                </a:cubicBezTo>
                <a:cubicBezTo>
                  <a:pt x="32004" y="73025"/>
                  <a:pt x="35179" y="72390"/>
                  <a:pt x="38099" y="71374"/>
                </a:cubicBezTo>
                <a:cubicBezTo>
                  <a:pt x="41021" y="70231"/>
                  <a:pt x="43434" y="68453"/>
                  <a:pt x="45593" y="65786"/>
                </a:cubicBezTo>
                <a:cubicBezTo>
                  <a:pt x="47879" y="62992"/>
                  <a:pt x="49530" y="59563"/>
                  <a:pt x="50799" y="55626"/>
                </a:cubicBezTo>
                <a:cubicBezTo>
                  <a:pt x="51943" y="51562"/>
                  <a:pt x="52451" y="46101"/>
                  <a:pt x="52451" y="38989"/>
                </a:cubicBezTo>
                <a:cubicBezTo>
                  <a:pt x="52451" y="32512"/>
                  <a:pt x="51816" y="27051"/>
                  <a:pt x="50673" y="22606"/>
                </a:cubicBezTo>
                <a:cubicBezTo>
                  <a:pt x="49530" y="18161"/>
                  <a:pt x="47879" y="14605"/>
                  <a:pt x="45720" y="11938"/>
                </a:cubicBezTo>
                <a:cubicBezTo>
                  <a:pt x="43687" y="9271"/>
                  <a:pt x="41148" y="7366"/>
                  <a:pt x="38099" y="6223"/>
                </a:cubicBezTo>
                <a:cubicBezTo>
                  <a:pt x="35179" y="5080"/>
                  <a:pt x="32004" y="4572"/>
                  <a:pt x="28574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34" name="object 134"/>
          <p:cNvSpPr/>
          <p:nvPr/>
        </p:nvSpPr>
        <p:spPr>
          <a:xfrm>
            <a:off x="7835780" y="2561590"/>
            <a:ext cx="130809" cy="120268"/>
          </a:xfrm>
          <a:custGeom>
            <a:avLst/>
            <a:gdLst/>
            <a:ahLst/>
            <a:cxnLst/>
            <a:rect l="l" t="t" r="r" b="b"/>
            <a:pathLst>
              <a:path w="130809" h="120268">
                <a:moveTo>
                  <a:pt x="4571" y="25908"/>
                </a:moveTo>
                <a:moveTo>
                  <a:pt x="4571" y="25908"/>
                </a:moveTo>
                <a:moveTo>
                  <a:pt x="90424" y="4572"/>
                </a:moveTo>
                <a:lnTo>
                  <a:pt x="126238" y="4572"/>
                </a:lnTo>
                <a:lnTo>
                  <a:pt x="126238" y="115697"/>
                </a:lnTo>
                <a:lnTo>
                  <a:pt x="90424" y="115697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35" name="object 135"/>
          <p:cNvSpPr/>
          <p:nvPr/>
        </p:nvSpPr>
        <p:spPr>
          <a:xfrm>
            <a:off x="7774869" y="2558146"/>
            <a:ext cx="155955" cy="127253"/>
          </a:xfrm>
          <a:custGeom>
            <a:avLst/>
            <a:gdLst/>
            <a:ahLst/>
            <a:cxnLst/>
            <a:rect l="l" t="t" r="r" b="b"/>
            <a:pathLst>
              <a:path w="155955" h="127253">
                <a:moveTo>
                  <a:pt x="151384" y="119253"/>
                </a:moveTo>
                <a:moveTo>
                  <a:pt x="65531" y="29464"/>
                </a:moveTo>
                <a:moveTo>
                  <a:pt x="65531" y="4572"/>
                </a:moveTo>
                <a:cubicBezTo>
                  <a:pt x="84836" y="4572"/>
                  <a:pt x="99822" y="9906"/>
                  <a:pt x="110490" y="20447"/>
                </a:cubicBezTo>
                <a:cubicBezTo>
                  <a:pt x="121030" y="30988"/>
                  <a:pt x="126365" y="45466"/>
                  <a:pt x="126365" y="63754"/>
                </a:cubicBezTo>
                <a:cubicBezTo>
                  <a:pt x="126365" y="82042"/>
                  <a:pt x="121030" y="96393"/>
                  <a:pt x="110363" y="106934"/>
                </a:cubicBezTo>
                <a:cubicBezTo>
                  <a:pt x="99694" y="117475"/>
                  <a:pt x="84709" y="122681"/>
                  <a:pt x="65531" y="122681"/>
                </a:cubicBezTo>
                <a:cubicBezTo>
                  <a:pt x="46228" y="122681"/>
                  <a:pt x="31242" y="117475"/>
                  <a:pt x="20574" y="106934"/>
                </a:cubicBezTo>
                <a:cubicBezTo>
                  <a:pt x="9905" y="96393"/>
                  <a:pt x="4572" y="82042"/>
                  <a:pt x="4572" y="63754"/>
                </a:cubicBezTo>
                <a:cubicBezTo>
                  <a:pt x="4572" y="45339"/>
                  <a:pt x="9905" y="30861"/>
                  <a:pt x="20701" y="20320"/>
                </a:cubicBezTo>
                <a:cubicBezTo>
                  <a:pt x="31368" y="9906"/>
                  <a:pt x="46355" y="4572"/>
                  <a:pt x="65531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36" name="object 136"/>
          <p:cNvSpPr/>
          <p:nvPr/>
        </p:nvSpPr>
        <p:spPr>
          <a:xfrm>
            <a:off x="7835773" y="2518664"/>
            <a:ext cx="199390" cy="163194"/>
          </a:xfrm>
          <a:custGeom>
            <a:avLst/>
            <a:gdLst/>
            <a:ahLst/>
            <a:cxnLst/>
            <a:rect l="l" t="t" r="r" b="b"/>
            <a:pathLst>
              <a:path w="199390" h="163194">
                <a:moveTo>
                  <a:pt x="4571" y="43942"/>
                </a:moveTo>
                <a:moveTo>
                  <a:pt x="4571" y="68834"/>
                </a:moveTo>
                <a:moveTo>
                  <a:pt x="159004" y="4572"/>
                </a:moveTo>
                <a:lnTo>
                  <a:pt x="194818" y="4572"/>
                </a:lnTo>
                <a:lnTo>
                  <a:pt x="194818" y="158623"/>
                </a:lnTo>
                <a:lnTo>
                  <a:pt x="159004" y="15862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37" name="object 137"/>
          <p:cNvSpPr/>
          <p:nvPr/>
        </p:nvSpPr>
        <p:spPr>
          <a:xfrm>
            <a:off x="7835773" y="2518664"/>
            <a:ext cx="163576" cy="163194"/>
          </a:xfrm>
          <a:custGeom>
            <a:avLst/>
            <a:gdLst/>
            <a:ahLst/>
            <a:cxnLst/>
            <a:rect l="l" t="t" r="r" b="b"/>
            <a:pathLst>
              <a:path w="163576" h="163194">
                <a:moveTo>
                  <a:pt x="159004" y="158623"/>
                </a:moveTo>
                <a:moveTo>
                  <a:pt x="4571" y="68834"/>
                </a:moveTo>
                <a:moveTo>
                  <a:pt x="89408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38" name="object 138"/>
          <p:cNvSpPr/>
          <p:nvPr/>
        </p:nvSpPr>
        <p:spPr>
          <a:xfrm>
            <a:off x="7920611" y="2518776"/>
            <a:ext cx="46862" cy="36195"/>
          </a:xfrm>
          <a:custGeom>
            <a:avLst/>
            <a:gdLst/>
            <a:ahLst/>
            <a:cxnLst/>
            <a:rect l="l" t="t" r="r" b="b"/>
            <a:pathLst>
              <a:path w="46862" h="36195">
                <a:moveTo>
                  <a:pt x="4572" y="4572"/>
                </a:moveTo>
                <a:lnTo>
                  <a:pt x="42291" y="4572"/>
                </a:lnTo>
                <a:lnTo>
                  <a:pt x="42291" y="31623"/>
                </a:lnTo>
                <a:lnTo>
                  <a:pt x="4572" y="3162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39" name="object 139"/>
          <p:cNvSpPr/>
          <p:nvPr/>
        </p:nvSpPr>
        <p:spPr>
          <a:xfrm>
            <a:off x="7835773" y="2545715"/>
            <a:ext cx="93980" cy="46354"/>
          </a:xfrm>
          <a:custGeom>
            <a:avLst/>
            <a:gdLst/>
            <a:ahLst/>
            <a:cxnLst/>
            <a:rect l="l" t="t" r="r" b="b"/>
            <a:pathLst>
              <a:path w="93980" h="46354">
                <a:moveTo>
                  <a:pt x="89408" y="4572"/>
                </a:moveTo>
                <a:moveTo>
                  <a:pt x="4571" y="41783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40" name="object 140"/>
          <p:cNvSpPr/>
          <p:nvPr/>
        </p:nvSpPr>
        <p:spPr>
          <a:xfrm>
            <a:off x="6893058" y="2767076"/>
            <a:ext cx="606805" cy="194818"/>
          </a:xfrm>
          <a:custGeom>
            <a:avLst/>
            <a:gdLst/>
            <a:ahLst/>
            <a:cxnLst/>
            <a:rect l="l" t="t" r="r" b="b"/>
            <a:pathLst>
              <a:path w="606805" h="194818">
                <a:moveTo>
                  <a:pt x="358266" y="101854"/>
                </a:moveTo>
                <a:cubicBezTo>
                  <a:pt x="353441" y="102235"/>
                  <a:pt x="348234" y="102870"/>
                  <a:pt x="342646" y="103505"/>
                </a:cubicBezTo>
                <a:cubicBezTo>
                  <a:pt x="337058" y="104139"/>
                  <a:pt x="332740" y="105029"/>
                  <a:pt x="329819" y="105918"/>
                </a:cubicBezTo>
                <a:cubicBezTo>
                  <a:pt x="326263" y="107061"/>
                  <a:pt x="323596" y="108712"/>
                  <a:pt x="321691" y="110744"/>
                </a:cubicBezTo>
                <a:cubicBezTo>
                  <a:pt x="319786" y="112902"/>
                  <a:pt x="318897" y="115697"/>
                  <a:pt x="318897" y="119252"/>
                </a:cubicBezTo>
                <a:cubicBezTo>
                  <a:pt x="318897" y="121539"/>
                  <a:pt x="319151" y="123444"/>
                  <a:pt x="319532" y="124841"/>
                </a:cubicBezTo>
                <a:cubicBezTo>
                  <a:pt x="319913" y="126364"/>
                  <a:pt x="320929" y="127635"/>
                  <a:pt x="322453" y="129032"/>
                </a:cubicBezTo>
                <a:cubicBezTo>
                  <a:pt x="323977" y="130302"/>
                  <a:pt x="325754" y="131318"/>
                  <a:pt x="327914" y="131952"/>
                </a:cubicBezTo>
                <a:cubicBezTo>
                  <a:pt x="329946" y="132588"/>
                  <a:pt x="333248" y="132842"/>
                  <a:pt x="337820" y="132842"/>
                </a:cubicBezTo>
                <a:cubicBezTo>
                  <a:pt x="341376" y="132842"/>
                  <a:pt x="344932" y="132080"/>
                  <a:pt x="348615" y="130683"/>
                </a:cubicBezTo>
                <a:cubicBezTo>
                  <a:pt x="352298" y="129286"/>
                  <a:pt x="355473" y="127381"/>
                  <a:pt x="358266" y="124968"/>
                </a:cubicBezTo>
                <a:close/>
                <a:moveTo>
                  <a:pt x="205486" y="66802"/>
                </a:moveTo>
                <a:cubicBezTo>
                  <a:pt x="202184" y="66802"/>
                  <a:pt x="198754" y="67310"/>
                  <a:pt x="195199" y="68326"/>
                </a:cubicBezTo>
                <a:cubicBezTo>
                  <a:pt x="191642" y="69342"/>
                  <a:pt x="188214" y="70866"/>
                  <a:pt x="185039" y="72770"/>
                </a:cubicBezTo>
                <a:lnTo>
                  <a:pt x="185039" y="128651"/>
                </a:lnTo>
                <a:cubicBezTo>
                  <a:pt x="187325" y="129539"/>
                  <a:pt x="189865" y="130175"/>
                  <a:pt x="192532" y="130429"/>
                </a:cubicBezTo>
                <a:cubicBezTo>
                  <a:pt x="195326" y="130683"/>
                  <a:pt x="197992" y="130810"/>
                  <a:pt x="200533" y="130810"/>
                </a:cubicBezTo>
                <a:cubicBezTo>
                  <a:pt x="209930" y="130810"/>
                  <a:pt x="217042" y="128016"/>
                  <a:pt x="221615" y="122555"/>
                </a:cubicBezTo>
                <a:cubicBezTo>
                  <a:pt x="226187" y="116967"/>
                  <a:pt x="228473" y="108712"/>
                  <a:pt x="228473" y="97663"/>
                </a:cubicBezTo>
                <a:cubicBezTo>
                  <a:pt x="228473" y="86868"/>
                  <a:pt x="226695" y="78994"/>
                  <a:pt x="223012" y="74168"/>
                </a:cubicBezTo>
                <a:cubicBezTo>
                  <a:pt x="219329" y="69214"/>
                  <a:pt x="213487" y="66802"/>
                  <a:pt x="205486" y="66802"/>
                </a:cubicBezTo>
                <a:close/>
                <a:moveTo>
                  <a:pt x="426592" y="42926"/>
                </a:moveTo>
                <a:lnTo>
                  <a:pt x="462407" y="42926"/>
                </a:lnTo>
                <a:lnTo>
                  <a:pt x="462407" y="154051"/>
                </a:lnTo>
                <a:lnTo>
                  <a:pt x="426592" y="154051"/>
                </a:lnTo>
                <a:close/>
                <a:moveTo>
                  <a:pt x="568579" y="39877"/>
                </a:moveTo>
                <a:cubicBezTo>
                  <a:pt x="580516" y="39877"/>
                  <a:pt x="589915" y="43307"/>
                  <a:pt x="596646" y="50292"/>
                </a:cubicBezTo>
                <a:cubicBezTo>
                  <a:pt x="603504" y="57277"/>
                  <a:pt x="606805" y="67818"/>
                  <a:pt x="606805" y="81661"/>
                </a:cubicBezTo>
                <a:lnTo>
                  <a:pt x="606805" y="154051"/>
                </a:lnTo>
                <a:lnTo>
                  <a:pt x="571119" y="154051"/>
                </a:lnTo>
                <a:lnTo>
                  <a:pt x="571119" y="98933"/>
                </a:lnTo>
                <a:cubicBezTo>
                  <a:pt x="571119" y="94361"/>
                  <a:pt x="570865" y="89916"/>
                  <a:pt x="570357" y="85470"/>
                </a:cubicBezTo>
                <a:cubicBezTo>
                  <a:pt x="569976" y="81026"/>
                  <a:pt x="569214" y="77724"/>
                  <a:pt x="568071" y="75692"/>
                </a:cubicBezTo>
                <a:cubicBezTo>
                  <a:pt x="566674" y="73152"/>
                  <a:pt x="564769" y="71374"/>
                  <a:pt x="562229" y="70358"/>
                </a:cubicBezTo>
                <a:cubicBezTo>
                  <a:pt x="559689" y="69214"/>
                  <a:pt x="556133" y="68580"/>
                  <a:pt x="551561" y="68580"/>
                </a:cubicBezTo>
                <a:cubicBezTo>
                  <a:pt x="548386" y="68580"/>
                  <a:pt x="545084" y="69088"/>
                  <a:pt x="541782" y="70231"/>
                </a:cubicBezTo>
                <a:cubicBezTo>
                  <a:pt x="538479" y="71247"/>
                  <a:pt x="534797" y="72898"/>
                  <a:pt x="530987" y="75311"/>
                </a:cubicBezTo>
                <a:lnTo>
                  <a:pt x="530987" y="154051"/>
                </a:lnTo>
                <a:lnTo>
                  <a:pt x="495173" y="154051"/>
                </a:lnTo>
                <a:lnTo>
                  <a:pt x="495173" y="42926"/>
                </a:lnTo>
                <a:lnTo>
                  <a:pt x="530987" y="42926"/>
                </a:lnTo>
                <a:lnTo>
                  <a:pt x="530987" y="55118"/>
                </a:lnTo>
                <a:cubicBezTo>
                  <a:pt x="537210" y="50164"/>
                  <a:pt x="543305" y="46355"/>
                  <a:pt x="549148" y="43814"/>
                </a:cubicBezTo>
                <a:cubicBezTo>
                  <a:pt x="554990" y="41148"/>
                  <a:pt x="561466" y="39877"/>
                  <a:pt x="568579" y="39877"/>
                </a:cubicBezTo>
                <a:close/>
                <a:moveTo>
                  <a:pt x="221488" y="39877"/>
                </a:moveTo>
                <a:cubicBezTo>
                  <a:pt x="235330" y="39877"/>
                  <a:pt x="245999" y="44958"/>
                  <a:pt x="253746" y="55118"/>
                </a:cubicBezTo>
                <a:cubicBezTo>
                  <a:pt x="261366" y="65277"/>
                  <a:pt x="265303" y="79120"/>
                  <a:pt x="265303" y="96901"/>
                </a:cubicBezTo>
                <a:cubicBezTo>
                  <a:pt x="265303" y="106045"/>
                  <a:pt x="263779" y="114427"/>
                  <a:pt x="260985" y="121920"/>
                </a:cubicBezTo>
                <a:cubicBezTo>
                  <a:pt x="258191" y="129539"/>
                  <a:pt x="254508" y="135636"/>
                  <a:pt x="250063" y="140589"/>
                </a:cubicBezTo>
                <a:cubicBezTo>
                  <a:pt x="245237" y="145669"/>
                  <a:pt x="239903" y="149606"/>
                  <a:pt x="233934" y="152273"/>
                </a:cubicBezTo>
                <a:cubicBezTo>
                  <a:pt x="227965" y="154939"/>
                  <a:pt x="221488" y="156210"/>
                  <a:pt x="214629" y="156210"/>
                </a:cubicBezTo>
                <a:cubicBezTo>
                  <a:pt x="208279" y="156210"/>
                  <a:pt x="202946" y="155575"/>
                  <a:pt x="198501" y="154177"/>
                </a:cubicBezTo>
                <a:cubicBezTo>
                  <a:pt x="194055" y="152781"/>
                  <a:pt x="189611" y="150876"/>
                  <a:pt x="185039" y="148463"/>
                </a:cubicBezTo>
                <a:lnTo>
                  <a:pt x="185039" y="194818"/>
                </a:lnTo>
                <a:lnTo>
                  <a:pt x="149225" y="194818"/>
                </a:lnTo>
                <a:lnTo>
                  <a:pt x="149225" y="42926"/>
                </a:lnTo>
                <a:lnTo>
                  <a:pt x="185039" y="42926"/>
                </a:lnTo>
                <a:lnTo>
                  <a:pt x="185039" y="54483"/>
                </a:lnTo>
                <a:cubicBezTo>
                  <a:pt x="190500" y="50164"/>
                  <a:pt x="196088" y="46608"/>
                  <a:pt x="201676" y="43814"/>
                </a:cubicBezTo>
                <a:cubicBezTo>
                  <a:pt x="207391" y="41148"/>
                  <a:pt x="213995" y="39877"/>
                  <a:pt x="221488" y="39877"/>
                </a:cubicBezTo>
                <a:close/>
                <a:moveTo>
                  <a:pt x="336169" y="39751"/>
                </a:moveTo>
                <a:cubicBezTo>
                  <a:pt x="356489" y="39751"/>
                  <a:pt x="371094" y="42799"/>
                  <a:pt x="380111" y="49022"/>
                </a:cubicBezTo>
                <a:cubicBezTo>
                  <a:pt x="389128" y="55245"/>
                  <a:pt x="393573" y="65151"/>
                  <a:pt x="393573" y="78358"/>
                </a:cubicBezTo>
                <a:lnTo>
                  <a:pt x="393573" y="154051"/>
                </a:lnTo>
                <a:lnTo>
                  <a:pt x="358266" y="154051"/>
                </a:lnTo>
                <a:lnTo>
                  <a:pt x="358266" y="142239"/>
                </a:lnTo>
                <a:cubicBezTo>
                  <a:pt x="356362" y="143764"/>
                  <a:pt x="353949" y="145414"/>
                  <a:pt x="351154" y="147447"/>
                </a:cubicBezTo>
                <a:cubicBezTo>
                  <a:pt x="348361" y="149606"/>
                  <a:pt x="345694" y="151130"/>
                  <a:pt x="343154" y="152400"/>
                </a:cubicBezTo>
                <a:cubicBezTo>
                  <a:pt x="339598" y="153924"/>
                  <a:pt x="336041" y="155067"/>
                  <a:pt x="332232" y="155829"/>
                </a:cubicBezTo>
                <a:cubicBezTo>
                  <a:pt x="328549" y="156591"/>
                  <a:pt x="324358" y="156972"/>
                  <a:pt x="319913" y="156972"/>
                </a:cubicBezTo>
                <a:cubicBezTo>
                  <a:pt x="309372" y="156972"/>
                  <a:pt x="300482" y="153797"/>
                  <a:pt x="293370" y="147193"/>
                </a:cubicBezTo>
                <a:cubicBezTo>
                  <a:pt x="286258" y="140716"/>
                  <a:pt x="282702" y="132333"/>
                  <a:pt x="282702" y="122174"/>
                </a:cubicBezTo>
                <a:cubicBezTo>
                  <a:pt x="282702" y="114045"/>
                  <a:pt x="284479" y="107442"/>
                  <a:pt x="288163" y="102235"/>
                </a:cubicBezTo>
                <a:cubicBezTo>
                  <a:pt x="291719" y="97155"/>
                  <a:pt x="296926" y="93091"/>
                  <a:pt x="303529" y="90043"/>
                </a:cubicBezTo>
                <a:cubicBezTo>
                  <a:pt x="310134" y="87122"/>
                  <a:pt x="318389" y="84963"/>
                  <a:pt x="328041" y="83820"/>
                </a:cubicBezTo>
                <a:cubicBezTo>
                  <a:pt x="337820" y="82550"/>
                  <a:pt x="347979" y="81533"/>
                  <a:pt x="358521" y="81026"/>
                </a:cubicBezTo>
                <a:lnTo>
                  <a:pt x="358521" y="80391"/>
                </a:lnTo>
                <a:cubicBezTo>
                  <a:pt x="358521" y="74295"/>
                  <a:pt x="355980" y="69977"/>
                  <a:pt x="350901" y="67691"/>
                </a:cubicBezTo>
                <a:cubicBezTo>
                  <a:pt x="345948" y="65277"/>
                  <a:pt x="338582" y="64135"/>
                  <a:pt x="328803" y="64135"/>
                </a:cubicBezTo>
                <a:cubicBezTo>
                  <a:pt x="322961" y="64135"/>
                  <a:pt x="316611" y="65151"/>
                  <a:pt x="310007" y="67310"/>
                </a:cubicBezTo>
                <a:cubicBezTo>
                  <a:pt x="303276" y="69342"/>
                  <a:pt x="298577" y="70993"/>
                  <a:pt x="295655" y="72136"/>
                </a:cubicBezTo>
                <a:lnTo>
                  <a:pt x="292354" y="72136"/>
                </a:lnTo>
                <a:lnTo>
                  <a:pt x="292354" y="45212"/>
                </a:lnTo>
                <a:cubicBezTo>
                  <a:pt x="296164" y="44323"/>
                  <a:pt x="302260" y="43052"/>
                  <a:pt x="310769" y="41783"/>
                </a:cubicBezTo>
                <a:cubicBezTo>
                  <a:pt x="319151" y="40386"/>
                  <a:pt x="327660" y="39751"/>
                  <a:pt x="336169" y="39751"/>
                </a:cubicBezTo>
                <a:close/>
                <a:moveTo>
                  <a:pt x="66802" y="3937"/>
                </a:moveTo>
                <a:cubicBezTo>
                  <a:pt x="76454" y="3937"/>
                  <a:pt x="86105" y="4952"/>
                  <a:pt x="95504" y="6858"/>
                </a:cubicBezTo>
                <a:cubicBezTo>
                  <a:pt x="105029" y="8636"/>
                  <a:pt x="113157" y="11049"/>
                  <a:pt x="120141" y="13843"/>
                </a:cubicBezTo>
                <a:lnTo>
                  <a:pt x="120141" y="47879"/>
                </a:lnTo>
                <a:lnTo>
                  <a:pt x="116078" y="47879"/>
                </a:lnTo>
                <a:cubicBezTo>
                  <a:pt x="110109" y="43052"/>
                  <a:pt x="102870" y="39116"/>
                  <a:pt x="94234" y="35941"/>
                </a:cubicBezTo>
                <a:cubicBezTo>
                  <a:pt x="85598" y="32766"/>
                  <a:pt x="76835" y="31114"/>
                  <a:pt x="67817" y="31114"/>
                </a:cubicBezTo>
                <a:cubicBezTo>
                  <a:pt x="64642" y="31114"/>
                  <a:pt x="61595" y="31369"/>
                  <a:pt x="58420" y="31750"/>
                </a:cubicBezTo>
                <a:cubicBezTo>
                  <a:pt x="55245" y="32131"/>
                  <a:pt x="52197" y="33020"/>
                  <a:pt x="49403" y="34163"/>
                </a:cubicBezTo>
                <a:cubicBezTo>
                  <a:pt x="46736" y="35179"/>
                  <a:pt x="44577" y="36702"/>
                  <a:pt x="42672" y="38735"/>
                </a:cubicBezTo>
                <a:cubicBezTo>
                  <a:pt x="40894" y="40639"/>
                  <a:pt x="39878" y="42926"/>
                  <a:pt x="39878" y="45593"/>
                </a:cubicBezTo>
                <a:cubicBezTo>
                  <a:pt x="39878" y="49402"/>
                  <a:pt x="41402" y="52451"/>
                  <a:pt x="44450" y="54483"/>
                </a:cubicBezTo>
                <a:cubicBezTo>
                  <a:pt x="47371" y="56642"/>
                  <a:pt x="52959" y="58547"/>
                  <a:pt x="61214" y="60198"/>
                </a:cubicBezTo>
                <a:cubicBezTo>
                  <a:pt x="66675" y="61341"/>
                  <a:pt x="71882" y="62357"/>
                  <a:pt x="76835" y="63500"/>
                </a:cubicBezTo>
                <a:cubicBezTo>
                  <a:pt x="81788" y="64516"/>
                  <a:pt x="87122" y="66039"/>
                  <a:pt x="92837" y="67818"/>
                </a:cubicBezTo>
                <a:cubicBezTo>
                  <a:pt x="104140" y="71501"/>
                  <a:pt x="112522" y="76581"/>
                  <a:pt x="117855" y="82931"/>
                </a:cubicBezTo>
                <a:cubicBezTo>
                  <a:pt x="123316" y="89281"/>
                  <a:pt x="125984" y="97536"/>
                  <a:pt x="125984" y="107695"/>
                </a:cubicBezTo>
                <a:cubicBezTo>
                  <a:pt x="125984" y="122174"/>
                  <a:pt x="119761" y="133985"/>
                  <a:pt x="107441" y="143129"/>
                </a:cubicBezTo>
                <a:cubicBezTo>
                  <a:pt x="95123" y="152145"/>
                  <a:pt x="78486" y="156718"/>
                  <a:pt x="57404" y="156718"/>
                </a:cubicBezTo>
                <a:cubicBezTo>
                  <a:pt x="45212" y="156718"/>
                  <a:pt x="34544" y="155575"/>
                  <a:pt x="25400" y="153543"/>
                </a:cubicBezTo>
                <a:cubicBezTo>
                  <a:pt x="16383" y="151383"/>
                  <a:pt x="7874" y="148589"/>
                  <a:pt x="0" y="145288"/>
                </a:cubicBezTo>
                <a:lnTo>
                  <a:pt x="0" y="109982"/>
                </a:lnTo>
                <a:lnTo>
                  <a:pt x="4064" y="109982"/>
                </a:lnTo>
                <a:cubicBezTo>
                  <a:pt x="11938" y="116205"/>
                  <a:pt x="20701" y="121031"/>
                  <a:pt x="30479" y="124460"/>
                </a:cubicBezTo>
                <a:cubicBezTo>
                  <a:pt x="40259" y="127762"/>
                  <a:pt x="49529" y="129539"/>
                  <a:pt x="58547" y="129539"/>
                </a:cubicBezTo>
                <a:cubicBezTo>
                  <a:pt x="60833" y="129539"/>
                  <a:pt x="63880" y="129286"/>
                  <a:pt x="67691" y="128905"/>
                </a:cubicBezTo>
                <a:cubicBezTo>
                  <a:pt x="71374" y="128524"/>
                  <a:pt x="74422" y="127889"/>
                  <a:pt x="76835" y="126873"/>
                </a:cubicBezTo>
                <a:cubicBezTo>
                  <a:pt x="79755" y="125730"/>
                  <a:pt x="82169" y="124206"/>
                  <a:pt x="84074" y="122427"/>
                </a:cubicBezTo>
                <a:cubicBezTo>
                  <a:pt x="85852" y="120650"/>
                  <a:pt x="86867" y="117983"/>
                  <a:pt x="86867" y="114554"/>
                </a:cubicBezTo>
                <a:cubicBezTo>
                  <a:pt x="86867" y="111252"/>
                  <a:pt x="85471" y="108458"/>
                  <a:pt x="82804" y="106172"/>
                </a:cubicBezTo>
                <a:cubicBezTo>
                  <a:pt x="80010" y="103886"/>
                  <a:pt x="75946" y="101981"/>
                  <a:pt x="70739" y="100838"/>
                </a:cubicBezTo>
                <a:cubicBezTo>
                  <a:pt x="65151" y="99441"/>
                  <a:pt x="59309" y="98170"/>
                  <a:pt x="53213" y="97027"/>
                </a:cubicBezTo>
                <a:cubicBezTo>
                  <a:pt x="46990" y="95885"/>
                  <a:pt x="41148" y="94488"/>
                  <a:pt x="35814" y="92710"/>
                </a:cubicBezTo>
                <a:cubicBezTo>
                  <a:pt x="23367" y="88645"/>
                  <a:pt x="14478" y="83185"/>
                  <a:pt x="9016" y="76327"/>
                </a:cubicBezTo>
                <a:cubicBezTo>
                  <a:pt x="3555" y="69342"/>
                  <a:pt x="889" y="60833"/>
                  <a:pt x="889" y="50545"/>
                </a:cubicBezTo>
                <a:cubicBezTo>
                  <a:pt x="889" y="36830"/>
                  <a:pt x="6985" y="25654"/>
                  <a:pt x="19304" y="17018"/>
                </a:cubicBezTo>
                <a:cubicBezTo>
                  <a:pt x="31623" y="8382"/>
                  <a:pt x="47371" y="3937"/>
                  <a:pt x="66802" y="3937"/>
                </a:cubicBezTo>
                <a:close/>
                <a:moveTo>
                  <a:pt x="425577" y="0"/>
                </a:moveTo>
                <a:lnTo>
                  <a:pt x="463296" y="0"/>
                </a:lnTo>
                <a:lnTo>
                  <a:pt x="463296" y="27051"/>
                </a:lnTo>
                <a:lnTo>
                  <a:pt x="425577" y="2705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41" name="object 141"/>
          <p:cNvSpPr/>
          <p:nvPr/>
        </p:nvSpPr>
        <p:spPr>
          <a:xfrm>
            <a:off x="7246788" y="2864470"/>
            <a:ext cx="9143" cy="9143"/>
          </a:xfrm>
          <a:custGeom>
            <a:avLst/>
            <a:gdLst/>
            <a:ahLst/>
            <a:cxnLst/>
            <a:rect l="l" t="t" r="r" b="b"/>
            <a:pathLst>
              <a:path w="9143" h="9143">
                <a:moveTo>
                  <a:pt x="4571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42" name="object 142"/>
          <p:cNvSpPr/>
          <p:nvPr/>
        </p:nvSpPr>
        <p:spPr>
          <a:xfrm>
            <a:off x="7207377" y="2864470"/>
            <a:ext cx="48513" cy="40131"/>
          </a:xfrm>
          <a:custGeom>
            <a:avLst/>
            <a:gdLst/>
            <a:ahLst/>
            <a:cxnLst/>
            <a:rect l="l" t="t" r="r" b="b"/>
            <a:pathLst>
              <a:path w="48513" h="40131">
                <a:moveTo>
                  <a:pt x="43941" y="4572"/>
                </a:moveTo>
                <a:cubicBezTo>
                  <a:pt x="39116" y="4953"/>
                  <a:pt x="33909" y="5588"/>
                  <a:pt x="28321" y="6223"/>
                </a:cubicBezTo>
                <a:cubicBezTo>
                  <a:pt x="22733" y="6857"/>
                  <a:pt x="18415" y="7747"/>
                  <a:pt x="15494" y="8636"/>
                </a:cubicBezTo>
                <a:cubicBezTo>
                  <a:pt x="11938" y="9779"/>
                  <a:pt x="9271" y="11430"/>
                  <a:pt x="7366" y="13462"/>
                </a:cubicBezTo>
                <a:cubicBezTo>
                  <a:pt x="5461" y="15620"/>
                  <a:pt x="4572" y="18415"/>
                  <a:pt x="4572" y="21970"/>
                </a:cubicBezTo>
                <a:cubicBezTo>
                  <a:pt x="4572" y="24257"/>
                  <a:pt x="4826" y="26162"/>
                  <a:pt x="5207" y="27559"/>
                </a:cubicBezTo>
                <a:cubicBezTo>
                  <a:pt x="5588" y="29082"/>
                  <a:pt x="6604" y="30353"/>
                  <a:pt x="8128" y="31750"/>
                </a:cubicBezTo>
                <a:cubicBezTo>
                  <a:pt x="9652" y="33020"/>
                  <a:pt x="11429" y="34036"/>
                  <a:pt x="13589" y="34670"/>
                </a:cubicBezTo>
                <a:cubicBezTo>
                  <a:pt x="15621" y="35306"/>
                  <a:pt x="18923" y="35560"/>
                  <a:pt x="23495" y="35560"/>
                </a:cubicBezTo>
                <a:cubicBezTo>
                  <a:pt x="27051" y="35560"/>
                  <a:pt x="30607" y="34798"/>
                  <a:pt x="34290" y="33401"/>
                </a:cubicBezTo>
                <a:cubicBezTo>
                  <a:pt x="37973" y="32004"/>
                  <a:pt x="41148" y="30099"/>
                  <a:pt x="43941" y="27686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43" name="object 143"/>
          <p:cNvSpPr/>
          <p:nvPr/>
        </p:nvSpPr>
        <p:spPr>
          <a:xfrm>
            <a:off x="7093966" y="2829418"/>
            <a:ext cx="161924" cy="67309"/>
          </a:xfrm>
          <a:custGeom>
            <a:avLst/>
            <a:gdLst/>
            <a:ahLst/>
            <a:cxnLst/>
            <a:rect l="l" t="t" r="r" b="b"/>
            <a:pathLst>
              <a:path w="161924" h="67309">
                <a:moveTo>
                  <a:pt x="157352" y="62738"/>
                </a:moveTo>
                <a:moveTo>
                  <a:pt x="157352" y="39624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44" name="object 144"/>
          <p:cNvSpPr/>
          <p:nvPr/>
        </p:nvSpPr>
        <p:spPr>
          <a:xfrm>
            <a:off x="7073519" y="2829306"/>
            <a:ext cx="29590" cy="15112"/>
          </a:xfrm>
          <a:custGeom>
            <a:avLst/>
            <a:gdLst/>
            <a:ahLst/>
            <a:cxnLst/>
            <a:rect l="l" t="t" r="r" b="b"/>
            <a:pathLst>
              <a:path w="29590" h="15112">
                <a:moveTo>
                  <a:pt x="25019" y="4572"/>
                </a:moveTo>
                <a:cubicBezTo>
                  <a:pt x="21717" y="4572"/>
                  <a:pt x="18287" y="5080"/>
                  <a:pt x="14732" y="6096"/>
                </a:cubicBezTo>
                <a:cubicBezTo>
                  <a:pt x="11175" y="7112"/>
                  <a:pt x="7747" y="8636"/>
                  <a:pt x="4572" y="10540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45" name="object 145"/>
          <p:cNvSpPr/>
          <p:nvPr/>
        </p:nvSpPr>
        <p:spPr>
          <a:xfrm>
            <a:off x="7073575" y="2835275"/>
            <a:ext cx="9143" cy="65024"/>
          </a:xfrm>
          <a:custGeom>
            <a:avLst/>
            <a:gdLst/>
            <a:ahLst/>
            <a:cxnLst/>
            <a:rect l="l" t="t" r="r" b="b"/>
            <a:pathLst>
              <a:path w="9143" h="65024">
                <a:moveTo>
                  <a:pt x="4572" y="4571"/>
                </a:moveTo>
                <a:lnTo>
                  <a:pt x="4572" y="6045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46" name="object 146"/>
          <p:cNvSpPr/>
          <p:nvPr/>
        </p:nvSpPr>
        <p:spPr>
          <a:xfrm>
            <a:off x="7073524" y="2805542"/>
            <a:ext cx="250697" cy="97027"/>
          </a:xfrm>
          <a:custGeom>
            <a:avLst/>
            <a:gdLst/>
            <a:ahLst/>
            <a:cxnLst/>
            <a:rect l="l" t="t" r="r" b="b"/>
            <a:pathLst>
              <a:path w="250697" h="97027">
                <a:moveTo>
                  <a:pt x="4572" y="90297"/>
                </a:moveTo>
                <a:cubicBezTo>
                  <a:pt x="6858" y="91185"/>
                  <a:pt x="9398" y="91821"/>
                  <a:pt x="12065" y="92075"/>
                </a:cubicBezTo>
                <a:cubicBezTo>
                  <a:pt x="14859" y="92329"/>
                  <a:pt x="17525" y="92456"/>
                  <a:pt x="20066" y="92456"/>
                </a:cubicBezTo>
                <a:cubicBezTo>
                  <a:pt x="29463" y="92456"/>
                  <a:pt x="36575" y="89662"/>
                  <a:pt x="41148" y="84201"/>
                </a:cubicBezTo>
                <a:cubicBezTo>
                  <a:pt x="45720" y="78613"/>
                  <a:pt x="48006" y="70358"/>
                  <a:pt x="48006" y="59309"/>
                </a:cubicBezTo>
                <a:cubicBezTo>
                  <a:pt x="48006" y="48514"/>
                  <a:pt x="46228" y="40640"/>
                  <a:pt x="42545" y="35814"/>
                </a:cubicBezTo>
                <a:cubicBezTo>
                  <a:pt x="38862" y="30860"/>
                  <a:pt x="33020" y="28448"/>
                  <a:pt x="25019" y="28448"/>
                </a:cubicBezTo>
                <a:moveTo>
                  <a:pt x="177799" y="63500"/>
                </a:moveTo>
                <a:moveTo>
                  <a:pt x="246125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47" name="object 147"/>
          <p:cNvSpPr/>
          <p:nvPr/>
        </p:nvSpPr>
        <p:spPr>
          <a:xfrm>
            <a:off x="7315101" y="2805430"/>
            <a:ext cx="44957" cy="120268"/>
          </a:xfrm>
          <a:custGeom>
            <a:avLst/>
            <a:gdLst/>
            <a:ahLst/>
            <a:cxnLst/>
            <a:rect l="l" t="t" r="r" b="b"/>
            <a:pathLst>
              <a:path w="44957" h="120268">
                <a:moveTo>
                  <a:pt x="4571" y="4572"/>
                </a:moveTo>
                <a:lnTo>
                  <a:pt x="40386" y="4572"/>
                </a:lnTo>
                <a:lnTo>
                  <a:pt x="40386" y="115697"/>
                </a:lnTo>
                <a:lnTo>
                  <a:pt x="4571" y="115697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48" name="object 148"/>
          <p:cNvSpPr/>
          <p:nvPr/>
        </p:nvSpPr>
        <p:spPr>
          <a:xfrm>
            <a:off x="7246747" y="2802494"/>
            <a:ext cx="257682" cy="123317"/>
          </a:xfrm>
          <a:custGeom>
            <a:avLst/>
            <a:gdLst/>
            <a:ahLst/>
            <a:cxnLst/>
            <a:rect l="l" t="t" r="r" b="b"/>
            <a:pathLst>
              <a:path w="257682" h="123317">
                <a:moveTo>
                  <a:pt x="72897" y="118745"/>
                </a:moveTo>
                <a:moveTo>
                  <a:pt x="4571" y="66548"/>
                </a:moveTo>
                <a:moveTo>
                  <a:pt x="214884" y="4571"/>
                </a:moveTo>
                <a:cubicBezTo>
                  <a:pt x="226821" y="4571"/>
                  <a:pt x="236220" y="8001"/>
                  <a:pt x="242951" y="14986"/>
                </a:cubicBezTo>
                <a:cubicBezTo>
                  <a:pt x="249809" y="21971"/>
                  <a:pt x="253110" y="32512"/>
                  <a:pt x="253110" y="46355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49" name="object 149"/>
          <p:cNvSpPr/>
          <p:nvPr/>
        </p:nvSpPr>
        <p:spPr>
          <a:xfrm>
            <a:off x="7459599" y="2844277"/>
            <a:ext cx="44830" cy="81533"/>
          </a:xfrm>
          <a:custGeom>
            <a:avLst/>
            <a:gdLst/>
            <a:ahLst/>
            <a:cxnLst/>
            <a:rect l="l" t="t" r="r" b="b"/>
            <a:pathLst>
              <a:path w="44830" h="81533">
                <a:moveTo>
                  <a:pt x="40258" y="4572"/>
                </a:moveTo>
                <a:lnTo>
                  <a:pt x="40258" y="76962"/>
                </a:lnTo>
                <a:lnTo>
                  <a:pt x="4572" y="76962"/>
                </a:lnTo>
                <a:lnTo>
                  <a:pt x="4572" y="21844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50" name="object 150"/>
          <p:cNvSpPr/>
          <p:nvPr/>
        </p:nvSpPr>
        <p:spPr>
          <a:xfrm>
            <a:off x="7419523" y="2831084"/>
            <a:ext cx="49275" cy="39496"/>
          </a:xfrm>
          <a:custGeom>
            <a:avLst/>
            <a:gdLst/>
            <a:ahLst/>
            <a:cxnLst/>
            <a:rect l="l" t="t" r="r" b="b"/>
            <a:pathLst>
              <a:path w="49275" h="39496">
                <a:moveTo>
                  <a:pt x="44704" y="34925"/>
                </a:moveTo>
                <a:cubicBezTo>
                  <a:pt x="44704" y="30353"/>
                  <a:pt x="44450" y="25908"/>
                  <a:pt x="43942" y="21462"/>
                </a:cubicBezTo>
                <a:cubicBezTo>
                  <a:pt x="43561" y="17018"/>
                  <a:pt x="42799" y="13716"/>
                  <a:pt x="41656" y="11684"/>
                </a:cubicBezTo>
                <a:cubicBezTo>
                  <a:pt x="40259" y="9144"/>
                  <a:pt x="38354" y="7366"/>
                  <a:pt x="35814" y="6350"/>
                </a:cubicBezTo>
                <a:cubicBezTo>
                  <a:pt x="33274" y="5206"/>
                  <a:pt x="29718" y="4572"/>
                  <a:pt x="25146" y="4572"/>
                </a:cubicBezTo>
                <a:cubicBezTo>
                  <a:pt x="21971" y="4572"/>
                  <a:pt x="18669" y="5080"/>
                  <a:pt x="15367" y="6223"/>
                </a:cubicBezTo>
                <a:cubicBezTo>
                  <a:pt x="12064" y="7239"/>
                  <a:pt x="8382" y="8890"/>
                  <a:pt x="4572" y="11303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51" name="object 151"/>
          <p:cNvSpPr/>
          <p:nvPr/>
        </p:nvSpPr>
        <p:spPr>
          <a:xfrm>
            <a:off x="7383653" y="2805430"/>
            <a:ext cx="44958" cy="120268"/>
          </a:xfrm>
          <a:custGeom>
            <a:avLst/>
            <a:gdLst/>
            <a:ahLst/>
            <a:cxnLst/>
            <a:rect l="l" t="t" r="r" b="b"/>
            <a:pathLst>
              <a:path w="44958" h="120268">
                <a:moveTo>
                  <a:pt x="40386" y="36957"/>
                </a:moveTo>
                <a:lnTo>
                  <a:pt x="40386" y="115697"/>
                </a:lnTo>
                <a:lnTo>
                  <a:pt x="4572" y="115697"/>
                </a:lnTo>
                <a:lnTo>
                  <a:pt x="4572" y="4572"/>
                </a:lnTo>
                <a:lnTo>
                  <a:pt x="40386" y="4572"/>
                </a:lnTo>
                <a:lnTo>
                  <a:pt x="40386" y="16764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52" name="object 152"/>
          <p:cNvSpPr/>
          <p:nvPr/>
        </p:nvSpPr>
        <p:spPr>
          <a:xfrm>
            <a:off x="7073575" y="2802494"/>
            <a:ext cx="392683" cy="125475"/>
          </a:xfrm>
          <a:custGeom>
            <a:avLst/>
            <a:gdLst/>
            <a:ahLst/>
            <a:cxnLst/>
            <a:rect l="l" t="t" r="r" b="b"/>
            <a:pathLst>
              <a:path w="392683" h="125475">
                <a:moveTo>
                  <a:pt x="350520" y="19812"/>
                </a:moveTo>
                <a:cubicBezTo>
                  <a:pt x="356743" y="14858"/>
                  <a:pt x="362838" y="11049"/>
                  <a:pt x="368681" y="8508"/>
                </a:cubicBezTo>
                <a:cubicBezTo>
                  <a:pt x="374523" y="5842"/>
                  <a:pt x="380999" y="4571"/>
                  <a:pt x="388112" y="4571"/>
                </a:cubicBezTo>
                <a:moveTo>
                  <a:pt x="177799" y="66548"/>
                </a:moveTo>
                <a:moveTo>
                  <a:pt x="41021" y="4571"/>
                </a:moveTo>
                <a:cubicBezTo>
                  <a:pt x="54863" y="4571"/>
                  <a:pt x="65532" y="9652"/>
                  <a:pt x="73279" y="19812"/>
                </a:cubicBezTo>
                <a:cubicBezTo>
                  <a:pt x="80899" y="29971"/>
                  <a:pt x="84836" y="43814"/>
                  <a:pt x="84836" y="61595"/>
                </a:cubicBezTo>
                <a:cubicBezTo>
                  <a:pt x="84836" y="70739"/>
                  <a:pt x="83312" y="79121"/>
                  <a:pt x="80518" y="86614"/>
                </a:cubicBezTo>
                <a:cubicBezTo>
                  <a:pt x="77724" y="94233"/>
                  <a:pt x="74041" y="100330"/>
                  <a:pt x="69596" y="105283"/>
                </a:cubicBezTo>
                <a:cubicBezTo>
                  <a:pt x="64770" y="110363"/>
                  <a:pt x="59436" y="114300"/>
                  <a:pt x="53467" y="116967"/>
                </a:cubicBezTo>
                <a:cubicBezTo>
                  <a:pt x="47498" y="119633"/>
                  <a:pt x="41021" y="120904"/>
                  <a:pt x="34162" y="120904"/>
                </a:cubicBezTo>
                <a:cubicBezTo>
                  <a:pt x="27812" y="120904"/>
                  <a:pt x="22479" y="120269"/>
                  <a:pt x="18034" y="118871"/>
                </a:cubicBezTo>
                <a:cubicBezTo>
                  <a:pt x="13588" y="117475"/>
                  <a:pt x="9144" y="115570"/>
                  <a:pt x="4572" y="113157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53" name="object 153"/>
          <p:cNvSpPr/>
          <p:nvPr/>
        </p:nvSpPr>
        <p:spPr>
          <a:xfrm>
            <a:off x="7037721" y="2805542"/>
            <a:ext cx="44957" cy="161035"/>
          </a:xfrm>
          <a:custGeom>
            <a:avLst/>
            <a:gdLst/>
            <a:ahLst/>
            <a:cxnLst/>
            <a:rect l="l" t="t" r="r" b="b"/>
            <a:pathLst>
              <a:path w="44957" h="161035">
                <a:moveTo>
                  <a:pt x="40386" y="110109"/>
                </a:moveTo>
                <a:lnTo>
                  <a:pt x="40386" y="156464"/>
                </a:lnTo>
                <a:lnTo>
                  <a:pt x="4572" y="156464"/>
                </a:lnTo>
                <a:lnTo>
                  <a:pt x="4572" y="4572"/>
                </a:lnTo>
                <a:lnTo>
                  <a:pt x="40386" y="4572"/>
                </a:lnTo>
                <a:lnTo>
                  <a:pt x="40386" y="16129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54" name="object 154"/>
          <p:cNvSpPr/>
          <p:nvPr/>
        </p:nvSpPr>
        <p:spPr>
          <a:xfrm>
            <a:off x="7073575" y="2802255"/>
            <a:ext cx="217677" cy="71246"/>
          </a:xfrm>
          <a:custGeom>
            <a:avLst/>
            <a:gdLst/>
            <a:ahLst/>
            <a:cxnLst/>
            <a:rect l="l" t="t" r="r" b="b"/>
            <a:pathLst>
              <a:path w="217677" h="71246">
                <a:moveTo>
                  <a:pt x="4572" y="19304"/>
                </a:moveTo>
                <a:cubicBezTo>
                  <a:pt x="10033" y="14985"/>
                  <a:pt x="15621" y="11429"/>
                  <a:pt x="21209" y="8635"/>
                </a:cubicBezTo>
                <a:cubicBezTo>
                  <a:pt x="26924" y="5969"/>
                  <a:pt x="33528" y="4698"/>
                  <a:pt x="41021" y="4698"/>
                </a:cubicBezTo>
                <a:moveTo>
                  <a:pt x="177799" y="66675"/>
                </a:moveTo>
                <a:moveTo>
                  <a:pt x="155702" y="4572"/>
                </a:moveTo>
                <a:cubicBezTo>
                  <a:pt x="176022" y="4572"/>
                  <a:pt x="190627" y="7620"/>
                  <a:pt x="199644" y="13843"/>
                </a:cubicBezTo>
                <a:cubicBezTo>
                  <a:pt x="208661" y="20066"/>
                  <a:pt x="213106" y="29972"/>
                  <a:pt x="213106" y="43179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55" name="object 155"/>
          <p:cNvSpPr/>
          <p:nvPr/>
        </p:nvSpPr>
        <p:spPr>
          <a:xfrm>
            <a:off x="7246747" y="2840863"/>
            <a:ext cx="44450" cy="84836"/>
          </a:xfrm>
          <a:custGeom>
            <a:avLst/>
            <a:gdLst/>
            <a:ahLst/>
            <a:cxnLst/>
            <a:rect l="l" t="t" r="r" b="b"/>
            <a:pathLst>
              <a:path w="44450" h="84836">
                <a:moveTo>
                  <a:pt x="39878" y="4571"/>
                </a:moveTo>
                <a:lnTo>
                  <a:pt x="39878" y="80264"/>
                </a:lnTo>
                <a:lnTo>
                  <a:pt x="4571" y="80264"/>
                </a:lnTo>
                <a:lnTo>
                  <a:pt x="4571" y="6845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56" name="object 156"/>
          <p:cNvSpPr/>
          <p:nvPr/>
        </p:nvSpPr>
        <p:spPr>
          <a:xfrm>
            <a:off x="7171182" y="2843642"/>
            <a:ext cx="84962" cy="85089"/>
          </a:xfrm>
          <a:custGeom>
            <a:avLst/>
            <a:gdLst/>
            <a:ahLst/>
            <a:cxnLst/>
            <a:rect l="l" t="t" r="r" b="b"/>
            <a:pathLst>
              <a:path w="84962" h="85089">
                <a:moveTo>
                  <a:pt x="80136" y="65785"/>
                </a:moveTo>
                <a:cubicBezTo>
                  <a:pt x="78232" y="67310"/>
                  <a:pt x="75819" y="68960"/>
                  <a:pt x="73024" y="70993"/>
                </a:cubicBezTo>
                <a:cubicBezTo>
                  <a:pt x="70231" y="73152"/>
                  <a:pt x="67564" y="74676"/>
                  <a:pt x="65024" y="75946"/>
                </a:cubicBezTo>
                <a:cubicBezTo>
                  <a:pt x="61468" y="77470"/>
                  <a:pt x="57911" y="78613"/>
                  <a:pt x="54102" y="79375"/>
                </a:cubicBezTo>
                <a:cubicBezTo>
                  <a:pt x="50419" y="80137"/>
                  <a:pt x="46228" y="80518"/>
                  <a:pt x="41783" y="80518"/>
                </a:cubicBezTo>
                <a:cubicBezTo>
                  <a:pt x="31242" y="80518"/>
                  <a:pt x="22352" y="77343"/>
                  <a:pt x="15240" y="70739"/>
                </a:cubicBezTo>
                <a:cubicBezTo>
                  <a:pt x="8128" y="64262"/>
                  <a:pt x="4572" y="55879"/>
                  <a:pt x="4572" y="45720"/>
                </a:cubicBezTo>
                <a:cubicBezTo>
                  <a:pt x="4572" y="37591"/>
                  <a:pt x="6349" y="30988"/>
                  <a:pt x="10033" y="25781"/>
                </a:cubicBezTo>
                <a:cubicBezTo>
                  <a:pt x="13589" y="20701"/>
                  <a:pt x="18796" y="16637"/>
                  <a:pt x="25399" y="13589"/>
                </a:cubicBezTo>
                <a:cubicBezTo>
                  <a:pt x="32004" y="10668"/>
                  <a:pt x="40259" y="8509"/>
                  <a:pt x="49911" y="7366"/>
                </a:cubicBezTo>
                <a:cubicBezTo>
                  <a:pt x="59690" y="6096"/>
                  <a:pt x="69849" y="5079"/>
                  <a:pt x="80391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57" name="object 157"/>
          <p:cNvSpPr/>
          <p:nvPr/>
        </p:nvSpPr>
        <p:spPr>
          <a:xfrm>
            <a:off x="7247057" y="2843007"/>
            <a:ext cx="9143" cy="9779"/>
          </a:xfrm>
          <a:custGeom>
            <a:avLst/>
            <a:gdLst/>
            <a:ahLst/>
            <a:cxnLst/>
            <a:rect l="l" t="t" r="r" b="b"/>
            <a:pathLst>
              <a:path w="9143" h="9779">
                <a:moveTo>
                  <a:pt x="4572" y="5207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58" name="object 158"/>
          <p:cNvSpPr/>
          <p:nvPr/>
        </p:nvSpPr>
        <p:spPr>
          <a:xfrm>
            <a:off x="7184138" y="2826751"/>
            <a:ext cx="72008" cy="25399"/>
          </a:xfrm>
          <a:custGeom>
            <a:avLst/>
            <a:gdLst/>
            <a:ahLst/>
            <a:cxnLst/>
            <a:rect l="l" t="t" r="r" b="b"/>
            <a:pathLst>
              <a:path w="72008" h="25399">
                <a:moveTo>
                  <a:pt x="67437" y="20828"/>
                </a:moveTo>
                <a:cubicBezTo>
                  <a:pt x="67437" y="14732"/>
                  <a:pt x="64896" y="10414"/>
                  <a:pt x="59817" y="8128"/>
                </a:cubicBezTo>
                <a:cubicBezTo>
                  <a:pt x="54864" y="5714"/>
                  <a:pt x="47498" y="4572"/>
                  <a:pt x="37719" y="4572"/>
                </a:cubicBezTo>
                <a:cubicBezTo>
                  <a:pt x="31877" y="4572"/>
                  <a:pt x="25527" y="5588"/>
                  <a:pt x="18923" y="7747"/>
                </a:cubicBezTo>
                <a:cubicBezTo>
                  <a:pt x="12192" y="9779"/>
                  <a:pt x="7493" y="11430"/>
                  <a:pt x="4571" y="12573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59" name="object 159"/>
          <p:cNvSpPr/>
          <p:nvPr/>
        </p:nvSpPr>
        <p:spPr>
          <a:xfrm>
            <a:off x="7180834" y="2807828"/>
            <a:ext cx="12445" cy="36067"/>
          </a:xfrm>
          <a:custGeom>
            <a:avLst/>
            <a:gdLst/>
            <a:ahLst/>
            <a:cxnLst/>
            <a:rect l="l" t="t" r="r" b="b"/>
            <a:pathLst>
              <a:path w="12445" h="36067">
                <a:moveTo>
                  <a:pt x="7873" y="31496"/>
                </a:moveTo>
                <a:lnTo>
                  <a:pt x="4572" y="31496"/>
                </a:ln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60" name="object 160"/>
          <p:cNvSpPr/>
          <p:nvPr/>
        </p:nvSpPr>
        <p:spPr>
          <a:xfrm>
            <a:off x="6955286" y="2766441"/>
            <a:ext cx="300608" cy="107060"/>
          </a:xfrm>
          <a:custGeom>
            <a:avLst/>
            <a:gdLst/>
            <a:ahLst/>
            <a:cxnLst/>
            <a:rect l="l" t="t" r="r" b="b"/>
            <a:pathLst>
              <a:path w="300608" h="107060">
                <a:moveTo>
                  <a:pt x="230124" y="45847"/>
                </a:moveTo>
                <a:cubicBezTo>
                  <a:pt x="233934" y="44958"/>
                  <a:pt x="240030" y="43687"/>
                  <a:pt x="248539" y="42418"/>
                </a:cubicBezTo>
                <a:cubicBezTo>
                  <a:pt x="256921" y="41021"/>
                  <a:pt x="265430" y="40386"/>
                  <a:pt x="273939" y="40386"/>
                </a:cubicBezTo>
                <a:moveTo>
                  <a:pt x="296036" y="102489"/>
                </a:moveTo>
                <a:moveTo>
                  <a:pt x="4572" y="4572"/>
                </a:moveTo>
                <a:cubicBezTo>
                  <a:pt x="14224" y="4572"/>
                  <a:pt x="23875" y="5587"/>
                  <a:pt x="33274" y="7493"/>
                </a:cubicBezTo>
                <a:cubicBezTo>
                  <a:pt x="42799" y="9271"/>
                  <a:pt x="50927" y="11684"/>
                  <a:pt x="57911" y="14478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61" name="object 161"/>
          <p:cNvSpPr/>
          <p:nvPr/>
        </p:nvSpPr>
        <p:spPr>
          <a:xfrm>
            <a:off x="7004565" y="2776459"/>
            <a:ext cx="13207" cy="43179"/>
          </a:xfrm>
          <a:custGeom>
            <a:avLst/>
            <a:gdLst/>
            <a:ahLst/>
            <a:cxnLst/>
            <a:rect l="l" t="t" r="r" b="b"/>
            <a:pathLst>
              <a:path w="13207" h="43179">
                <a:moveTo>
                  <a:pt x="8635" y="4572"/>
                </a:moveTo>
                <a:lnTo>
                  <a:pt x="8635" y="38608"/>
                </a:lnTo>
                <a:lnTo>
                  <a:pt x="4572" y="38608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62" name="object 162"/>
          <p:cNvSpPr/>
          <p:nvPr/>
        </p:nvSpPr>
        <p:spPr>
          <a:xfrm>
            <a:off x="6888480" y="2793619"/>
            <a:ext cx="135127" cy="134746"/>
          </a:xfrm>
          <a:custGeom>
            <a:avLst/>
            <a:gdLst/>
            <a:ahLst/>
            <a:cxnLst/>
            <a:rect l="l" t="t" r="r" b="b"/>
            <a:pathLst>
              <a:path w="135127" h="134746">
                <a:moveTo>
                  <a:pt x="120650" y="21336"/>
                </a:moveTo>
                <a:cubicBezTo>
                  <a:pt x="114681" y="16509"/>
                  <a:pt x="107442" y="12573"/>
                  <a:pt x="98806" y="9398"/>
                </a:cubicBezTo>
                <a:cubicBezTo>
                  <a:pt x="90170" y="6223"/>
                  <a:pt x="81407" y="4571"/>
                  <a:pt x="72389" y="4571"/>
                </a:cubicBezTo>
                <a:cubicBezTo>
                  <a:pt x="69214" y="4571"/>
                  <a:pt x="66167" y="4826"/>
                  <a:pt x="62992" y="5207"/>
                </a:cubicBezTo>
                <a:cubicBezTo>
                  <a:pt x="59817" y="5588"/>
                  <a:pt x="56769" y="6477"/>
                  <a:pt x="53975" y="7620"/>
                </a:cubicBezTo>
                <a:cubicBezTo>
                  <a:pt x="51308" y="8636"/>
                  <a:pt x="49149" y="10159"/>
                  <a:pt x="47244" y="12192"/>
                </a:cubicBezTo>
                <a:cubicBezTo>
                  <a:pt x="45466" y="14096"/>
                  <a:pt x="44450" y="16383"/>
                  <a:pt x="44450" y="19050"/>
                </a:cubicBezTo>
                <a:cubicBezTo>
                  <a:pt x="44450" y="22859"/>
                  <a:pt x="45974" y="25908"/>
                  <a:pt x="49022" y="27940"/>
                </a:cubicBezTo>
                <a:cubicBezTo>
                  <a:pt x="51943" y="30099"/>
                  <a:pt x="57531" y="32004"/>
                  <a:pt x="65786" y="33655"/>
                </a:cubicBezTo>
                <a:cubicBezTo>
                  <a:pt x="71247" y="34798"/>
                  <a:pt x="76454" y="35814"/>
                  <a:pt x="81407" y="36957"/>
                </a:cubicBezTo>
                <a:cubicBezTo>
                  <a:pt x="86360" y="37973"/>
                  <a:pt x="91694" y="39496"/>
                  <a:pt x="97409" y="41275"/>
                </a:cubicBezTo>
                <a:cubicBezTo>
                  <a:pt x="108712" y="44958"/>
                  <a:pt x="117094" y="50038"/>
                  <a:pt x="122427" y="56388"/>
                </a:cubicBezTo>
                <a:cubicBezTo>
                  <a:pt x="127888" y="62738"/>
                  <a:pt x="130556" y="70993"/>
                  <a:pt x="130556" y="81152"/>
                </a:cubicBezTo>
                <a:cubicBezTo>
                  <a:pt x="130556" y="95631"/>
                  <a:pt x="124333" y="107442"/>
                  <a:pt x="112013" y="116586"/>
                </a:cubicBezTo>
                <a:cubicBezTo>
                  <a:pt x="99695" y="125602"/>
                  <a:pt x="83058" y="130175"/>
                  <a:pt x="61976" y="130175"/>
                </a:cubicBezTo>
                <a:cubicBezTo>
                  <a:pt x="49784" y="130175"/>
                  <a:pt x="39116" y="129032"/>
                  <a:pt x="29972" y="127000"/>
                </a:cubicBezTo>
                <a:cubicBezTo>
                  <a:pt x="20955" y="124840"/>
                  <a:pt x="12446" y="122046"/>
                  <a:pt x="4572" y="118745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63" name="object 163"/>
          <p:cNvSpPr/>
          <p:nvPr/>
        </p:nvSpPr>
        <p:spPr>
          <a:xfrm>
            <a:off x="6888480" y="2872598"/>
            <a:ext cx="13207" cy="44449"/>
          </a:xfrm>
          <a:custGeom>
            <a:avLst/>
            <a:gdLst/>
            <a:ahLst/>
            <a:cxnLst/>
            <a:rect l="l" t="t" r="r" b="b"/>
            <a:pathLst>
              <a:path w="13207" h="44449">
                <a:moveTo>
                  <a:pt x="4572" y="39878"/>
                </a:moveTo>
                <a:lnTo>
                  <a:pt x="4572" y="4572"/>
                </a:lnTo>
                <a:lnTo>
                  <a:pt x="8636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64" name="object 164"/>
          <p:cNvSpPr/>
          <p:nvPr/>
        </p:nvSpPr>
        <p:spPr>
          <a:xfrm>
            <a:off x="6889369" y="2762616"/>
            <a:ext cx="433831" cy="138683"/>
          </a:xfrm>
          <a:custGeom>
            <a:avLst/>
            <a:gdLst/>
            <a:ahLst/>
            <a:cxnLst/>
            <a:rect l="l" t="t" r="r" b="b"/>
            <a:pathLst>
              <a:path w="433831" h="138683">
                <a:moveTo>
                  <a:pt x="7747" y="114554"/>
                </a:moveTo>
                <a:cubicBezTo>
                  <a:pt x="15621" y="120777"/>
                  <a:pt x="24384" y="125603"/>
                  <a:pt x="34162" y="129032"/>
                </a:cubicBezTo>
                <a:cubicBezTo>
                  <a:pt x="43942" y="132334"/>
                  <a:pt x="53212" y="134111"/>
                  <a:pt x="62230" y="134111"/>
                </a:cubicBezTo>
                <a:cubicBezTo>
                  <a:pt x="64516" y="134111"/>
                  <a:pt x="67563" y="133858"/>
                  <a:pt x="71374" y="133477"/>
                </a:cubicBezTo>
                <a:cubicBezTo>
                  <a:pt x="75057" y="133096"/>
                  <a:pt x="78105" y="132461"/>
                  <a:pt x="80518" y="131445"/>
                </a:cubicBezTo>
                <a:cubicBezTo>
                  <a:pt x="83438" y="130302"/>
                  <a:pt x="85852" y="128778"/>
                  <a:pt x="87757" y="126999"/>
                </a:cubicBezTo>
                <a:cubicBezTo>
                  <a:pt x="89535" y="125222"/>
                  <a:pt x="90550" y="122555"/>
                  <a:pt x="90550" y="119126"/>
                </a:cubicBezTo>
                <a:cubicBezTo>
                  <a:pt x="90550" y="115824"/>
                  <a:pt x="89154" y="113030"/>
                  <a:pt x="86487" y="110744"/>
                </a:cubicBezTo>
                <a:cubicBezTo>
                  <a:pt x="83693" y="108458"/>
                  <a:pt x="79629" y="106553"/>
                  <a:pt x="74422" y="105410"/>
                </a:cubicBezTo>
                <a:cubicBezTo>
                  <a:pt x="68834" y="104013"/>
                  <a:pt x="62992" y="102742"/>
                  <a:pt x="56896" y="101599"/>
                </a:cubicBezTo>
                <a:cubicBezTo>
                  <a:pt x="50673" y="100457"/>
                  <a:pt x="44831" y="99060"/>
                  <a:pt x="39497" y="97282"/>
                </a:cubicBezTo>
                <a:cubicBezTo>
                  <a:pt x="27050" y="93217"/>
                  <a:pt x="18161" y="87757"/>
                  <a:pt x="12699" y="80899"/>
                </a:cubicBezTo>
                <a:cubicBezTo>
                  <a:pt x="7238" y="73914"/>
                  <a:pt x="4572" y="65405"/>
                  <a:pt x="4572" y="55117"/>
                </a:cubicBezTo>
                <a:cubicBezTo>
                  <a:pt x="4572" y="41402"/>
                  <a:pt x="10668" y="30226"/>
                  <a:pt x="22987" y="21590"/>
                </a:cubicBezTo>
                <a:cubicBezTo>
                  <a:pt x="35306" y="12954"/>
                  <a:pt x="51054" y="8509"/>
                  <a:pt x="70485" y="8509"/>
                </a:cubicBezTo>
                <a:moveTo>
                  <a:pt x="361949" y="106426"/>
                </a:moveTo>
                <a:moveTo>
                  <a:pt x="429260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65" name="object 165"/>
          <p:cNvSpPr/>
          <p:nvPr/>
        </p:nvSpPr>
        <p:spPr>
          <a:xfrm>
            <a:off x="7314059" y="2762504"/>
            <a:ext cx="46862" cy="36194"/>
          </a:xfrm>
          <a:custGeom>
            <a:avLst/>
            <a:gdLst/>
            <a:ahLst/>
            <a:cxnLst/>
            <a:rect l="l" t="t" r="r" b="b"/>
            <a:pathLst>
              <a:path w="46862" h="36194">
                <a:moveTo>
                  <a:pt x="4572" y="4572"/>
                </a:moveTo>
                <a:lnTo>
                  <a:pt x="42291" y="4572"/>
                </a:lnTo>
                <a:lnTo>
                  <a:pt x="42291" y="31623"/>
                </a:lnTo>
                <a:lnTo>
                  <a:pt x="4572" y="3162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66" name="object 166"/>
          <p:cNvSpPr/>
          <p:nvPr/>
        </p:nvSpPr>
        <p:spPr>
          <a:xfrm>
            <a:off x="7246751" y="2789555"/>
            <a:ext cx="76454" cy="83946"/>
          </a:xfrm>
          <a:custGeom>
            <a:avLst/>
            <a:gdLst/>
            <a:ahLst/>
            <a:cxnLst/>
            <a:rect l="l" t="t" r="r" b="b"/>
            <a:pathLst>
              <a:path w="76454" h="83946">
                <a:moveTo>
                  <a:pt x="71882" y="4572"/>
                </a:moveTo>
                <a:moveTo>
                  <a:pt x="4571" y="79375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67" name="object 167"/>
          <p:cNvSpPr/>
          <p:nvPr/>
        </p:nvSpPr>
        <p:spPr>
          <a:xfrm>
            <a:off x="6526656" y="3323717"/>
            <a:ext cx="1324864" cy="156972"/>
          </a:xfrm>
          <a:custGeom>
            <a:avLst/>
            <a:gdLst/>
            <a:ahLst/>
            <a:cxnLst/>
            <a:rect l="l" t="t" r="r" b="b"/>
            <a:pathLst>
              <a:path w="1324864" h="156972">
                <a:moveTo>
                  <a:pt x="921386" y="101854"/>
                </a:moveTo>
                <a:cubicBezTo>
                  <a:pt x="916560" y="102235"/>
                  <a:pt x="911353" y="102742"/>
                  <a:pt x="905765" y="103378"/>
                </a:cubicBezTo>
                <a:cubicBezTo>
                  <a:pt x="900176" y="104140"/>
                  <a:pt x="895859" y="104902"/>
                  <a:pt x="893065" y="105791"/>
                </a:cubicBezTo>
                <a:cubicBezTo>
                  <a:pt x="889509" y="106934"/>
                  <a:pt x="886715" y="108585"/>
                  <a:pt x="884810" y="110744"/>
                </a:cubicBezTo>
                <a:cubicBezTo>
                  <a:pt x="882905" y="112903"/>
                  <a:pt x="882016" y="115697"/>
                  <a:pt x="882016" y="119126"/>
                </a:cubicBezTo>
                <a:cubicBezTo>
                  <a:pt x="882016" y="121411"/>
                  <a:pt x="882270" y="123317"/>
                  <a:pt x="882650" y="124841"/>
                </a:cubicBezTo>
                <a:cubicBezTo>
                  <a:pt x="883032" y="126238"/>
                  <a:pt x="884048" y="127635"/>
                  <a:pt x="885572" y="128904"/>
                </a:cubicBezTo>
                <a:cubicBezTo>
                  <a:pt x="887096" y="130302"/>
                  <a:pt x="888874" y="131191"/>
                  <a:pt x="891033" y="131826"/>
                </a:cubicBezTo>
                <a:cubicBezTo>
                  <a:pt x="893192" y="132461"/>
                  <a:pt x="896494" y="132715"/>
                  <a:pt x="900938" y="132715"/>
                </a:cubicBezTo>
                <a:cubicBezTo>
                  <a:pt x="904495" y="132715"/>
                  <a:pt x="908050" y="132079"/>
                  <a:pt x="911734" y="130556"/>
                </a:cubicBezTo>
                <a:cubicBezTo>
                  <a:pt x="915417" y="129159"/>
                  <a:pt x="918592" y="127254"/>
                  <a:pt x="921386" y="124841"/>
                </a:cubicBezTo>
                <a:close/>
                <a:moveTo>
                  <a:pt x="1273684" y="65786"/>
                </a:moveTo>
                <a:cubicBezTo>
                  <a:pt x="1264286" y="65786"/>
                  <a:pt x="1257300" y="68707"/>
                  <a:pt x="1252601" y="74548"/>
                </a:cubicBezTo>
                <a:cubicBezTo>
                  <a:pt x="1247903" y="80391"/>
                  <a:pt x="1245617" y="88519"/>
                  <a:pt x="1245617" y="98933"/>
                </a:cubicBezTo>
                <a:cubicBezTo>
                  <a:pt x="1245617" y="109728"/>
                  <a:pt x="1247522" y="117729"/>
                  <a:pt x="1251205" y="122682"/>
                </a:cubicBezTo>
                <a:cubicBezTo>
                  <a:pt x="1255015" y="127508"/>
                  <a:pt x="1260984" y="130048"/>
                  <a:pt x="1269366" y="130048"/>
                </a:cubicBezTo>
                <a:cubicBezTo>
                  <a:pt x="1272541" y="130048"/>
                  <a:pt x="1275970" y="129413"/>
                  <a:pt x="1279653" y="128142"/>
                </a:cubicBezTo>
                <a:cubicBezTo>
                  <a:pt x="1283209" y="127000"/>
                  <a:pt x="1286384" y="125348"/>
                  <a:pt x="1289178" y="123317"/>
                </a:cubicBezTo>
                <a:lnTo>
                  <a:pt x="1289178" y="68707"/>
                </a:lnTo>
                <a:cubicBezTo>
                  <a:pt x="1286637" y="67691"/>
                  <a:pt x="1284098" y="66929"/>
                  <a:pt x="1281304" y="66421"/>
                </a:cubicBezTo>
                <a:cubicBezTo>
                  <a:pt x="1278510" y="66040"/>
                  <a:pt x="1275970" y="65786"/>
                  <a:pt x="1273684" y="65786"/>
                </a:cubicBezTo>
                <a:close/>
                <a:moveTo>
                  <a:pt x="228220" y="65786"/>
                </a:moveTo>
                <a:cubicBezTo>
                  <a:pt x="218822" y="65786"/>
                  <a:pt x="211837" y="68707"/>
                  <a:pt x="207137" y="74548"/>
                </a:cubicBezTo>
                <a:cubicBezTo>
                  <a:pt x="202438" y="80391"/>
                  <a:pt x="200153" y="88519"/>
                  <a:pt x="200153" y="98933"/>
                </a:cubicBezTo>
                <a:cubicBezTo>
                  <a:pt x="200153" y="109728"/>
                  <a:pt x="202058" y="117729"/>
                  <a:pt x="205741" y="122682"/>
                </a:cubicBezTo>
                <a:cubicBezTo>
                  <a:pt x="209550" y="127508"/>
                  <a:pt x="215520" y="130048"/>
                  <a:pt x="223901" y="130048"/>
                </a:cubicBezTo>
                <a:cubicBezTo>
                  <a:pt x="227076" y="130048"/>
                  <a:pt x="230506" y="129413"/>
                  <a:pt x="234188" y="128142"/>
                </a:cubicBezTo>
                <a:cubicBezTo>
                  <a:pt x="237745" y="127000"/>
                  <a:pt x="240920" y="125348"/>
                  <a:pt x="243713" y="123317"/>
                </a:cubicBezTo>
                <a:lnTo>
                  <a:pt x="243713" y="68707"/>
                </a:lnTo>
                <a:cubicBezTo>
                  <a:pt x="241174" y="67691"/>
                  <a:pt x="238634" y="66929"/>
                  <a:pt x="235840" y="66421"/>
                </a:cubicBezTo>
                <a:cubicBezTo>
                  <a:pt x="233046" y="66040"/>
                  <a:pt x="230506" y="65786"/>
                  <a:pt x="228220" y="65786"/>
                </a:cubicBezTo>
                <a:close/>
                <a:moveTo>
                  <a:pt x="1134873" y="61595"/>
                </a:moveTo>
                <a:cubicBezTo>
                  <a:pt x="1128015" y="61595"/>
                  <a:pt x="1122426" y="63373"/>
                  <a:pt x="1117982" y="66929"/>
                </a:cubicBezTo>
                <a:cubicBezTo>
                  <a:pt x="1113537" y="70485"/>
                  <a:pt x="1110997" y="76200"/>
                  <a:pt x="1110488" y="84073"/>
                </a:cubicBezTo>
                <a:lnTo>
                  <a:pt x="1156717" y="84073"/>
                </a:lnTo>
                <a:cubicBezTo>
                  <a:pt x="1156590" y="76581"/>
                  <a:pt x="1154685" y="70992"/>
                  <a:pt x="1151256" y="67310"/>
                </a:cubicBezTo>
                <a:cubicBezTo>
                  <a:pt x="1147700" y="63500"/>
                  <a:pt x="1142238" y="61595"/>
                  <a:pt x="1134873" y="61595"/>
                </a:cubicBezTo>
                <a:close/>
                <a:moveTo>
                  <a:pt x="671576" y="61595"/>
                </a:moveTo>
                <a:cubicBezTo>
                  <a:pt x="664719" y="61595"/>
                  <a:pt x="659131" y="63373"/>
                  <a:pt x="654686" y="66929"/>
                </a:cubicBezTo>
                <a:cubicBezTo>
                  <a:pt x="650241" y="70485"/>
                  <a:pt x="647700" y="76200"/>
                  <a:pt x="647193" y="84073"/>
                </a:cubicBezTo>
                <a:lnTo>
                  <a:pt x="693421" y="84073"/>
                </a:lnTo>
                <a:cubicBezTo>
                  <a:pt x="693294" y="76581"/>
                  <a:pt x="691388" y="70992"/>
                  <a:pt x="687960" y="67310"/>
                </a:cubicBezTo>
                <a:cubicBezTo>
                  <a:pt x="684404" y="63500"/>
                  <a:pt x="678943" y="61595"/>
                  <a:pt x="671576" y="61595"/>
                </a:cubicBezTo>
                <a:close/>
                <a:moveTo>
                  <a:pt x="75820" y="44323"/>
                </a:moveTo>
                <a:lnTo>
                  <a:pt x="57659" y="97154"/>
                </a:lnTo>
                <a:lnTo>
                  <a:pt x="93854" y="97154"/>
                </a:lnTo>
                <a:close/>
                <a:moveTo>
                  <a:pt x="312167" y="42798"/>
                </a:moveTo>
                <a:lnTo>
                  <a:pt x="347981" y="42798"/>
                </a:lnTo>
                <a:lnTo>
                  <a:pt x="347981" y="97917"/>
                </a:lnTo>
                <a:cubicBezTo>
                  <a:pt x="347981" y="103504"/>
                  <a:pt x="348108" y="108204"/>
                  <a:pt x="348488" y="111886"/>
                </a:cubicBezTo>
                <a:cubicBezTo>
                  <a:pt x="348870" y="115697"/>
                  <a:pt x="349632" y="118745"/>
                  <a:pt x="351029" y="121158"/>
                </a:cubicBezTo>
                <a:cubicBezTo>
                  <a:pt x="352299" y="123698"/>
                  <a:pt x="354204" y="125476"/>
                  <a:pt x="356744" y="126492"/>
                </a:cubicBezTo>
                <a:cubicBezTo>
                  <a:pt x="359284" y="127635"/>
                  <a:pt x="362840" y="128270"/>
                  <a:pt x="367285" y="128270"/>
                </a:cubicBezTo>
                <a:cubicBezTo>
                  <a:pt x="370333" y="128270"/>
                  <a:pt x="373762" y="127635"/>
                  <a:pt x="377445" y="126492"/>
                </a:cubicBezTo>
                <a:cubicBezTo>
                  <a:pt x="381128" y="125476"/>
                  <a:pt x="384684" y="123825"/>
                  <a:pt x="388112" y="121539"/>
                </a:cubicBezTo>
                <a:lnTo>
                  <a:pt x="388112" y="42798"/>
                </a:lnTo>
                <a:lnTo>
                  <a:pt x="423800" y="42798"/>
                </a:lnTo>
                <a:lnTo>
                  <a:pt x="423800" y="153923"/>
                </a:lnTo>
                <a:lnTo>
                  <a:pt x="388112" y="153923"/>
                </a:lnTo>
                <a:lnTo>
                  <a:pt x="388112" y="141732"/>
                </a:lnTo>
                <a:cubicBezTo>
                  <a:pt x="381509" y="146685"/>
                  <a:pt x="375540" y="150495"/>
                  <a:pt x="370079" y="153161"/>
                </a:cubicBezTo>
                <a:cubicBezTo>
                  <a:pt x="364618" y="155702"/>
                  <a:pt x="358013" y="156972"/>
                  <a:pt x="350394" y="156972"/>
                </a:cubicBezTo>
                <a:cubicBezTo>
                  <a:pt x="338201" y="156972"/>
                  <a:pt x="328804" y="153542"/>
                  <a:pt x="322200" y="146431"/>
                </a:cubicBezTo>
                <a:cubicBezTo>
                  <a:pt x="315469" y="139319"/>
                  <a:pt x="312167" y="128904"/>
                  <a:pt x="312167" y="115189"/>
                </a:cubicBezTo>
                <a:close/>
                <a:moveTo>
                  <a:pt x="825755" y="42417"/>
                </a:moveTo>
                <a:cubicBezTo>
                  <a:pt x="826898" y="42417"/>
                  <a:pt x="828422" y="42417"/>
                  <a:pt x="829946" y="42545"/>
                </a:cubicBezTo>
                <a:cubicBezTo>
                  <a:pt x="831470" y="42545"/>
                  <a:pt x="832867" y="42672"/>
                  <a:pt x="834137" y="42798"/>
                </a:cubicBezTo>
                <a:lnTo>
                  <a:pt x="834137" y="76708"/>
                </a:lnTo>
                <a:lnTo>
                  <a:pt x="830962" y="76708"/>
                </a:lnTo>
                <a:cubicBezTo>
                  <a:pt x="829437" y="76200"/>
                  <a:pt x="827025" y="75819"/>
                  <a:pt x="823596" y="75565"/>
                </a:cubicBezTo>
                <a:cubicBezTo>
                  <a:pt x="820294" y="75311"/>
                  <a:pt x="817500" y="75184"/>
                  <a:pt x="815213" y="75184"/>
                </a:cubicBezTo>
                <a:cubicBezTo>
                  <a:pt x="810134" y="75184"/>
                  <a:pt x="805688" y="75565"/>
                  <a:pt x="801751" y="76200"/>
                </a:cubicBezTo>
                <a:cubicBezTo>
                  <a:pt x="797942" y="76835"/>
                  <a:pt x="793750" y="77978"/>
                  <a:pt x="789306" y="79502"/>
                </a:cubicBezTo>
                <a:lnTo>
                  <a:pt x="789306" y="153923"/>
                </a:lnTo>
                <a:lnTo>
                  <a:pt x="753492" y="153923"/>
                </a:lnTo>
                <a:lnTo>
                  <a:pt x="753492" y="42798"/>
                </a:lnTo>
                <a:lnTo>
                  <a:pt x="789306" y="42798"/>
                </a:lnTo>
                <a:lnTo>
                  <a:pt x="789306" y="59182"/>
                </a:lnTo>
                <a:cubicBezTo>
                  <a:pt x="797053" y="52451"/>
                  <a:pt x="803911" y="48006"/>
                  <a:pt x="809753" y="45720"/>
                </a:cubicBezTo>
                <a:cubicBezTo>
                  <a:pt x="815468" y="43561"/>
                  <a:pt x="820801" y="42417"/>
                  <a:pt x="825755" y="42417"/>
                </a:cubicBezTo>
                <a:close/>
                <a:moveTo>
                  <a:pt x="899287" y="39623"/>
                </a:moveTo>
                <a:cubicBezTo>
                  <a:pt x="919608" y="39623"/>
                  <a:pt x="934212" y="42798"/>
                  <a:pt x="943230" y="49022"/>
                </a:cubicBezTo>
                <a:cubicBezTo>
                  <a:pt x="952247" y="55245"/>
                  <a:pt x="956692" y="65023"/>
                  <a:pt x="956692" y="78359"/>
                </a:cubicBezTo>
                <a:lnTo>
                  <a:pt x="956692" y="153923"/>
                </a:lnTo>
                <a:lnTo>
                  <a:pt x="921386" y="153923"/>
                </a:lnTo>
                <a:lnTo>
                  <a:pt x="921386" y="142240"/>
                </a:lnTo>
                <a:cubicBezTo>
                  <a:pt x="919481" y="143636"/>
                  <a:pt x="917068" y="145415"/>
                  <a:pt x="914274" y="147447"/>
                </a:cubicBezTo>
                <a:cubicBezTo>
                  <a:pt x="911480" y="149479"/>
                  <a:pt x="908812" y="151129"/>
                  <a:pt x="906273" y="152273"/>
                </a:cubicBezTo>
                <a:cubicBezTo>
                  <a:pt x="902717" y="153797"/>
                  <a:pt x="899161" y="155067"/>
                  <a:pt x="895350" y="155829"/>
                </a:cubicBezTo>
                <a:cubicBezTo>
                  <a:pt x="891668" y="156591"/>
                  <a:pt x="887476" y="156972"/>
                  <a:pt x="883032" y="156972"/>
                </a:cubicBezTo>
                <a:cubicBezTo>
                  <a:pt x="872491" y="156972"/>
                  <a:pt x="863600" y="153670"/>
                  <a:pt x="856488" y="147066"/>
                </a:cubicBezTo>
                <a:cubicBezTo>
                  <a:pt x="849376" y="140589"/>
                  <a:pt x="845821" y="132207"/>
                  <a:pt x="845821" y="122047"/>
                </a:cubicBezTo>
                <a:cubicBezTo>
                  <a:pt x="845821" y="113919"/>
                  <a:pt x="847599" y="107315"/>
                  <a:pt x="851282" y="102235"/>
                </a:cubicBezTo>
                <a:cubicBezTo>
                  <a:pt x="854837" y="97028"/>
                  <a:pt x="860045" y="92964"/>
                  <a:pt x="866649" y="90042"/>
                </a:cubicBezTo>
                <a:cubicBezTo>
                  <a:pt x="873253" y="86995"/>
                  <a:pt x="881508" y="84963"/>
                  <a:pt x="891287" y="83692"/>
                </a:cubicBezTo>
                <a:cubicBezTo>
                  <a:pt x="900938" y="82423"/>
                  <a:pt x="911099" y="81534"/>
                  <a:pt x="921640" y="80898"/>
                </a:cubicBezTo>
                <a:lnTo>
                  <a:pt x="921640" y="80264"/>
                </a:lnTo>
                <a:cubicBezTo>
                  <a:pt x="921640" y="74167"/>
                  <a:pt x="919100" y="69977"/>
                  <a:pt x="914147" y="67564"/>
                </a:cubicBezTo>
                <a:cubicBezTo>
                  <a:pt x="909067" y="65278"/>
                  <a:pt x="901700" y="64135"/>
                  <a:pt x="891922" y="64135"/>
                </a:cubicBezTo>
                <a:cubicBezTo>
                  <a:pt x="886080" y="64135"/>
                  <a:pt x="879730" y="65151"/>
                  <a:pt x="873125" y="67183"/>
                </a:cubicBezTo>
                <a:cubicBezTo>
                  <a:pt x="866395" y="69342"/>
                  <a:pt x="861696" y="70866"/>
                  <a:pt x="858775" y="72009"/>
                </a:cubicBezTo>
                <a:lnTo>
                  <a:pt x="855473" y="72009"/>
                </a:lnTo>
                <a:lnTo>
                  <a:pt x="855473" y="45211"/>
                </a:lnTo>
                <a:cubicBezTo>
                  <a:pt x="859283" y="44196"/>
                  <a:pt x="865379" y="43053"/>
                  <a:pt x="873887" y="41656"/>
                </a:cubicBezTo>
                <a:cubicBezTo>
                  <a:pt x="882397" y="40386"/>
                  <a:pt x="890779" y="39623"/>
                  <a:pt x="899287" y="39623"/>
                </a:cubicBezTo>
                <a:close/>
                <a:moveTo>
                  <a:pt x="1137794" y="39370"/>
                </a:moveTo>
                <a:cubicBezTo>
                  <a:pt x="1155828" y="39370"/>
                  <a:pt x="1169417" y="43942"/>
                  <a:pt x="1178561" y="53086"/>
                </a:cubicBezTo>
                <a:cubicBezTo>
                  <a:pt x="1187578" y="62229"/>
                  <a:pt x="1192150" y="75311"/>
                  <a:pt x="1192150" y="92456"/>
                </a:cubicBezTo>
                <a:lnTo>
                  <a:pt x="1192150" y="105029"/>
                </a:lnTo>
                <a:lnTo>
                  <a:pt x="1110616" y="105029"/>
                </a:lnTo>
                <a:cubicBezTo>
                  <a:pt x="1111124" y="113665"/>
                  <a:pt x="1114425" y="120396"/>
                  <a:pt x="1120522" y="124967"/>
                </a:cubicBezTo>
                <a:cubicBezTo>
                  <a:pt x="1126618" y="129540"/>
                  <a:pt x="1135635" y="131826"/>
                  <a:pt x="1147573" y="131826"/>
                </a:cubicBezTo>
                <a:cubicBezTo>
                  <a:pt x="1155066" y="131826"/>
                  <a:pt x="1162305" y="130556"/>
                  <a:pt x="1169417" y="127889"/>
                </a:cubicBezTo>
                <a:cubicBezTo>
                  <a:pt x="1176529" y="125095"/>
                  <a:pt x="1181990" y="122173"/>
                  <a:pt x="1186181" y="119126"/>
                </a:cubicBezTo>
                <a:lnTo>
                  <a:pt x="1190118" y="119126"/>
                </a:lnTo>
                <a:lnTo>
                  <a:pt x="1190118" y="147701"/>
                </a:lnTo>
                <a:cubicBezTo>
                  <a:pt x="1181990" y="151003"/>
                  <a:pt x="1174497" y="153289"/>
                  <a:pt x="1167385" y="154686"/>
                </a:cubicBezTo>
                <a:cubicBezTo>
                  <a:pt x="1160146" y="156210"/>
                  <a:pt x="1152272" y="156972"/>
                  <a:pt x="1143636" y="156972"/>
                </a:cubicBezTo>
                <a:cubicBezTo>
                  <a:pt x="1121411" y="156972"/>
                  <a:pt x="1104266" y="151892"/>
                  <a:pt x="1092455" y="141859"/>
                </a:cubicBezTo>
                <a:cubicBezTo>
                  <a:pt x="1080517" y="131826"/>
                  <a:pt x="1074548" y="117602"/>
                  <a:pt x="1074548" y="99060"/>
                </a:cubicBezTo>
                <a:cubicBezTo>
                  <a:pt x="1074548" y="80645"/>
                  <a:pt x="1080262" y="66167"/>
                  <a:pt x="1091438" y="55372"/>
                </a:cubicBezTo>
                <a:cubicBezTo>
                  <a:pt x="1102742" y="44704"/>
                  <a:pt x="1118109" y="39370"/>
                  <a:pt x="1137794" y="39370"/>
                </a:cubicBezTo>
                <a:close/>
                <a:moveTo>
                  <a:pt x="674498" y="39370"/>
                </a:moveTo>
                <a:cubicBezTo>
                  <a:pt x="692532" y="39370"/>
                  <a:pt x="706121" y="43942"/>
                  <a:pt x="715265" y="53086"/>
                </a:cubicBezTo>
                <a:cubicBezTo>
                  <a:pt x="724282" y="62229"/>
                  <a:pt x="728854" y="75311"/>
                  <a:pt x="728854" y="92456"/>
                </a:cubicBezTo>
                <a:lnTo>
                  <a:pt x="728854" y="105029"/>
                </a:lnTo>
                <a:lnTo>
                  <a:pt x="647320" y="105029"/>
                </a:lnTo>
                <a:cubicBezTo>
                  <a:pt x="647828" y="113665"/>
                  <a:pt x="651130" y="120396"/>
                  <a:pt x="657225" y="124967"/>
                </a:cubicBezTo>
                <a:cubicBezTo>
                  <a:pt x="663322" y="129540"/>
                  <a:pt x="672338" y="131826"/>
                  <a:pt x="684276" y="131826"/>
                </a:cubicBezTo>
                <a:cubicBezTo>
                  <a:pt x="691770" y="131826"/>
                  <a:pt x="699009" y="130556"/>
                  <a:pt x="706121" y="127889"/>
                </a:cubicBezTo>
                <a:cubicBezTo>
                  <a:pt x="713233" y="125095"/>
                  <a:pt x="718694" y="122173"/>
                  <a:pt x="722885" y="119126"/>
                </a:cubicBezTo>
                <a:lnTo>
                  <a:pt x="726822" y="119126"/>
                </a:lnTo>
                <a:lnTo>
                  <a:pt x="726822" y="147701"/>
                </a:lnTo>
                <a:cubicBezTo>
                  <a:pt x="718694" y="151003"/>
                  <a:pt x="711200" y="153289"/>
                  <a:pt x="704088" y="154686"/>
                </a:cubicBezTo>
                <a:cubicBezTo>
                  <a:pt x="696850" y="156210"/>
                  <a:pt x="688975" y="156972"/>
                  <a:pt x="680340" y="156972"/>
                </a:cubicBezTo>
                <a:cubicBezTo>
                  <a:pt x="658115" y="156972"/>
                  <a:pt x="640970" y="151892"/>
                  <a:pt x="629159" y="141859"/>
                </a:cubicBezTo>
                <a:cubicBezTo>
                  <a:pt x="617221" y="131826"/>
                  <a:pt x="611251" y="117602"/>
                  <a:pt x="611251" y="99060"/>
                </a:cubicBezTo>
                <a:cubicBezTo>
                  <a:pt x="611251" y="80645"/>
                  <a:pt x="616967" y="66167"/>
                  <a:pt x="628143" y="55372"/>
                </a:cubicBezTo>
                <a:cubicBezTo>
                  <a:pt x="639446" y="44704"/>
                  <a:pt x="654812" y="39370"/>
                  <a:pt x="674498" y="39370"/>
                </a:cubicBezTo>
                <a:close/>
                <a:moveTo>
                  <a:pt x="991871" y="11048"/>
                </a:moveTo>
                <a:lnTo>
                  <a:pt x="1027558" y="11048"/>
                </a:lnTo>
                <a:lnTo>
                  <a:pt x="1027558" y="42798"/>
                </a:lnTo>
                <a:lnTo>
                  <a:pt x="1060832" y="42798"/>
                </a:lnTo>
                <a:lnTo>
                  <a:pt x="1060832" y="66929"/>
                </a:lnTo>
                <a:lnTo>
                  <a:pt x="1027558" y="66929"/>
                </a:lnTo>
                <a:lnTo>
                  <a:pt x="1027558" y="106426"/>
                </a:lnTo>
                <a:cubicBezTo>
                  <a:pt x="1027558" y="110363"/>
                  <a:pt x="1027558" y="113665"/>
                  <a:pt x="1027685" y="116586"/>
                </a:cubicBezTo>
                <a:cubicBezTo>
                  <a:pt x="1027685" y="119507"/>
                  <a:pt x="1028193" y="122173"/>
                  <a:pt x="1029209" y="124460"/>
                </a:cubicBezTo>
                <a:cubicBezTo>
                  <a:pt x="1030098" y="126746"/>
                  <a:pt x="1031749" y="128651"/>
                  <a:pt x="1034162" y="129921"/>
                </a:cubicBezTo>
                <a:cubicBezTo>
                  <a:pt x="1036448" y="131317"/>
                  <a:pt x="1039876" y="131953"/>
                  <a:pt x="1044322" y="131953"/>
                </a:cubicBezTo>
                <a:cubicBezTo>
                  <a:pt x="1046226" y="131953"/>
                  <a:pt x="1048640" y="131572"/>
                  <a:pt x="1051561" y="130810"/>
                </a:cubicBezTo>
                <a:cubicBezTo>
                  <a:pt x="1054609" y="130048"/>
                  <a:pt x="1056641" y="129286"/>
                  <a:pt x="1057911" y="128651"/>
                </a:cubicBezTo>
                <a:lnTo>
                  <a:pt x="1060832" y="128651"/>
                </a:lnTo>
                <a:lnTo>
                  <a:pt x="1060832" y="153035"/>
                </a:lnTo>
                <a:cubicBezTo>
                  <a:pt x="1057022" y="153923"/>
                  <a:pt x="1052958" y="154686"/>
                  <a:pt x="1048640" y="155321"/>
                </a:cubicBezTo>
                <a:cubicBezTo>
                  <a:pt x="1044322" y="155829"/>
                  <a:pt x="1039115" y="156083"/>
                  <a:pt x="1032892" y="156083"/>
                </a:cubicBezTo>
                <a:cubicBezTo>
                  <a:pt x="1019049" y="156083"/>
                  <a:pt x="1008762" y="153289"/>
                  <a:pt x="1002031" y="147701"/>
                </a:cubicBezTo>
                <a:cubicBezTo>
                  <a:pt x="995173" y="142113"/>
                  <a:pt x="991871" y="132461"/>
                  <a:pt x="991871" y="118872"/>
                </a:cubicBezTo>
                <a:lnTo>
                  <a:pt x="991871" y="66929"/>
                </a:lnTo>
                <a:lnTo>
                  <a:pt x="977138" y="66929"/>
                </a:lnTo>
                <a:lnTo>
                  <a:pt x="977138" y="42798"/>
                </a:lnTo>
                <a:lnTo>
                  <a:pt x="991871" y="42798"/>
                </a:lnTo>
                <a:close/>
                <a:moveTo>
                  <a:pt x="528575" y="11048"/>
                </a:moveTo>
                <a:lnTo>
                  <a:pt x="564262" y="11048"/>
                </a:lnTo>
                <a:lnTo>
                  <a:pt x="564262" y="42798"/>
                </a:lnTo>
                <a:lnTo>
                  <a:pt x="597536" y="42798"/>
                </a:lnTo>
                <a:lnTo>
                  <a:pt x="597536" y="66929"/>
                </a:lnTo>
                <a:lnTo>
                  <a:pt x="564262" y="66929"/>
                </a:lnTo>
                <a:lnTo>
                  <a:pt x="564262" y="106426"/>
                </a:lnTo>
                <a:cubicBezTo>
                  <a:pt x="564262" y="110363"/>
                  <a:pt x="564262" y="113665"/>
                  <a:pt x="564388" y="116586"/>
                </a:cubicBezTo>
                <a:cubicBezTo>
                  <a:pt x="564388" y="119507"/>
                  <a:pt x="564897" y="122173"/>
                  <a:pt x="565912" y="124460"/>
                </a:cubicBezTo>
                <a:cubicBezTo>
                  <a:pt x="566801" y="126746"/>
                  <a:pt x="568453" y="128651"/>
                  <a:pt x="570866" y="129921"/>
                </a:cubicBezTo>
                <a:cubicBezTo>
                  <a:pt x="573151" y="131317"/>
                  <a:pt x="576581" y="131953"/>
                  <a:pt x="581025" y="131953"/>
                </a:cubicBezTo>
                <a:cubicBezTo>
                  <a:pt x="582931" y="131953"/>
                  <a:pt x="585344" y="131572"/>
                  <a:pt x="588265" y="130810"/>
                </a:cubicBezTo>
                <a:cubicBezTo>
                  <a:pt x="591312" y="130048"/>
                  <a:pt x="593345" y="129286"/>
                  <a:pt x="594615" y="128651"/>
                </a:cubicBezTo>
                <a:lnTo>
                  <a:pt x="597536" y="128651"/>
                </a:lnTo>
                <a:lnTo>
                  <a:pt x="597536" y="153035"/>
                </a:lnTo>
                <a:cubicBezTo>
                  <a:pt x="593725" y="153923"/>
                  <a:pt x="589662" y="154686"/>
                  <a:pt x="585344" y="155321"/>
                </a:cubicBezTo>
                <a:cubicBezTo>
                  <a:pt x="581025" y="155829"/>
                  <a:pt x="575819" y="156083"/>
                  <a:pt x="569596" y="156083"/>
                </a:cubicBezTo>
                <a:cubicBezTo>
                  <a:pt x="555753" y="156083"/>
                  <a:pt x="545466" y="153289"/>
                  <a:pt x="538735" y="147701"/>
                </a:cubicBezTo>
                <a:cubicBezTo>
                  <a:pt x="531876" y="142113"/>
                  <a:pt x="528575" y="132461"/>
                  <a:pt x="528575" y="118872"/>
                </a:cubicBezTo>
                <a:lnTo>
                  <a:pt x="528575" y="66929"/>
                </a:lnTo>
                <a:lnTo>
                  <a:pt x="513843" y="66929"/>
                </a:lnTo>
                <a:lnTo>
                  <a:pt x="513843" y="42798"/>
                </a:lnTo>
                <a:lnTo>
                  <a:pt x="528575" y="42798"/>
                </a:lnTo>
                <a:close/>
                <a:moveTo>
                  <a:pt x="54357" y="6604"/>
                </a:moveTo>
                <a:lnTo>
                  <a:pt x="98172" y="6604"/>
                </a:lnTo>
                <a:lnTo>
                  <a:pt x="152528" y="153923"/>
                </a:lnTo>
                <a:lnTo>
                  <a:pt x="113285" y="153923"/>
                </a:lnTo>
                <a:lnTo>
                  <a:pt x="102998" y="124206"/>
                </a:lnTo>
                <a:lnTo>
                  <a:pt x="48515" y="124206"/>
                </a:lnTo>
                <a:lnTo>
                  <a:pt x="38228" y="153923"/>
                </a:lnTo>
                <a:lnTo>
                  <a:pt x="0" y="153923"/>
                </a:lnTo>
                <a:close/>
                <a:moveTo>
                  <a:pt x="1289178" y="0"/>
                </a:moveTo>
                <a:lnTo>
                  <a:pt x="1324865" y="0"/>
                </a:lnTo>
                <a:lnTo>
                  <a:pt x="1324865" y="153923"/>
                </a:lnTo>
                <a:lnTo>
                  <a:pt x="1289178" y="153923"/>
                </a:lnTo>
                <a:lnTo>
                  <a:pt x="1289178" y="142367"/>
                </a:lnTo>
                <a:cubicBezTo>
                  <a:pt x="1283082" y="147447"/>
                  <a:pt x="1277367" y="151129"/>
                  <a:pt x="1272033" y="153416"/>
                </a:cubicBezTo>
                <a:cubicBezTo>
                  <a:pt x="1266699" y="155829"/>
                  <a:pt x="1260475" y="156972"/>
                  <a:pt x="1253491" y="156972"/>
                </a:cubicBezTo>
                <a:cubicBezTo>
                  <a:pt x="1240029" y="156972"/>
                  <a:pt x="1229234" y="151765"/>
                  <a:pt x="1221106" y="141351"/>
                </a:cubicBezTo>
                <a:cubicBezTo>
                  <a:pt x="1212978" y="130936"/>
                  <a:pt x="1208913" y="116967"/>
                  <a:pt x="1208913" y="99186"/>
                </a:cubicBezTo>
                <a:cubicBezTo>
                  <a:pt x="1208913" y="89789"/>
                  <a:pt x="1210311" y="81407"/>
                  <a:pt x="1212978" y="74167"/>
                </a:cubicBezTo>
                <a:cubicBezTo>
                  <a:pt x="1215772" y="66802"/>
                  <a:pt x="1219455" y="60579"/>
                  <a:pt x="1224281" y="55372"/>
                </a:cubicBezTo>
                <a:cubicBezTo>
                  <a:pt x="1228725" y="50419"/>
                  <a:pt x="1234187" y="46609"/>
                  <a:pt x="1240537" y="43815"/>
                </a:cubicBezTo>
                <a:cubicBezTo>
                  <a:pt x="1246887" y="41148"/>
                  <a:pt x="1253363" y="39751"/>
                  <a:pt x="1259713" y="39751"/>
                </a:cubicBezTo>
                <a:cubicBezTo>
                  <a:pt x="1266318" y="39751"/>
                  <a:pt x="1271779" y="40513"/>
                  <a:pt x="1276097" y="41910"/>
                </a:cubicBezTo>
                <a:cubicBezTo>
                  <a:pt x="1280287" y="43307"/>
                  <a:pt x="1284733" y="45085"/>
                  <a:pt x="1289178" y="47244"/>
                </a:cubicBezTo>
                <a:close/>
                <a:moveTo>
                  <a:pt x="457836" y="0"/>
                </a:moveTo>
                <a:lnTo>
                  <a:pt x="493650" y="0"/>
                </a:lnTo>
                <a:lnTo>
                  <a:pt x="493650" y="153923"/>
                </a:lnTo>
                <a:lnTo>
                  <a:pt x="457836" y="153923"/>
                </a:lnTo>
                <a:close/>
                <a:moveTo>
                  <a:pt x="243713" y="0"/>
                </a:moveTo>
                <a:lnTo>
                  <a:pt x="279400" y="0"/>
                </a:lnTo>
                <a:lnTo>
                  <a:pt x="279400" y="153923"/>
                </a:lnTo>
                <a:lnTo>
                  <a:pt x="243713" y="153923"/>
                </a:lnTo>
                <a:lnTo>
                  <a:pt x="243713" y="142367"/>
                </a:lnTo>
                <a:cubicBezTo>
                  <a:pt x="237618" y="147447"/>
                  <a:pt x="231903" y="151129"/>
                  <a:pt x="226569" y="153416"/>
                </a:cubicBezTo>
                <a:cubicBezTo>
                  <a:pt x="221235" y="155829"/>
                  <a:pt x="215012" y="156972"/>
                  <a:pt x="208026" y="156972"/>
                </a:cubicBezTo>
                <a:cubicBezTo>
                  <a:pt x="194565" y="156972"/>
                  <a:pt x="183770" y="151765"/>
                  <a:pt x="175642" y="141351"/>
                </a:cubicBezTo>
                <a:cubicBezTo>
                  <a:pt x="167513" y="130936"/>
                  <a:pt x="163450" y="116967"/>
                  <a:pt x="163450" y="99186"/>
                </a:cubicBezTo>
                <a:cubicBezTo>
                  <a:pt x="163450" y="89789"/>
                  <a:pt x="164847" y="81407"/>
                  <a:pt x="167513" y="74167"/>
                </a:cubicBezTo>
                <a:cubicBezTo>
                  <a:pt x="170308" y="66802"/>
                  <a:pt x="173991" y="60579"/>
                  <a:pt x="178817" y="55372"/>
                </a:cubicBezTo>
                <a:cubicBezTo>
                  <a:pt x="183262" y="50419"/>
                  <a:pt x="188723" y="46609"/>
                  <a:pt x="195073" y="43815"/>
                </a:cubicBezTo>
                <a:cubicBezTo>
                  <a:pt x="201423" y="41148"/>
                  <a:pt x="207900" y="39751"/>
                  <a:pt x="214250" y="39751"/>
                </a:cubicBezTo>
                <a:cubicBezTo>
                  <a:pt x="220854" y="39751"/>
                  <a:pt x="226315" y="40513"/>
                  <a:pt x="230633" y="41910"/>
                </a:cubicBezTo>
                <a:cubicBezTo>
                  <a:pt x="234824" y="43307"/>
                  <a:pt x="239269" y="45085"/>
                  <a:pt x="243713" y="47244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68" name="object 168"/>
          <p:cNvSpPr/>
          <p:nvPr/>
        </p:nvSpPr>
        <p:spPr>
          <a:xfrm>
            <a:off x="7443526" y="3421111"/>
            <a:ext cx="9143" cy="9143"/>
          </a:xfrm>
          <a:custGeom>
            <a:avLst/>
            <a:gdLst/>
            <a:ahLst/>
            <a:cxnLst/>
            <a:rect l="l" t="t" r="r" b="b"/>
            <a:pathLst>
              <a:path w="9143" h="9143"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69" name="object 169"/>
          <p:cNvSpPr/>
          <p:nvPr/>
        </p:nvSpPr>
        <p:spPr>
          <a:xfrm>
            <a:off x="7404100" y="3420999"/>
            <a:ext cx="48514" cy="40004"/>
          </a:xfrm>
          <a:custGeom>
            <a:avLst/>
            <a:gdLst/>
            <a:ahLst/>
            <a:cxnLst/>
            <a:rect l="l" t="t" r="r" b="b"/>
            <a:pathLst>
              <a:path w="48514" h="40004">
                <a:moveTo>
                  <a:pt x="43942" y="4572"/>
                </a:moveTo>
                <a:cubicBezTo>
                  <a:pt x="39116" y="4953"/>
                  <a:pt x="33909" y="5460"/>
                  <a:pt x="28321" y="6096"/>
                </a:cubicBezTo>
                <a:cubicBezTo>
                  <a:pt x="22732" y="6858"/>
                  <a:pt x="18415" y="7620"/>
                  <a:pt x="15621" y="8509"/>
                </a:cubicBezTo>
                <a:cubicBezTo>
                  <a:pt x="12065" y="9652"/>
                  <a:pt x="9271" y="11303"/>
                  <a:pt x="7366" y="13462"/>
                </a:cubicBezTo>
                <a:cubicBezTo>
                  <a:pt x="5461" y="15621"/>
                  <a:pt x="4572" y="18415"/>
                  <a:pt x="4572" y="21844"/>
                </a:cubicBezTo>
                <a:cubicBezTo>
                  <a:pt x="4572" y="24129"/>
                  <a:pt x="4826" y="26035"/>
                  <a:pt x="5206" y="27559"/>
                </a:cubicBezTo>
                <a:cubicBezTo>
                  <a:pt x="5588" y="28956"/>
                  <a:pt x="6604" y="30353"/>
                  <a:pt x="8128" y="31622"/>
                </a:cubicBezTo>
                <a:cubicBezTo>
                  <a:pt x="9652" y="33020"/>
                  <a:pt x="11430" y="33909"/>
                  <a:pt x="13589" y="34544"/>
                </a:cubicBezTo>
                <a:cubicBezTo>
                  <a:pt x="15748" y="35179"/>
                  <a:pt x="19050" y="35433"/>
                  <a:pt x="23494" y="35433"/>
                </a:cubicBezTo>
                <a:cubicBezTo>
                  <a:pt x="27051" y="35433"/>
                  <a:pt x="30606" y="34797"/>
                  <a:pt x="34290" y="33274"/>
                </a:cubicBezTo>
                <a:cubicBezTo>
                  <a:pt x="37973" y="31877"/>
                  <a:pt x="41148" y="29972"/>
                  <a:pt x="43942" y="27559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0" name="object 170"/>
          <p:cNvSpPr/>
          <p:nvPr/>
        </p:nvSpPr>
        <p:spPr>
          <a:xfrm>
            <a:off x="7443526" y="3384931"/>
            <a:ext cx="361441" cy="68198"/>
          </a:xfrm>
          <a:custGeom>
            <a:avLst/>
            <a:gdLst/>
            <a:ahLst/>
            <a:cxnLst/>
            <a:rect l="l" t="t" r="r" b="b"/>
            <a:pathLst>
              <a:path w="361441" h="68198">
                <a:moveTo>
                  <a:pt x="4572" y="63627"/>
                </a:moveTo>
                <a:moveTo>
                  <a:pt x="4572" y="40640"/>
                </a:moveTo>
                <a:moveTo>
                  <a:pt x="356870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1" name="object 171"/>
          <p:cNvSpPr/>
          <p:nvPr/>
        </p:nvSpPr>
        <p:spPr>
          <a:xfrm>
            <a:off x="7767701" y="3385043"/>
            <a:ext cx="52704" cy="73405"/>
          </a:xfrm>
          <a:custGeom>
            <a:avLst/>
            <a:gdLst/>
            <a:ahLst/>
            <a:cxnLst/>
            <a:rect l="l" t="t" r="r" b="b"/>
            <a:pathLst>
              <a:path w="52704" h="73405">
                <a:moveTo>
                  <a:pt x="32639" y="4572"/>
                </a:moveTo>
                <a:cubicBezTo>
                  <a:pt x="23241" y="4572"/>
                  <a:pt x="16255" y="7493"/>
                  <a:pt x="11556" y="13334"/>
                </a:cubicBezTo>
                <a:cubicBezTo>
                  <a:pt x="6858" y="19177"/>
                  <a:pt x="4572" y="27305"/>
                  <a:pt x="4572" y="37719"/>
                </a:cubicBezTo>
                <a:cubicBezTo>
                  <a:pt x="4572" y="48514"/>
                  <a:pt x="6477" y="56515"/>
                  <a:pt x="10160" y="61468"/>
                </a:cubicBezTo>
                <a:cubicBezTo>
                  <a:pt x="13970" y="66294"/>
                  <a:pt x="19939" y="68834"/>
                  <a:pt x="28321" y="68834"/>
                </a:cubicBezTo>
                <a:cubicBezTo>
                  <a:pt x="31496" y="68834"/>
                  <a:pt x="34925" y="68199"/>
                  <a:pt x="38608" y="66928"/>
                </a:cubicBezTo>
                <a:cubicBezTo>
                  <a:pt x="42164" y="65786"/>
                  <a:pt x="45339" y="64134"/>
                  <a:pt x="48133" y="62103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2" name="object 172"/>
          <p:cNvSpPr/>
          <p:nvPr/>
        </p:nvSpPr>
        <p:spPr>
          <a:xfrm>
            <a:off x="7811318" y="3387852"/>
            <a:ext cx="9143" cy="63754"/>
          </a:xfrm>
          <a:custGeom>
            <a:avLst/>
            <a:gdLst/>
            <a:ahLst/>
            <a:cxnLst/>
            <a:rect l="l" t="t" r="r" b="b"/>
            <a:pathLst>
              <a:path w="9143" h="63754">
                <a:moveTo>
                  <a:pt x="4572" y="59182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3" name="object 173"/>
          <p:cNvSpPr/>
          <p:nvPr/>
        </p:nvSpPr>
        <p:spPr>
          <a:xfrm>
            <a:off x="6722237" y="3385043"/>
            <a:ext cx="1098168" cy="73405"/>
          </a:xfrm>
          <a:custGeom>
            <a:avLst/>
            <a:gdLst/>
            <a:ahLst/>
            <a:cxnLst/>
            <a:rect l="l" t="t" r="r" b="b"/>
            <a:pathLst>
              <a:path w="1098168" h="73405">
                <a:moveTo>
                  <a:pt x="1093597" y="7493"/>
                </a:moveTo>
                <a:cubicBezTo>
                  <a:pt x="1091056" y="6477"/>
                  <a:pt x="1088517" y="5715"/>
                  <a:pt x="1085723" y="5207"/>
                </a:cubicBezTo>
                <a:cubicBezTo>
                  <a:pt x="1082929" y="4826"/>
                  <a:pt x="1080389" y="4572"/>
                  <a:pt x="1078103" y="4572"/>
                </a:cubicBezTo>
                <a:moveTo>
                  <a:pt x="725805" y="40640"/>
                </a:moveTo>
                <a:moveTo>
                  <a:pt x="32639" y="4572"/>
                </a:moveTo>
                <a:cubicBezTo>
                  <a:pt x="23241" y="4572"/>
                  <a:pt x="16256" y="7493"/>
                  <a:pt x="11556" y="13334"/>
                </a:cubicBezTo>
                <a:cubicBezTo>
                  <a:pt x="6857" y="19177"/>
                  <a:pt x="4572" y="27305"/>
                  <a:pt x="4572" y="37719"/>
                </a:cubicBezTo>
                <a:cubicBezTo>
                  <a:pt x="4572" y="48514"/>
                  <a:pt x="6477" y="56515"/>
                  <a:pt x="10160" y="61468"/>
                </a:cubicBezTo>
                <a:cubicBezTo>
                  <a:pt x="13969" y="66294"/>
                  <a:pt x="19939" y="68834"/>
                  <a:pt x="28320" y="68834"/>
                </a:cubicBezTo>
                <a:cubicBezTo>
                  <a:pt x="31495" y="68834"/>
                  <a:pt x="34925" y="68199"/>
                  <a:pt x="38607" y="66928"/>
                </a:cubicBezTo>
                <a:cubicBezTo>
                  <a:pt x="42164" y="65786"/>
                  <a:pt x="45339" y="64134"/>
                  <a:pt x="48132" y="62103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4" name="object 174"/>
          <p:cNvSpPr/>
          <p:nvPr/>
        </p:nvSpPr>
        <p:spPr>
          <a:xfrm>
            <a:off x="6765854" y="3387852"/>
            <a:ext cx="9143" cy="63754"/>
          </a:xfrm>
          <a:custGeom>
            <a:avLst/>
            <a:gdLst/>
            <a:ahLst/>
            <a:cxnLst/>
            <a:rect l="l" t="t" r="r" b="b"/>
            <a:pathLst>
              <a:path w="9143" h="63754">
                <a:moveTo>
                  <a:pt x="4571" y="59182"/>
                </a:moveTo>
                <a:lnTo>
                  <a:pt x="4571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5" name="object 175"/>
          <p:cNvSpPr/>
          <p:nvPr/>
        </p:nvSpPr>
        <p:spPr>
          <a:xfrm>
            <a:off x="6750360" y="3380740"/>
            <a:ext cx="915797" cy="49402"/>
          </a:xfrm>
          <a:custGeom>
            <a:avLst/>
            <a:gdLst/>
            <a:ahLst/>
            <a:cxnLst/>
            <a:rect l="l" t="t" r="r" b="b"/>
            <a:pathLst>
              <a:path w="915797" h="49402">
                <a:moveTo>
                  <a:pt x="20065" y="11684"/>
                </a:moveTo>
                <a:cubicBezTo>
                  <a:pt x="17526" y="10668"/>
                  <a:pt x="14986" y="9906"/>
                  <a:pt x="12192" y="9398"/>
                </a:cubicBezTo>
                <a:cubicBezTo>
                  <a:pt x="9398" y="9017"/>
                  <a:pt x="6858" y="8763"/>
                  <a:pt x="4572" y="8763"/>
                </a:cubicBezTo>
                <a:moveTo>
                  <a:pt x="697738" y="44831"/>
                </a:moveTo>
                <a:moveTo>
                  <a:pt x="911225" y="4572"/>
                </a:moveTo>
                <a:cubicBezTo>
                  <a:pt x="904367" y="4572"/>
                  <a:pt x="898778" y="6350"/>
                  <a:pt x="894334" y="9906"/>
                </a:cubicBezTo>
                <a:cubicBezTo>
                  <a:pt x="889889" y="13462"/>
                  <a:pt x="887349" y="19177"/>
                  <a:pt x="886840" y="27050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6" name="object 176"/>
          <p:cNvSpPr/>
          <p:nvPr/>
        </p:nvSpPr>
        <p:spPr>
          <a:xfrm>
            <a:off x="7632629" y="3403331"/>
            <a:ext cx="55371" cy="9143"/>
          </a:xfrm>
          <a:custGeom>
            <a:avLst/>
            <a:gdLst/>
            <a:ahLst/>
            <a:cxnLst/>
            <a:rect l="l" t="t" r="r" b="b"/>
            <a:pathLst>
              <a:path w="55371" h="9143">
                <a:moveTo>
                  <a:pt x="4571" y="4571"/>
                </a:moveTo>
                <a:lnTo>
                  <a:pt x="50800" y="457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7" name="object 177"/>
          <p:cNvSpPr/>
          <p:nvPr/>
        </p:nvSpPr>
        <p:spPr>
          <a:xfrm>
            <a:off x="7169333" y="3380740"/>
            <a:ext cx="518667" cy="49402"/>
          </a:xfrm>
          <a:custGeom>
            <a:avLst/>
            <a:gdLst/>
            <a:ahLst/>
            <a:cxnLst/>
            <a:rect l="l" t="t" r="r" b="b"/>
            <a:pathLst>
              <a:path w="518667" h="49402">
                <a:moveTo>
                  <a:pt x="514096" y="27050"/>
                </a:moveTo>
                <a:cubicBezTo>
                  <a:pt x="513969" y="19558"/>
                  <a:pt x="512064" y="13969"/>
                  <a:pt x="508635" y="10287"/>
                </a:cubicBezTo>
                <a:cubicBezTo>
                  <a:pt x="505079" y="6477"/>
                  <a:pt x="499617" y="4572"/>
                  <a:pt x="492252" y="4572"/>
                </a:cubicBezTo>
                <a:moveTo>
                  <a:pt x="278765" y="44831"/>
                </a:moveTo>
                <a:moveTo>
                  <a:pt x="28955" y="4572"/>
                </a:moveTo>
                <a:cubicBezTo>
                  <a:pt x="22098" y="4572"/>
                  <a:pt x="16510" y="6350"/>
                  <a:pt x="12065" y="9906"/>
                </a:cubicBezTo>
                <a:cubicBezTo>
                  <a:pt x="7620" y="13462"/>
                  <a:pt x="5079" y="19177"/>
                  <a:pt x="4572" y="27050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8" name="object 178"/>
          <p:cNvSpPr/>
          <p:nvPr/>
        </p:nvSpPr>
        <p:spPr>
          <a:xfrm>
            <a:off x="7169277" y="3403331"/>
            <a:ext cx="55372" cy="9143"/>
          </a:xfrm>
          <a:custGeom>
            <a:avLst/>
            <a:gdLst/>
            <a:ahLst/>
            <a:cxnLst/>
            <a:rect l="l" t="t" r="r" b="b"/>
            <a:pathLst>
              <a:path w="55372" h="9143">
                <a:moveTo>
                  <a:pt x="4572" y="4571"/>
                </a:moveTo>
                <a:lnTo>
                  <a:pt x="50800" y="457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79" name="object 179"/>
          <p:cNvSpPr/>
          <p:nvPr/>
        </p:nvSpPr>
        <p:spPr>
          <a:xfrm>
            <a:off x="6579743" y="3363468"/>
            <a:ext cx="872870" cy="66674"/>
          </a:xfrm>
          <a:custGeom>
            <a:avLst/>
            <a:gdLst/>
            <a:ahLst/>
            <a:cxnLst/>
            <a:rect l="l" t="t" r="r" b="b"/>
            <a:pathLst>
              <a:path w="872870" h="66674">
                <a:moveTo>
                  <a:pt x="640334" y="44322"/>
                </a:moveTo>
                <a:cubicBezTo>
                  <a:pt x="640207" y="36830"/>
                  <a:pt x="638301" y="31241"/>
                  <a:pt x="634873" y="27559"/>
                </a:cubicBezTo>
                <a:cubicBezTo>
                  <a:pt x="631317" y="23749"/>
                  <a:pt x="625856" y="21844"/>
                  <a:pt x="618489" y="21844"/>
                </a:cubicBezTo>
                <a:moveTo>
                  <a:pt x="868299" y="62103"/>
                </a:moveTo>
                <a:moveTo>
                  <a:pt x="22733" y="4572"/>
                </a:moveTo>
                <a:lnTo>
                  <a:pt x="4572" y="5740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0" name="object 180"/>
          <p:cNvSpPr/>
          <p:nvPr/>
        </p:nvSpPr>
        <p:spPr>
          <a:xfrm>
            <a:off x="6579743" y="3416412"/>
            <a:ext cx="45338" cy="9143"/>
          </a:xfrm>
          <a:custGeom>
            <a:avLst/>
            <a:gdLst/>
            <a:ahLst/>
            <a:cxnLst/>
            <a:rect l="l" t="t" r="r" b="b"/>
            <a:pathLst>
              <a:path w="45338" h="9143">
                <a:moveTo>
                  <a:pt x="4572" y="4571"/>
                </a:moveTo>
                <a:lnTo>
                  <a:pt x="40767" y="457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1" name="object 181"/>
          <p:cNvSpPr/>
          <p:nvPr/>
        </p:nvSpPr>
        <p:spPr>
          <a:xfrm>
            <a:off x="6615938" y="3362056"/>
            <a:ext cx="836676" cy="68199"/>
          </a:xfrm>
          <a:custGeom>
            <a:avLst/>
            <a:gdLst/>
            <a:ahLst/>
            <a:cxnLst/>
            <a:rect l="l" t="t" r="r" b="b"/>
            <a:pathLst>
              <a:path w="836676" h="68199">
                <a:moveTo>
                  <a:pt x="4572" y="58927"/>
                </a:moveTo>
                <a:moveTo>
                  <a:pt x="832104" y="63627"/>
                </a:moveTo>
                <a:moveTo>
                  <a:pt x="222885" y="4571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2" name="object 182"/>
          <p:cNvSpPr/>
          <p:nvPr/>
        </p:nvSpPr>
        <p:spPr>
          <a:xfrm>
            <a:off x="6834255" y="3361944"/>
            <a:ext cx="44958" cy="64262"/>
          </a:xfrm>
          <a:custGeom>
            <a:avLst/>
            <a:gdLst/>
            <a:ahLst/>
            <a:cxnLst/>
            <a:rect l="l" t="t" r="r" b="b"/>
            <a:pathLst>
              <a:path w="44958" h="64262">
                <a:moveTo>
                  <a:pt x="4572" y="4571"/>
                </a:moveTo>
                <a:lnTo>
                  <a:pt x="40386" y="4571"/>
                </a:lnTo>
                <a:lnTo>
                  <a:pt x="40386" y="59690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3" name="object 183"/>
          <p:cNvSpPr/>
          <p:nvPr/>
        </p:nvSpPr>
        <p:spPr>
          <a:xfrm>
            <a:off x="6870121" y="3417062"/>
            <a:ext cx="49275" cy="39496"/>
          </a:xfrm>
          <a:custGeom>
            <a:avLst/>
            <a:gdLst/>
            <a:ahLst/>
            <a:cxnLst/>
            <a:rect l="l" t="t" r="r" b="b"/>
            <a:pathLst>
              <a:path w="49275" h="39496">
                <a:moveTo>
                  <a:pt x="4572" y="4572"/>
                </a:moveTo>
                <a:cubicBezTo>
                  <a:pt x="4572" y="10159"/>
                  <a:pt x="4699" y="14859"/>
                  <a:pt x="5079" y="18541"/>
                </a:cubicBezTo>
                <a:cubicBezTo>
                  <a:pt x="5461" y="22352"/>
                  <a:pt x="6223" y="25400"/>
                  <a:pt x="7620" y="27813"/>
                </a:cubicBezTo>
                <a:cubicBezTo>
                  <a:pt x="8890" y="30353"/>
                  <a:pt x="10795" y="32131"/>
                  <a:pt x="13335" y="33147"/>
                </a:cubicBezTo>
                <a:cubicBezTo>
                  <a:pt x="15875" y="34290"/>
                  <a:pt x="19431" y="34925"/>
                  <a:pt x="23876" y="34925"/>
                </a:cubicBezTo>
                <a:cubicBezTo>
                  <a:pt x="26924" y="34925"/>
                  <a:pt x="30353" y="34290"/>
                  <a:pt x="34036" y="33147"/>
                </a:cubicBezTo>
                <a:cubicBezTo>
                  <a:pt x="37719" y="32131"/>
                  <a:pt x="41275" y="30480"/>
                  <a:pt x="44703" y="28194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4" name="object 184"/>
          <p:cNvSpPr/>
          <p:nvPr/>
        </p:nvSpPr>
        <p:spPr>
          <a:xfrm>
            <a:off x="6910253" y="3361944"/>
            <a:ext cx="44831" cy="120268"/>
          </a:xfrm>
          <a:custGeom>
            <a:avLst/>
            <a:gdLst/>
            <a:ahLst/>
            <a:cxnLst/>
            <a:rect l="l" t="t" r="r" b="b"/>
            <a:pathLst>
              <a:path w="44831" h="120268">
                <a:moveTo>
                  <a:pt x="4571" y="83312"/>
                </a:moveTo>
                <a:lnTo>
                  <a:pt x="4571" y="4571"/>
                </a:lnTo>
                <a:lnTo>
                  <a:pt x="40259" y="4571"/>
                </a:lnTo>
                <a:lnTo>
                  <a:pt x="40259" y="115696"/>
                </a:lnTo>
                <a:lnTo>
                  <a:pt x="4571" y="115696"/>
                </a:lnTo>
                <a:lnTo>
                  <a:pt x="4571" y="103505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5" name="object 185"/>
          <p:cNvSpPr/>
          <p:nvPr/>
        </p:nvSpPr>
        <p:spPr>
          <a:xfrm>
            <a:off x="6834307" y="3361563"/>
            <a:ext cx="618363" cy="123698"/>
          </a:xfrm>
          <a:custGeom>
            <a:avLst/>
            <a:gdLst/>
            <a:ahLst/>
            <a:cxnLst/>
            <a:rect l="l" t="t" r="r" b="b"/>
            <a:pathLst>
              <a:path w="618363" h="123698">
                <a:moveTo>
                  <a:pt x="80517" y="103886"/>
                </a:moveTo>
                <a:cubicBezTo>
                  <a:pt x="73914" y="108839"/>
                  <a:pt x="67945" y="112649"/>
                  <a:pt x="62484" y="115315"/>
                </a:cubicBezTo>
                <a:cubicBezTo>
                  <a:pt x="57023" y="117856"/>
                  <a:pt x="50418" y="119126"/>
                  <a:pt x="42799" y="119126"/>
                </a:cubicBezTo>
                <a:cubicBezTo>
                  <a:pt x="30606" y="119126"/>
                  <a:pt x="21209" y="115696"/>
                  <a:pt x="14605" y="108585"/>
                </a:cubicBezTo>
                <a:cubicBezTo>
                  <a:pt x="7874" y="101473"/>
                  <a:pt x="4572" y="91058"/>
                  <a:pt x="4572" y="77343"/>
                </a:cubicBezTo>
                <a:moveTo>
                  <a:pt x="613791" y="64008"/>
                </a:moveTo>
                <a:moveTo>
                  <a:pt x="518160" y="4571"/>
                </a:moveTo>
                <a:cubicBezTo>
                  <a:pt x="519303" y="4571"/>
                  <a:pt x="520827" y="4571"/>
                  <a:pt x="522351" y="4699"/>
                </a:cubicBezTo>
                <a:cubicBezTo>
                  <a:pt x="523875" y="4699"/>
                  <a:pt x="525272" y="4826"/>
                  <a:pt x="526542" y="495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6" name="object 186"/>
          <p:cNvSpPr/>
          <p:nvPr/>
        </p:nvSpPr>
        <p:spPr>
          <a:xfrm>
            <a:off x="7353051" y="3361944"/>
            <a:ext cx="12318" cy="43052"/>
          </a:xfrm>
          <a:custGeom>
            <a:avLst/>
            <a:gdLst/>
            <a:ahLst/>
            <a:cxnLst/>
            <a:rect l="l" t="t" r="r" b="b"/>
            <a:pathLst>
              <a:path w="12318" h="43052">
                <a:moveTo>
                  <a:pt x="7747" y="4571"/>
                </a:moveTo>
                <a:lnTo>
                  <a:pt x="7747" y="38481"/>
                </a:lnTo>
                <a:lnTo>
                  <a:pt x="4572" y="3848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7" name="object 187"/>
          <p:cNvSpPr/>
          <p:nvPr/>
        </p:nvSpPr>
        <p:spPr>
          <a:xfrm>
            <a:off x="7311394" y="3394441"/>
            <a:ext cx="50800" cy="13461"/>
          </a:xfrm>
          <a:custGeom>
            <a:avLst/>
            <a:gdLst/>
            <a:ahLst/>
            <a:cxnLst/>
            <a:rect l="l" t="t" r="r" b="b"/>
            <a:pathLst>
              <a:path w="50800" h="13461">
                <a:moveTo>
                  <a:pt x="46228" y="6096"/>
                </a:moveTo>
                <a:cubicBezTo>
                  <a:pt x="44703" y="5588"/>
                  <a:pt x="42291" y="5207"/>
                  <a:pt x="38862" y="4953"/>
                </a:cubicBezTo>
                <a:cubicBezTo>
                  <a:pt x="35560" y="4699"/>
                  <a:pt x="32766" y="4572"/>
                  <a:pt x="30479" y="4572"/>
                </a:cubicBezTo>
                <a:cubicBezTo>
                  <a:pt x="25400" y="4572"/>
                  <a:pt x="20954" y="4953"/>
                  <a:pt x="17017" y="5588"/>
                </a:cubicBezTo>
                <a:cubicBezTo>
                  <a:pt x="13208" y="6223"/>
                  <a:pt x="9016" y="7366"/>
                  <a:pt x="4572" y="8890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8" name="object 188"/>
          <p:cNvSpPr/>
          <p:nvPr/>
        </p:nvSpPr>
        <p:spPr>
          <a:xfrm>
            <a:off x="7275579" y="3361944"/>
            <a:ext cx="44958" cy="120268"/>
          </a:xfrm>
          <a:custGeom>
            <a:avLst/>
            <a:gdLst/>
            <a:ahLst/>
            <a:cxnLst/>
            <a:rect l="l" t="t" r="r" b="b"/>
            <a:pathLst>
              <a:path w="44958" h="120268">
                <a:moveTo>
                  <a:pt x="40386" y="41275"/>
                </a:moveTo>
                <a:lnTo>
                  <a:pt x="40386" y="115696"/>
                </a:lnTo>
                <a:lnTo>
                  <a:pt x="4572" y="115696"/>
                </a:lnTo>
                <a:lnTo>
                  <a:pt x="4572" y="4571"/>
                </a:lnTo>
                <a:lnTo>
                  <a:pt x="40386" y="4571"/>
                </a:lnTo>
                <a:lnTo>
                  <a:pt x="40386" y="20955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89" name="object 189"/>
          <p:cNvSpPr/>
          <p:nvPr/>
        </p:nvSpPr>
        <p:spPr>
          <a:xfrm>
            <a:off x="7311392" y="3358769"/>
            <a:ext cx="176529" cy="71374"/>
          </a:xfrm>
          <a:custGeom>
            <a:avLst/>
            <a:gdLst/>
            <a:ahLst/>
            <a:cxnLst/>
            <a:rect l="l" t="t" r="r" b="b"/>
            <a:pathLst>
              <a:path w="176529" h="71374">
                <a:moveTo>
                  <a:pt x="4572" y="24130"/>
                </a:moveTo>
                <a:cubicBezTo>
                  <a:pt x="12319" y="17399"/>
                  <a:pt x="19177" y="12954"/>
                  <a:pt x="25019" y="10668"/>
                </a:cubicBezTo>
                <a:cubicBezTo>
                  <a:pt x="30734" y="8509"/>
                  <a:pt x="36067" y="7365"/>
                  <a:pt x="41021" y="7365"/>
                </a:cubicBezTo>
                <a:moveTo>
                  <a:pt x="136652" y="66802"/>
                </a:moveTo>
                <a:moveTo>
                  <a:pt x="114553" y="4571"/>
                </a:moveTo>
                <a:cubicBezTo>
                  <a:pt x="134874" y="4571"/>
                  <a:pt x="149478" y="7746"/>
                  <a:pt x="158496" y="13970"/>
                </a:cubicBezTo>
                <a:cubicBezTo>
                  <a:pt x="167513" y="20193"/>
                  <a:pt x="171958" y="29971"/>
                  <a:pt x="171958" y="43307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0" name="object 190"/>
          <p:cNvSpPr/>
          <p:nvPr/>
        </p:nvSpPr>
        <p:spPr>
          <a:xfrm>
            <a:off x="7443526" y="3397504"/>
            <a:ext cx="44449" cy="84708"/>
          </a:xfrm>
          <a:custGeom>
            <a:avLst/>
            <a:gdLst/>
            <a:ahLst/>
            <a:cxnLst/>
            <a:rect l="l" t="t" r="r" b="b"/>
            <a:pathLst>
              <a:path w="44449" h="84708">
                <a:moveTo>
                  <a:pt x="39878" y="4572"/>
                </a:moveTo>
                <a:lnTo>
                  <a:pt x="39878" y="80136"/>
                </a:lnTo>
                <a:lnTo>
                  <a:pt x="4572" y="80136"/>
                </a:lnTo>
                <a:lnTo>
                  <a:pt x="4572" y="6845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1" name="object 191"/>
          <p:cNvSpPr/>
          <p:nvPr/>
        </p:nvSpPr>
        <p:spPr>
          <a:xfrm>
            <a:off x="7367905" y="3400052"/>
            <a:ext cx="84962" cy="85217"/>
          </a:xfrm>
          <a:custGeom>
            <a:avLst/>
            <a:gdLst/>
            <a:ahLst/>
            <a:cxnLst/>
            <a:rect l="l" t="t" r="r" b="b"/>
            <a:pathLst>
              <a:path w="84962" h="85217">
                <a:moveTo>
                  <a:pt x="80137" y="65913"/>
                </a:moveTo>
                <a:cubicBezTo>
                  <a:pt x="78232" y="67309"/>
                  <a:pt x="75819" y="69088"/>
                  <a:pt x="73025" y="71120"/>
                </a:cubicBezTo>
                <a:cubicBezTo>
                  <a:pt x="70231" y="73152"/>
                  <a:pt x="67563" y="74802"/>
                  <a:pt x="65024" y="75946"/>
                </a:cubicBezTo>
                <a:cubicBezTo>
                  <a:pt x="61468" y="77470"/>
                  <a:pt x="57912" y="78740"/>
                  <a:pt x="54101" y="79502"/>
                </a:cubicBezTo>
                <a:cubicBezTo>
                  <a:pt x="50419" y="80264"/>
                  <a:pt x="46227" y="80645"/>
                  <a:pt x="41783" y="80645"/>
                </a:cubicBezTo>
                <a:cubicBezTo>
                  <a:pt x="31242" y="80645"/>
                  <a:pt x="22351" y="77343"/>
                  <a:pt x="15239" y="70739"/>
                </a:cubicBezTo>
                <a:cubicBezTo>
                  <a:pt x="8127" y="64262"/>
                  <a:pt x="4572" y="55880"/>
                  <a:pt x="4572" y="45720"/>
                </a:cubicBezTo>
                <a:cubicBezTo>
                  <a:pt x="4572" y="37592"/>
                  <a:pt x="6350" y="30988"/>
                  <a:pt x="10033" y="25908"/>
                </a:cubicBezTo>
                <a:cubicBezTo>
                  <a:pt x="13588" y="20701"/>
                  <a:pt x="18796" y="16637"/>
                  <a:pt x="25400" y="13715"/>
                </a:cubicBezTo>
                <a:cubicBezTo>
                  <a:pt x="32004" y="10668"/>
                  <a:pt x="40259" y="8636"/>
                  <a:pt x="50038" y="7365"/>
                </a:cubicBezTo>
                <a:cubicBezTo>
                  <a:pt x="59689" y="6096"/>
                  <a:pt x="69850" y="5207"/>
                  <a:pt x="80391" y="4571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2" name="object 192"/>
          <p:cNvSpPr/>
          <p:nvPr/>
        </p:nvSpPr>
        <p:spPr>
          <a:xfrm>
            <a:off x="7443780" y="3399409"/>
            <a:ext cx="9143" cy="9778"/>
          </a:xfrm>
          <a:custGeom>
            <a:avLst/>
            <a:gdLst/>
            <a:ahLst/>
            <a:cxnLst/>
            <a:rect l="l" t="t" r="r" b="b"/>
            <a:pathLst>
              <a:path w="9143" h="9778">
                <a:moveTo>
                  <a:pt x="4572" y="5206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3" name="object 193"/>
          <p:cNvSpPr/>
          <p:nvPr/>
        </p:nvSpPr>
        <p:spPr>
          <a:xfrm>
            <a:off x="7380859" y="3383280"/>
            <a:ext cx="72008" cy="25272"/>
          </a:xfrm>
          <a:custGeom>
            <a:avLst/>
            <a:gdLst/>
            <a:ahLst/>
            <a:cxnLst/>
            <a:rect l="l" t="t" r="r" b="b"/>
            <a:pathLst>
              <a:path w="72008" h="25272">
                <a:moveTo>
                  <a:pt x="67437" y="20701"/>
                </a:moveTo>
                <a:cubicBezTo>
                  <a:pt x="67437" y="14604"/>
                  <a:pt x="64897" y="10414"/>
                  <a:pt x="59944" y="8001"/>
                </a:cubicBezTo>
                <a:cubicBezTo>
                  <a:pt x="54864" y="5715"/>
                  <a:pt x="47497" y="4572"/>
                  <a:pt x="37719" y="4572"/>
                </a:cubicBezTo>
                <a:cubicBezTo>
                  <a:pt x="31877" y="4572"/>
                  <a:pt x="25527" y="5588"/>
                  <a:pt x="18922" y="7620"/>
                </a:cubicBezTo>
                <a:cubicBezTo>
                  <a:pt x="12192" y="9779"/>
                  <a:pt x="7493" y="11303"/>
                  <a:pt x="4572" y="12446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4" name="object 194"/>
          <p:cNvSpPr/>
          <p:nvPr/>
        </p:nvSpPr>
        <p:spPr>
          <a:xfrm>
            <a:off x="7377558" y="3364469"/>
            <a:ext cx="12445" cy="35941"/>
          </a:xfrm>
          <a:custGeom>
            <a:avLst/>
            <a:gdLst/>
            <a:ahLst/>
            <a:cxnLst/>
            <a:rect l="l" t="t" r="r" b="b"/>
            <a:pathLst>
              <a:path w="12445" h="35941">
                <a:moveTo>
                  <a:pt x="7874" y="31369"/>
                </a:moveTo>
                <a:lnTo>
                  <a:pt x="4572" y="31369"/>
                </a:lnTo>
                <a:lnTo>
                  <a:pt x="4572" y="457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5" name="object 195"/>
          <p:cNvSpPr/>
          <p:nvPr/>
        </p:nvSpPr>
        <p:spPr>
          <a:xfrm>
            <a:off x="7377557" y="3358627"/>
            <a:ext cx="345820" cy="71627"/>
          </a:xfrm>
          <a:custGeom>
            <a:avLst/>
            <a:gdLst/>
            <a:ahLst/>
            <a:cxnLst/>
            <a:rect l="l" t="t" r="r" b="b"/>
            <a:pathLst>
              <a:path w="345820" h="71627">
                <a:moveTo>
                  <a:pt x="4572" y="10413"/>
                </a:moveTo>
                <a:cubicBezTo>
                  <a:pt x="8382" y="9398"/>
                  <a:pt x="14478" y="8255"/>
                  <a:pt x="22986" y="6858"/>
                </a:cubicBezTo>
                <a:cubicBezTo>
                  <a:pt x="31496" y="5588"/>
                  <a:pt x="39878" y="4825"/>
                  <a:pt x="48386" y="4825"/>
                </a:cubicBezTo>
                <a:moveTo>
                  <a:pt x="70485" y="67056"/>
                </a:moveTo>
                <a:moveTo>
                  <a:pt x="286893" y="4572"/>
                </a:moveTo>
                <a:cubicBezTo>
                  <a:pt x="304927" y="4572"/>
                  <a:pt x="318516" y="9144"/>
                  <a:pt x="327660" y="18288"/>
                </a:cubicBezTo>
                <a:cubicBezTo>
                  <a:pt x="336677" y="27431"/>
                  <a:pt x="341249" y="40513"/>
                  <a:pt x="341249" y="57658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6" name="object 196"/>
          <p:cNvSpPr/>
          <p:nvPr/>
        </p:nvSpPr>
        <p:spPr>
          <a:xfrm>
            <a:off x="7632700" y="3411713"/>
            <a:ext cx="90678" cy="21717"/>
          </a:xfrm>
          <a:custGeom>
            <a:avLst/>
            <a:gdLst/>
            <a:ahLst/>
            <a:cxnLst/>
            <a:rect l="l" t="t" r="r" b="b"/>
            <a:pathLst>
              <a:path w="90678" h="21717">
                <a:moveTo>
                  <a:pt x="86106" y="4572"/>
                </a:moveTo>
                <a:lnTo>
                  <a:pt x="86106" y="17145"/>
                </a:lnTo>
                <a:lnTo>
                  <a:pt x="4572" y="17145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7" name="object 197"/>
          <p:cNvSpPr/>
          <p:nvPr/>
        </p:nvSpPr>
        <p:spPr>
          <a:xfrm>
            <a:off x="7632702" y="3424174"/>
            <a:ext cx="84709" cy="35940"/>
          </a:xfrm>
          <a:custGeom>
            <a:avLst/>
            <a:gdLst/>
            <a:ahLst/>
            <a:cxnLst/>
            <a:rect l="l" t="t" r="r" b="b"/>
            <a:pathLst>
              <a:path w="84709" h="35940">
                <a:moveTo>
                  <a:pt x="4572" y="4572"/>
                </a:moveTo>
                <a:cubicBezTo>
                  <a:pt x="5080" y="13208"/>
                  <a:pt x="8381" y="19939"/>
                  <a:pt x="14478" y="24510"/>
                </a:cubicBezTo>
                <a:cubicBezTo>
                  <a:pt x="20574" y="29083"/>
                  <a:pt x="29591" y="31369"/>
                  <a:pt x="41529" y="31369"/>
                </a:cubicBezTo>
                <a:cubicBezTo>
                  <a:pt x="49022" y="31369"/>
                  <a:pt x="56261" y="30099"/>
                  <a:pt x="63373" y="27432"/>
                </a:cubicBezTo>
                <a:cubicBezTo>
                  <a:pt x="70485" y="24638"/>
                  <a:pt x="75946" y="21716"/>
                  <a:pt x="80137" y="18669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8" name="object 198"/>
          <p:cNvSpPr/>
          <p:nvPr/>
        </p:nvSpPr>
        <p:spPr>
          <a:xfrm>
            <a:off x="7708321" y="3438271"/>
            <a:ext cx="13081" cy="37718"/>
          </a:xfrm>
          <a:custGeom>
            <a:avLst/>
            <a:gdLst/>
            <a:ahLst/>
            <a:cxnLst/>
            <a:rect l="l" t="t" r="r" b="b"/>
            <a:pathLst>
              <a:path w="13081" h="37718">
                <a:moveTo>
                  <a:pt x="4572" y="4572"/>
                </a:moveTo>
                <a:lnTo>
                  <a:pt x="8509" y="4572"/>
                </a:lnTo>
                <a:lnTo>
                  <a:pt x="8509" y="33147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99" name="object 199"/>
          <p:cNvSpPr/>
          <p:nvPr/>
        </p:nvSpPr>
        <p:spPr>
          <a:xfrm>
            <a:off x="7196590" y="3358627"/>
            <a:ext cx="524763" cy="126745"/>
          </a:xfrm>
          <a:custGeom>
            <a:avLst/>
            <a:gdLst/>
            <a:ahLst/>
            <a:cxnLst/>
            <a:rect l="l" t="t" r="r" b="b"/>
            <a:pathLst>
              <a:path w="524763" h="126745">
                <a:moveTo>
                  <a:pt x="520192" y="112903"/>
                </a:moveTo>
                <a:cubicBezTo>
                  <a:pt x="512064" y="116205"/>
                  <a:pt x="504571" y="118491"/>
                  <a:pt x="497459" y="119888"/>
                </a:cubicBezTo>
                <a:cubicBezTo>
                  <a:pt x="490220" y="121412"/>
                  <a:pt x="482346" y="122174"/>
                  <a:pt x="473710" y="122174"/>
                </a:cubicBezTo>
                <a:cubicBezTo>
                  <a:pt x="451485" y="122174"/>
                  <a:pt x="434340" y="117094"/>
                  <a:pt x="422529" y="107061"/>
                </a:cubicBezTo>
                <a:cubicBezTo>
                  <a:pt x="410591" y="97028"/>
                  <a:pt x="404622" y="82804"/>
                  <a:pt x="404622" y="64262"/>
                </a:cubicBezTo>
                <a:cubicBezTo>
                  <a:pt x="404622" y="45847"/>
                  <a:pt x="410336" y="31369"/>
                  <a:pt x="421512" y="20574"/>
                </a:cubicBezTo>
                <a:cubicBezTo>
                  <a:pt x="432816" y="9906"/>
                  <a:pt x="448183" y="4572"/>
                  <a:pt x="467868" y="4572"/>
                </a:cubicBezTo>
                <a:moveTo>
                  <a:pt x="251460" y="67056"/>
                </a:moveTo>
                <a:moveTo>
                  <a:pt x="4572" y="4572"/>
                </a:moveTo>
                <a:cubicBezTo>
                  <a:pt x="22606" y="4572"/>
                  <a:pt x="36195" y="9144"/>
                  <a:pt x="45339" y="18288"/>
                </a:cubicBezTo>
                <a:cubicBezTo>
                  <a:pt x="54356" y="27431"/>
                  <a:pt x="58928" y="40513"/>
                  <a:pt x="58928" y="57658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00" name="object 200"/>
          <p:cNvSpPr/>
          <p:nvPr/>
        </p:nvSpPr>
        <p:spPr>
          <a:xfrm>
            <a:off x="7169406" y="3424174"/>
            <a:ext cx="84709" cy="35940"/>
          </a:xfrm>
          <a:custGeom>
            <a:avLst/>
            <a:gdLst/>
            <a:ahLst/>
            <a:cxnLst/>
            <a:rect l="l" t="t" r="r" b="b"/>
            <a:pathLst>
              <a:path w="84709" h="35940">
                <a:moveTo>
                  <a:pt x="4572" y="4572"/>
                </a:moveTo>
                <a:cubicBezTo>
                  <a:pt x="5080" y="13208"/>
                  <a:pt x="8382" y="19939"/>
                  <a:pt x="14477" y="24510"/>
                </a:cubicBezTo>
                <a:cubicBezTo>
                  <a:pt x="20574" y="29083"/>
                  <a:pt x="29590" y="31369"/>
                  <a:pt x="41528" y="31369"/>
                </a:cubicBezTo>
                <a:cubicBezTo>
                  <a:pt x="49022" y="31369"/>
                  <a:pt x="56261" y="30099"/>
                  <a:pt x="63373" y="27432"/>
                </a:cubicBezTo>
                <a:cubicBezTo>
                  <a:pt x="70485" y="24638"/>
                  <a:pt x="75946" y="21716"/>
                  <a:pt x="80137" y="18669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01" name="object 201"/>
          <p:cNvSpPr/>
          <p:nvPr/>
        </p:nvSpPr>
        <p:spPr>
          <a:xfrm>
            <a:off x="7244969" y="3438271"/>
            <a:ext cx="13080" cy="37718"/>
          </a:xfrm>
          <a:custGeom>
            <a:avLst/>
            <a:gdLst/>
            <a:ahLst/>
            <a:cxnLst/>
            <a:rect l="l" t="t" r="r" b="b"/>
            <a:pathLst>
              <a:path w="13080" h="37718">
                <a:moveTo>
                  <a:pt x="4572" y="4572"/>
                </a:moveTo>
                <a:lnTo>
                  <a:pt x="8509" y="4572"/>
                </a:lnTo>
                <a:lnTo>
                  <a:pt x="8509" y="33147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02" name="object 202"/>
          <p:cNvSpPr/>
          <p:nvPr/>
        </p:nvSpPr>
        <p:spPr>
          <a:xfrm>
            <a:off x="7133392" y="3330306"/>
            <a:ext cx="389763" cy="155067"/>
          </a:xfrm>
          <a:custGeom>
            <a:avLst/>
            <a:gdLst/>
            <a:ahLst/>
            <a:cxnLst/>
            <a:rect l="l" t="t" r="r" b="b"/>
            <a:pathLst>
              <a:path w="389763" h="155067">
                <a:moveTo>
                  <a:pt x="120142" y="141224"/>
                </a:moveTo>
                <a:cubicBezTo>
                  <a:pt x="112014" y="144526"/>
                  <a:pt x="104520" y="146812"/>
                  <a:pt x="97408" y="148209"/>
                </a:cubicBezTo>
                <a:cubicBezTo>
                  <a:pt x="90170" y="149733"/>
                  <a:pt x="82295" y="150495"/>
                  <a:pt x="73660" y="150495"/>
                </a:cubicBezTo>
                <a:cubicBezTo>
                  <a:pt x="51435" y="150495"/>
                  <a:pt x="34290" y="145415"/>
                  <a:pt x="22479" y="135382"/>
                </a:cubicBezTo>
                <a:cubicBezTo>
                  <a:pt x="10541" y="125349"/>
                  <a:pt x="4571" y="111125"/>
                  <a:pt x="4571" y="92583"/>
                </a:cubicBezTo>
                <a:cubicBezTo>
                  <a:pt x="4571" y="74168"/>
                  <a:pt x="10287" y="59690"/>
                  <a:pt x="21463" y="48895"/>
                </a:cubicBezTo>
                <a:cubicBezTo>
                  <a:pt x="32766" y="38227"/>
                  <a:pt x="48132" y="32893"/>
                  <a:pt x="67818" y="32893"/>
                </a:cubicBezTo>
                <a:moveTo>
                  <a:pt x="314706" y="95377"/>
                </a:moveTo>
                <a:moveTo>
                  <a:pt x="385191" y="4571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03" name="object 203"/>
          <p:cNvSpPr/>
          <p:nvPr/>
        </p:nvSpPr>
        <p:spPr>
          <a:xfrm>
            <a:off x="7513958" y="3330194"/>
            <a:ext cx="78104" cy="104520"/>
          </a:xfrm>
          <a:custGeom>
            <a:avLst/>
            <a:gdLst/>
            <a:ahLst/>
            <a:cxnLst/>
            <a:rect l="l" t="t" r="r" b="b"/>
            <a:pathLst>
              <a:path w="78104" h="104520">
                <a:moveTo>
                  <a:pt x="4572" y="4571"/>
                </a:moveTo>
                <a:lnTo>
                  <a:pt x="40259" y="4571"/>
                </a:lnTo>
                <a:lnTo>
                  <a:pt x="40259" y="36321"/>
                </a:lnTo>
                <a:lnTo>
                  <a:pt x="73533" y="36321"/>
                </a:lnTo>
                <a:lnTo>
                  <a:pt x="73533" y="60452"/>
                </a:lnTo>
                <a:lnTo>
                  <a:pt x="40259" y="60452"/>
                </a:lnTo>
                <a:lnTo>
                  <a:pt x="40259" y="99949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04" name="object 204"/>
          <p:cNvSpPr/>
          <p:nvPr/>
        </p:nvSpPr>
        <p:spPr>
          <a:xfrm>
            <a:off x="7549642" y="3425571"/>
            <a:ext cx="39496" cy="34670"/>
          </a:xfrm>
          <a:custGeom>
            <a:avLst/>
            <a:gdLst/>
            <a:ahLst/>
            <a:cxnLst/>
            <a:rect l="l" t="t" r="r" b="b"/>
            <a:pathLst>
              <a:path w="39496" h="34670">
                <a:moveTo>
                  <a:pt x="4572" y="4572"/>
                </a:moveTo>
                <a:cubicBezTo>
                  <a:pt x="4572" y="8509"/>
                  <a:pt x="4572" y="11811"/>
                  <a:pt x="4699" y="14732"/>
                </a:cubicBezTo>
                <a:cubicBezTo>
                  <a:pt x="4699" y="17653"/>
                  <a:pt x="5207" y="20319"/>
                  <a:pt x="6223" y="22606"/>
                </a:cubicBezTo>
                <a:cubicBezTo>
                  <a:pt x="7112" y="24892"/>
                  <a:pt x="8763" y="26797"/>
                  <a:pt x="11176" y="28067"/>
                </a:cubicBezTo>
                <a:cubicBezTo>
                  <a:pt x="13462" y="29463"/>
                  <a:pt x="16890" y="30099"/>
                  <a:pt x="21336" y="30099"/>
                </a:cubicBezTo>
                <a:cubicBezTo>
                  <a:pt x="23240" y="30099"/>
                  <a:pt x="25654" y="29718"/>
                  <a:pt x="28575" y="28956"/>
                </a:cubicBezTo>
                <a:cubicBezTo>
                  <a:pt x="31623" y="28194"/>
                  <a:pt x="33655" y="27432"/>
                  <a:pt x="34925" y="26797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05" name="object 205"/>
          <p:cNvSpPr/>
          <p:nvPr/>
        </p:nvSpPr>
        <p:spPr>
          <a:xfrm>
            <a:off x="7579995" y="3447799"/>
            <a:ext cx="12064" cy="33527"/>
          </a:xfrm>
          <a:custGeom>
            <a:avLst/>
            <a:gdLst/>
            <a:ahLst/>
            <a:cxnLst/>
            <a:rect l="l" t="t" r="r" b="b"/>
            <a:pathLst>
              <a:path w="12064" h="33527">
                <a:moveTo>
                  <a:pt x="4572" y="4572"/>
                </a:moveTo>
                <a:lnTo>
                  <a:pt x="7493" y="4572"/>
                </a:lnTo>
                <a:lnTo>
                  <a:pt x="7493" y="28956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06" name="object 206"/>
          <p:cNvSpPr/>
          <p:nvPr/>
        </p:nvSpPr>
        <p:spPr>
          <a:xfrm>
            <a:off x="7513958" y="3438017"/>
            <a:ext cx="78104" cy="46354"/>
          </a:xfrm>
          <a:custGeom>
            <a:avLst/>
            <a:gdLst/>
            <a:ahLst/>
            <a:cxnLst/>
            <a:rect l="l" t="t" r="r" b="b"/>
            <a:pathLst>
              <a:path w="78104" h="46354">
                <a:moveTo>
                  <a:pt x="73533" y="38735"/>
                </a:moveTo>
                <a:cubicBezTo>
                  <a:pt x="69723" y="39623"/>
                  <a:pt x="65659" y="40386"/>
                  <a:pt x="61341" y="41021"/>
                </a:cubicBezTo>
                <a:cubicBezTo>
                  <a:pt x="57023" y="41529"/>
                  <a:pt x="51816" y="41783"/>
                  <a:pt x="45593" y="41783"/>
                </a:cubicBezTo>
                <a:cubicBezTo>
                  <a:pt x="31750" y="41783"/>
                  <a:pt x="21463" y="38989"/>
                  <a:pt x="14732" y="33401"/>
                </a:cubicBezTo>
                <a:cubicBezTo>
                  <a:pt x="7874" y="27813"/>
                  <a:pt x="4572" y="18161"/>
                  <a:pt x="4572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07" name="object 207"/>
          <p:cNvSpPr/>
          <p:nvPr/>
        </p:nvSpPr>
        <p:spPr>
          <a:xfrm>
            <a:off x="7499223" y="3362056"/>
            <a:ext cx="23876" cy="85217"/>
          </a:xfrm>
          <a:custGeom>
            <a:avLst/>
            <a:gdLst/>
            <a:ahLst/>
            <a:cxnLst/>
            <a:rect l="l" t="t" r="r" b="b"/>
            <a:pathLst>
              <a:path w="23876" h="85217">
                <a:moveTo>
                  <a:pt x="19304" y="80645"/>
                </a:moveTo>
                <a:lnTo>
                  <a:pt x="19304" y="28702"/>
                </a:lnTo>
                <a:lnTo>
                  <a:pt x="4571" y="28702"/>
                </a:lnTo>
                <a:lnTo>
                  <a:pt x="4571" y="4571"/>
                </a:lnTo>
                <a:lnTo>
                  <a:pt x="19304" y="457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08" name="object 208"/>
          <p:cNvSpPr/>
          <p:nvPr/>
        </p:nvSpPr>
        <p:spPr>
          <a:xfrm>
            <a:off x="7050715" y="3330306"/>
            <a:ext cx="472439" cy="99949"/>
          </a:xfrm>
          <a:custGeom>
            <a:avLst/>
            <a:gdLst/>
            <a:ahLst/>
            <a:cxnLst/>
            <a:rect l="l" t="t" r="r" b="b"/>
            <a:pathLst>
              <a:path w="472439" h="99949">
                <a:moveTo>
                  <a:pt x="467868" y="36321"/>
                </a:moveTo>
                <a:moveTo>
                  <a:pt x="397383" y="95377"/>
                </a:moveTo>
                <a:moveTo>
                  <a:pt x="4572" y="4571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09" name="object 209"/>
          <p:cNvSpPr/>
          <p:nvPr/>
        </p:nvSpPr>
        <p:spPr>
          <a:xfrm>
            <a:off x="7050662" y="3330194"/>
            <a:ext cx="78104" cy="104520"/>
          </a:xfrm>
          <a:custGeom>
            <a:avLst/>
            <a:gdLst/>
            <a:ahLst/>
            <a:cxnLst/>
            <a:rect l="l" t="t" r="r" b="b"/>
            <a:pathLst>
              <a:path w="78104" h="104520">
                <a:moveTo>
                  <a:pt x="4572" y="4571"/>
                </a:moveTo>
                <a:lnTo>
                  <a:pt x="40259" y="4571"/>
                </a:lnTo>
                <a:lnTo>
                  <a:pt x="40259" y="36321"/>
                </a:lnTo>
                <a:lnTo>
                  <a:pt x="73533" y="36321"/>
                </a:lnTo>
                <a:lnTo>
                  <a:pt x="73533" y="60452"/>
                </a:lnTo>
                <a:lnTo>
                  <a:pt x="40259" y="60452"/>
                </a:lnTo>
                <a:lnTo>
                  <a:pt x="40259" y="99949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10" name="object 210"/>
          <p:cNvSpPr/>
          <p:nvPr/>
        </p:nvSpPr>
        <p:spPr>
          <a:xfrm>
            <a:off x="7086346" y="3425571"/>
            <a:ext cx="39496" cy="34670"/>
          </a:xfrm>
          <a:custGeom>
            <a:avLst/>
            <a:gdLst/>
            <a:ahLst/>
            <a:cxnLst/>
            <a:rect l="l" t="t" r="r" b="b"/>
            <a:pathLst>
              <a:path w="39496" h="34670">
                <a:moveTo>
                  <a:pt x="4572" y="4572"/>
                </a:moveTo>
                <a:cubicBezTo>
                  <a:pt x="4572" y="8509"/>
                  <a:pt x="4572" y="11811"/>
                  <a:pt x="4698" y="14732"/>
                </a:cubicBezTo>
                <a:cubicBezTo>
                  <a:pt x="4698" y="17653"/>
                  <a:pt x="5207" y="20319"/>
                  <a:pt x="6222" y="22606"/>
                </a:cubicBezTo>
                <a:cubicBezTo>
                  <a:pt x="7111" y="24892"/>
                  <a:pt x="8763" y="26797"/>
                  <a:pt x="11176" y="28067"/>
                </a:cubicBezTo>
                <a:cubicBezTo>
                  <a:pt x="13461" y="29463"/>
                  <a:pt x="16891" y="30099"/>
                  <a:pt x="21335" y="30099"/>
                </a:cubicBezTo>
                <a:cubicBezTo>
                  <a:pt x="23241" y="30099"/>
                  <a:pt x="25654" y="29718"/>
                  <a:pt x="28575" y="28956"/>
                </a:cubicBezTo>
                <a:cubicBezTo>
                  <a:pt x="31622" y="28194"/>
                  <a:pt x="33655" y="27432"/>
                  <a:pt x="34925" y="26797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11" name="object 211"/>
          <p:cNvSpPr/>
          <p:nvPr/>
        </p:nvSpPr>
        <p:spPr>
          <a:xfrm>
            <a:off x="7116700" y="3447799"/>
            <a:ext cx="12065" cy="33527"/>
          </a:xfrm>
          <a:custGeom>
            <a:avLst/>
            <a:gdLst/>
            <a:ahLst/>
            <a:cxnLst/>
            <a:rect l="l" t="t" r="r" b="b"/>
            <a:pathLst>
              <a:path w="12065" h="33527">
                <a:moveTo>
                  <a:pt x="4572" y="4572"/>
                </a:moveTo>
                <a:lnTo>
                  <a:pt x="7493" y="4572"/>
                </a:lnTo>
                <a:lnTo>
                  <a:pt x="7493" y="28956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12" name="object 212"/>
          <p:cNvSpPr/>
          <p:nvPr/>
        </p:nvSpPr>
        <p:spPr>
          <a:xfrm>
            <a:off x="7050662" y="3438017"/>
            <a:ext cx="78104" cy="46354"/>
          </a:xfrm>
          <a:custGeom>
            <a:avLst/>
            <a:gdLst/>
            <a:ahLst/>
            <a:cxnLst/>
            <a:rect l="l" t="t" r="r" b="b"/>
            <a:pathLst>
              <a:path w="78104" h="46354">
                <a:moveTo>
                  <a:pt x="73533" y="38735"/>
                </a:moveTo>
                <a:cubicBezTo>
                  <a:pt x="69722" y="39623"/>
                  <a:pt x="65659" y="40386"/>
                  <a:pt x="61341" y="41021"/>
                </a:cubicBezTo>
                <a:cubicBezTo>
                  <a:pt x="57022" y="41529"/>
                  <a:pt x="51816" y="41783"/>
                  <a:pt x="45593" y="41783"/>
                </a:cubicBezTo>
                <a:cubicBezTo>
                  <a:pt x="31750" y="41783"/>
                  <a:pt x="21463" y="38989"/>
                  <a:pt x="14732" y="33401"/>
                </a:cubicBezTo>
                <a:cubicBezTo>
                  <a:pt x="7873" y="27813"/>
                  <a:pt x="4572" y="18161"/>
                  <a:pt x="4572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13" name="object 213"/>
          <p:cNvSpPr/>
          <p:nvPr/>
        </p:nvSpPr>
        <p:spPr>
          <a:xfrm>
            <a:off x="7035927" y="3362056"/>
            <a:ext cx="23876" cy="85217"/>
          </a:xfrm>
          <a:custGeom>
            <a:avLst/>
            <a:gdLst/>
            <a:ahLst/>
            <a:cxnLst/>
            <a:rect l="l" t="t" r="r" b="b"/>
            <a:pathLst>
              <a:path w="23876" h="85217">
                <a:moveTo>
                  <a:pt x="19304" y="80645"/>
                </a:moveTo>
                <a:lnTo>
                  <a:pt x="19304" y="28702"/>
                </a:lnTo>
                <a:lnTo>
                  <a:pt x="4572" y="28702"/>
                </a:lnTo>
                <a:lnTo>
                  <a:pt x="4572" y="4571"/>
                </a:lnTo>
                <a:lnTo>
                  <a:pt x="19304" y="457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14" name="object 214"/>
          <p:cNvSpPr/>
          <p:nvPr/>
        </p:nvSpPr>
        <p:spPr>
          <a:xfrm>
            <a:off x="6576497" y="3325861"/>
            <a:ext cx="876173" cy="104393"/>
          </a:xfrm>
          <a:custGeom>
            <a:avLst/>
            <a:gdLst/>
            <a:ahLst/>
            <a:cxnLst/>
            <a:rect l="l" t="t" r="r" b="b"/>
            <a:pathLst>
              <a:path w="876173" h="104393">
                <a:moveTo>
                  <a:pt x="478790" y="40766"/>
                </a:moveTo>
                <a:moveTo>
                  <a:pt x="871601" y="99822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15" name="object 215"/>
          <p:cNvSpPr/>
          <p:nvPr/>
        </p:nvSpPr>
        <p:spPr>
          <a:xfrm>
            <a:off x="6576441" y="3325861"/>
            <a:ext cx="52959" cy="9143"/>
          </a:xfrm>
          <a:custGeom>
            <a:avLst/>
            <a:gdLst/>
            <a:ahLst/>
            <a:cxnLst/>
            <a:rect l="l" t="t" r="r" b="b"/>
            <a:pathLst>
              <a:path w="52959" h="9143">
                <a:moveTo>
                  <a:pt x="4572" y="4572"/>
                </a:moveTo>
                <a:lnTo>
                  <a:pt x="48387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16" name="object 216"/>
          <p:cNvSpPr/>
          <p:nvPr/>
        </p:nvSpPr>
        <p:spPr>
          <a:xfrm>
            <a:off x="6620258" y="3325861"/>
            <a:ext cx="63499" cy="156463"/>
          </a:xfrm>
          <a:custGeom>
            <a:avLst/>
            <a:gdLst/>
            <a:ahLst/>
            <a:cxnLst/>
            <a:rect l="l" t="t" r="r" b="b"/>
            <a:pathLst>
              <a:path w="63499" h="156463">
                <a:moveTo>
                  <a:pt x="4572" y="4572"/>
                </a:moveTo>
                <a:lnTo>
                  <a:pt x="58928" y="15189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17" name="object 217"/>
          <p:cNvSpPr/>
          <p:nvPr/>
        </p:nvSpPr>
        <p:spPr>
          <a:xfrm>
            <a:off x="6635369" y="3473069"/>
            <a:ext cx="48386" cy="9143"/>
          </a:xfrm>
          <a:custGeom>
            <a:avLst/>
            <a:gdLst/>
            <a:ahLst/>
            <a:cxnLst/>
            <a:rect l="l" t="t" r="r" b="b"/>
            <a:pathLst>
              <a:path w="48386" h="9143">
                <a:moveTo>
                  <a:pt x="43815" y="4571"/>
                </a:moveTo>
                <a:lnTo>
                  <a:pt x="4572" y="457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18" name="object 218"/>
          <p:cNvSpPr/>
          <p:nvPr/>
        </p:nvSpPr>
        <p:spPr>
          <a:xfrm>
            <a:off x="6625082" y="3443351"/>
            <a:ext cx="19430" cy="38861"/>
          </a:xfrm>
          <a:custGeom>
            <a:avLst/>
            <a:gdLst/>
            <a:ahLst/>
            <a:cxnLst/>
            <a:rect l="l" t="t" r="r" b="b"/>
            <a:pathLst>
              <a:path w="19430" h="38861">
                <a:moveTo>
                  <a:pt x="14859" y="34289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19" name="object 219"/>
          <p:cNvSpPr/>
          <p:nvPr/>
        </p:nvSpPr>
        <p:spPr>
          <a:xfrm>
            <a:off x="6570655" y="3443353"/>
            <a:ext cx="63627" cy="9143"/>
          </a:xfrm>
          <a:custGeom>
            <a:avLst/>
            <a:gdLst/>
            <a:ahLst/>
            <a:cxnLst/>
            <a:rect l="l" t="t" r="r" b="b"/>
            <a:pathLst>
              <a:path w="63627" h="9143">
                <a:moveTo>
                  <a:pt x="59055" y="4572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20" name="object 220"/>
          <p:cNvSpPr/>
          <p:nvPr/>
        </p:nvSpPr>
        <p:spPr>
          <a:xfrm>
            <a:off x="6560315" y="3443351"/>
            <a:ext cx="19430" cy="38861"/>
          </a:xfrm>
          <a:custGeom>
            <a:avLst/>
            <a:gdLst/>
            <a:ahLst/>
            <a:cxnLst/>
            <a:rect l="l" t="t" r="r" b="b"/>
            <a:pathLst>
              <a:path w="19430" h="38861">
                <a:moveTo>
                  <a:pt x="14859" y="4572"/>
                </a:moveTo>
                <a:lnTo>
                  <a:pt x="4572" y="34289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21" name="object 221"/>
          <p:cNvSpPr/>
          <p:nvPr/>
        </p:nvSpPr>
        <p:spPr>
          <a:xfrm>
            <a:off x="6522085" y="3473069"/>
            <a:ext cx="47370" cy="9143"/>
          </a:xfrm>
          <a:custGeom>
            <a:avLst/>
            <a:gdLst/>
            <a:ahLst/>
            <a:cxnLst/>
            <a:rect l="l" t="t" r="r" b="b"/>
            <a:pathLst>
              <a:path w="47370" h="9143">
                <a:moveTo>
                  <a:pt x="42799" y="4571"/>
                </a:moveTo>
                <a:lnTo>
                  <a:pt x="4571" y="457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22" name="object 222"/>
          <p:cNvSpPr/>
          <p:nvPr/>
        </p:nvSpPr>
        <p:spPr>
          <a:xfrm>
            <a:off x="6522085" y="3319257"/>
            <a:ext cx="1298320" cy="163067"/>
          </a:xfrm>
          <a:custGeom>
            <a:avLst/>
            <a:gdLst/>
            <a:ahLst/>
            <a:cxnLst/>
            <a:rect l="l" t="t" r="r" b="b"/>
            <a:pathLst>
              <a:path w="1298320" h="163067">
                <a:moveTo>
                  <a:pt x="4571" y="158495"/>
                </a:moveTo>
                <a:moveTo>
                  <a:pt x="925957" y="106426"/>
                </a:moveTo>
                <a:moveTo>
                  <a:pt x="1293749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23" name="object 223"/>
          <p:cNvSpPr/>
          <p:nvPr/>
        </p:nvSpPr>
        <p:spPr>
          <a:xfrm>
            <a:off x="7811262" y="3319257"/>
            <a:ext cx="44830" cy="163067"/>
          </a:xfrm>
          <a:custGeom>
            <a:avLst/>
            <a:gdLst/>
            <a:ahLst/>
            <a:cxnLst/>
            <a:rect l="l" t="t" r="r" b="b"/>
            <a:pathLst>
              <a:path w="44830" h="163067">
                <a:moveTo>
                  <a:pt x="4572" y="4572"/>
                </a:moveTo>
                <a:lnTo>
                  <a:pt x="40259" y="4572"/>
                </a:lnTo>
                <a:lnTo>
                  <a:pt x="40259" y="158495"/>
                </a:lnTo>
                <a:lnTo>
                  <a:pt x="4572" y="158495"/>
                </a:lnTo>
                <a:lnTo>
                  <a:pt x="4572" y="146939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24" name="object 224"/>
          <p:cNvSpPr/>
          <p:nvPr/>
        </p:nvSpPr>
        <p:spPr>
          <a:xfrm>
            <a:off x="6979976" y="3319145"/>
            <a:ext cx="840485" cy="166116"/>
          </a:xfrm>
          <a:custGeom>
            <a:avLst/>
            <a:gdLst/>
            <a:ahLst/>
            <a:cxnLst/>
            <a:rect l="l" t="t" r="r" b="b"/>
            <a:pathLst>
              <a:path w="840485" h="166116">
                <a:moveTo>
                  <a:pt x="835914" y="146939"/>
                </a:moveTo>
                <a:cubicBezTo>
                  <a:pt x="829818" y="152019"/>
                  <a:pt x="824103" y="155701"/>
                  <a:pt x="818769" y="157988"/>
                </a:cubicBezTo>
                <a:cubicBezTo>
                  <a:pt x="813435" y="160401"/>
                  <a:pt x="807211" y="161544"/>
                  <a:pt x="800227" y="161544"/>
                </a:cubicBezTo>
                <a:cubicBezTo>
                  <a:pt x="786765" y="161544"/>
                  <a:pt x="775970" y="156337"/>
                  <a:pt x="767842" y="145923"/>
                </a:cubicBezTo>
                <a:cubicBezTo>
                  <a:pt x="759714" y="135508"/>
                  <a:pt x="755649" y="121539"/>
                  <a:pt x="755649" y="103758"/>
                </a:cubicBezTo>
                <a:cubicBezTo>
                  <a:pt x="755649" y="94361"/>
                  <a:pt x="757047" y="85979"/>
                  <a:pt x="759714" y="78739"/>
                </a:cubicBezTo>
                <a:cubicBezTo>
                  <a:pt x="762508" y="71374"/>
                  <a:pt x="766191" y="65151"/>
                  <a:pt x="771017" y="59944"/>
                </a:cubicBezTo>
                <a:cubicBezTo>
                  <a:pt x="775461" y="54991"/>
                  <a:pt x="780923" y="51181"/>
                  <a:pt x="787273" y="48387"/>
                </a:cubicBezTo>
                <a:cubicBezTo>
                  <a:pt x="793623" y="45720"/>
                  <a:pt x="800099" y="44323"/>
                  <a:pt x="806449" y="44323"/>
                </a:cubicBezTo>
                <a:cubicBezTo>
                  <a:pt x="813054" y="44323"/>
                  <a:pt x="818515" y="45085"/>
                  <a:pt x="822833" y="46482"/>
                </a:cubicBezTo>
                <a:cubicBezTo>
                  <a:pt x="827023" y="47879"/>
                  <a:pt x="831469" y="49657"/>
                  <a:pt x="835914" y="51816"/>
                </a:cubicBezTo>
                <a:moveTo>
                  <a:pt x="468122" y="106426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25" name="object 225"/>
          <p:cNvSpPr/>
          <p:nvPr/>
        </p:nvSpPr>
        <p:spPr>
          <a:xfrm>
            <a:off x="6979976" y="3319257"/>
            <a:ext cx="44957" cy="163067"/>
          </a:xfrm>
          <a:custGeom>
            <a:avLst/>
            <a:gdLst/>
            <a:ahLst/>
            <a:cxnLst/>
            <a:rect l="l" t="t" r="r" b="b"/>
            <a:pathLst>
              <a:path w="44957" h="163067">
                <a:moveTo>
                  <a:pt x="4572" y="4572"/>
                </a:moveTo>
                <a:lnTo>
                  <a:pt x="40386" y="4572"/>
                </a:lnTo>
                <a:lnTo>
                  <a:pt x="40386" y="158495"/>
                </a:lnTo>
                <a:lnTo>
                  <a:pt x="4572" y="158495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26" name="object 226"/>
          <p:cNvSpPr/>
          <p:nvPr/>
        </p:nvSpPr>
        <p:spPr>
          <a:xfrm>
            <a:off x="6765798" y="3319257"/>
            <a:ext cx="686816" cy="163067"/>
          </a:xfrm>
          <a:custGeom>
            <a:avLst/>
            <a:gdLst/>
            <a:ahLst/>
            <a:cxnLst/>
            <a:rect l="l" t="t" r="r" b="b"/>
            <a:pathLst>
              <a:path w="686816" h="163067">
                <a:moveTo>
                  <a:pt x="218694" y="158495"/>
                </a:moveTo>
                <a:moveTo>
                  <a:pt x="682244" y="106426"/>
                </a:moveTo>
                <a:moveTo>
                  <a:pt x="4571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27" name="object 227"/>
          <p:cNvSpPr/>
          <p:nvPr/>
        </p:nvSpPr>
        <p:spPr>
          <a:xfrm>
            <a:off x="6765798" y="3319257"/>
            <a:ext cx="44830" cy="163067"/>
          </a:xfrm>
          <a:custGeom>
            <a:avLst/>
            <a:gdLst/>
            <a:ahLst/>
            <a:cxnLst/>
            <a:rect l="l" t="t" r="r" b="b"/>
            <a:pathLst>
              <a:path w="44830" h="163067">
                <a:moveTo>
                  <a:pt x="4571" y="4572"/>
                </a:moveTo>
                <a:lnTo>
                  <a:pt x="40258" y="4572"/>
                </a:lnTo>
                <a:lnTo>
                  <a:pt x="40258" y="158495"/>
                </a:lnTo>
                <a:lnTo>
                  <a:pt x="4571" y="158495"/>
                </a:lnTo>
                <a:lnTo>
                  <a:pt x="4571" y="146939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28" name="object 228"/>
          <p:cNvSpPr/>
          <p:nvPr/>
        </p:nvSpPr>
        <p:spPr>
          <a:xfrm>
            <a:off x="6685541" y="3358896"/>
            <a:ext cx="767079" cy="126364"/>
          </a:xfrm>
          <a:custGeom>
            <a:avLst/>
            <a:gdLst/>
            <a:ahLst/>
            <a:cxnLst/>
            <a:rect l="l" t="t" r="r" b="b"/>
            <a:pathLst>
              <a:path w="767079" h="126364">
                <a:moveTo>
                  <a:pt x="84835" y="107188"/>
                </a:moveTo>
                <a:cubicBezTo>
                  <a:pt x="78740" y="112268"/>
                  <a:pt x="73025" y="115950"/>
                  <a:pt x="67691" y="118237"/>
                </a:cubicBezTo>
                <a:cubicBezTo>
                  <a:pt x="62357" y="120650"/>
                  <a:pt x="56134" y="121793"/>
                  <a:pt x="49148" y="121793"/>
                </a:cubicBezTo>
                <a:cubicBezTo>
                  <a:pt x="35687" y="121793"/>
                  <a:pt x="24892" y="116586"/>
                  <a:pt x="16764" y="106172"/>
                </a:cubicBezTo>
                <a:cubicBezTo>
                  <a:pt x="8635" y="95757"/>
                  <a:pt x="4572" y="81788"/>
                  <a:pt x="4572" y="64007"/>
                </a:cubicBezTo>
                <a:cubicBezTo>
                  <a:pt x="4572" y="54610"/>
                  <a:pt x="5969" y="46228"/>
                  <a:pt x="8635" y="38988"/>
                </a:cubicBezTo>
                <a:cubicBezTo>
                  <a:pt x="11430" y="31623"/>
                  <a:pt x="15113" y="25400"/>
                  <a:pt x="19939" y="20193"/>
                </a:cubicBezTo>
                <a:cubicBezTo>
                  <a:pt x="24384" y="15240"/>
                  <a:pt x="29845" y="11430"/>
                  <a:pt x="36195" y="8636"/>
                </a:cubicBezTo>
                <a:cubicBezTo>
                  <a:pt x="42545" y="5969"/>
                  <a:pt x="49022" y="4572"/>
                  <a:pt x="55372" y="4572"/>
                </a:cubicBezTo>
                <a:cubicBezTo>
                  <a:pt x="61976" y="4572"/>
                  <a:pt x="67437" y="5334"/>
                  <a:pt x="71755" y="6731"/>
                </a:cubicBezTo>
                <a:cubicBezTo>
                  <a:pt x="75946" y="8128"/>
                  <a:pt x="80391" y="9906"/>
                  <a:pt x="84835" y="12065"/>
                </a:cubicBezTo>
                <a:moveTo>
                  <a:pt x="762508" y="66675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29" name="object 229"/>
          <p:cNvSpPr/>
          <p:nvPr/>
        </p:nvSpPr>
        <p:spPr>
          <a:xfrm>
            <a:off x="6549136" y="3567558"/>
            <a:ext cx="1309496" cy="194691"/>
          </a:xfrm>
          <a:custGeom>
            <a:avLst/>
            <a:gdLst/>
            <a:ahLst/>
            <a:cxnLst/>
            <a:rect l="l" t="t" r="r" b="b"/>
            <a:pathLst>
              <a:path w="1309496" h="194691">
                <a:moveTo>
                  <a:pt x="1060450" y="101854"/>
                </a:moveTo>
                <a:cubicBezTo>
                  <a:pt x="1055624" y="102235"/>
                  <a:pt x="1050417" y="102743"/>
                  <a:pt x="1044829" y="103378"/>
                </a:cubicBezTo>
                <a:cubicBezTo>
                  <a:pt x="1039241" y="104140"/>
                  <a:pt x="1034923" y="104902"/>
                  <a:pt x="1032129" y="105791"/>
                </a:cubicBezTo>
                <a:cubicBezTo>
                  <a:pt x="1028573" y="106934"/>
                  <a:pt x="1025779" y="108585"/>
                  <a:pt x="1023874" y="110744"/>
                </a:cubicBezTo>
                <a:cubicBezTo>
                  <a:pt x="1021969" y="112903"/>
                  <a:pt x="1021080" y="115697"/>
                  <a:pt x="1021080" y="119126"/>
                </a:cubicBezTo>
                <a:cubicBezTo>
                  <a:pt x="1021080" y="121412"/>
                  <a:pt x="1021333" y="123317"/>
                  <a:pt x="1021715" y="124841"/>
                </a:cubicBezTo>
                <a:cubicBezTo>
                  <a:pt x="1022095" y="126238"/>
                  <a:pt x="1023112" y="127635"/>
                  <a:pt x="1024636" y="128905"/>
                </a:cubicBezTo>
                <a:cubicBezTo>
                  <a:pt x="1026160" y="130302"/>
                  <a:pt x="1027938" y="131191"/>
                  <a:pt x="1030096" y="131826"/>
                </a:cubicBezTo>
                <a:cubicBezTo>
                  <a:pt x="1032256" y="132461"/>
                  <a:pt x="1035557" y="132715"/>
                  <a:pt x="1040003" y="132715"/>
                </a:cubicBezTo>
                <a:cubicBezTo>
                  <a:pt x="1043558" y="132715"/>
                  <a:pt x="1047115" y="132080"/>
                  <a:pt x="1050798" y="130556"/>
                </a:cubicBezTo>
                <a:cubicBezTo>
                  <a:pt x="1054481" y="129159"/>
                  <a:pt x="1057656" y="127254"/>
                  <a:pt x="1060450" y="124841"/>
                </a:cubicBezTo>
                <a:close/>
                <a:moveTo>
                  <a:pt x="37845" y="90170"/>
                </a:moveTo>
                <a:lnTo>
                  <a:pt x="37845" y="127000"/>
                </a:lnTo>
                <a:lnTo>
                  <a:pt x="40513" y="127000"/>
                </a:lnTo>
                <a:cubicBezTo>
                  <a:pt x="51181" y="127000"/>
                  <a:pt x="58801" y="126873"/>
                  <a:pt x="63500" y="126873"/>
                </a:cubicBezTo>
                <a:cubicBezTo>
                  <a:pt x="68071" y="126746"/>
                  <a:pt x="72390" y="125857"/>
                  <a:pt x="76200" y="124206"/>
                </a:cubicBezTo>
                <a:cubicBezTo>
                  <a:pt x="80137" y="122555"/>
                  <a:pt x="82931" y="120396"/>
                  <a:pt x="84328" y="117729"/>
                </a:cubicBezTo>
                <a:cubicBezTo>
                  <a:pt x="85852" y="114935"/>
                  <a:pt x="86614" y="111760"/>
                  <a:pt x="86614" y="108204"/>
                </a:cubicBezTo>
                <a:cubicBezTo>
                  <a:pt x="86614" y="103505"/>
                  <a:pt x="85725" y="99949"/>
                  <a:pt x="83820" y="97409"/>
                </a:cubicBezTo>
                <a:cubicBezTo>
                  <a:pt x="82042" y="94869"/>
                  <a:pt x="78994" y="92964"/>
                  <a:pt x="74676" y="91694"/>
                </a:cubicBezTo>
                <a:cubicBezTo>
                  <a:pt x="71628" y="90805"/>
                  <a:pt x="67564" y="90424"/>
                  <a:pt x="62357" y="90297"/>
                </a:cubicBezTo>
                <a:cubicBezTo>
                  <a:pt x="57150" y="90297"/>
                  <a:pt x="51689" y="90170"/>
                  <a:pt x="46101" y="90170"/>
                </a:cubicBezTo>
                <a:close/>
                <a:moveTo>
                  <a:pt x="534796" y="61595"/>
                </a:moveTo>
                <a:cubicBezTo>
                  <a:pt x="527939" y="61595"/>
                  <a:pt x="522351" y="63373"/>
                  <a:pt x="517906" y="66929"/>
                </a:cubicBezTo>
                <a:cubicBezTo>
                  <a:pt x="513461" y="70485"/>
                  <a:pt x="510920" y="76200"/>
                  <a:pt x="510413" y="84074"/>
                </a:cubicBezTo>
                <a:lnTo>
                  <a:pt x="556641" y="84074"/>
                </a:lnTo>
                <a:cubicBezTo>
                  <a:pt x="556514" y="76581"/>
                  <a:pt x="554608" y="70993"/>
                  <a:pt x="551180" y="67310"/>
                </a:cubicBezTo>
                <a:cubicBezTo>
                  <a:pt x="547624" y="63500"/>
                  <a:pt x="542163" y="61595"/>
                  <a:pt x="534796" y="61595"/>
                </a:cubicBezTo>
                <a:close/>
                <a:moveTo>
                  <a:pt x="1183513" y="42799"/>
                </a:moveTo>
                <a:lnTo>
                  <a:pt x="1220978" y="42799"/>
                </a:lnTo>
                <a:lnTo>
                  <a:pt x="1247520" y="114681"/>
                </a:lnTo>
                <a:lnTo>
                  <a:pt x="1272920" y="42799"/>
                </a:lnTo>
                <a:lnTo>
                  <a:pt x="1309496" y="42799"/>
                </a:lnTo>
                <a:lnTo>
                  <a:pt x="1247775" y="194691"/>
                </a:lnTo>
                <a:lnTo>
                  <a:pt x="1209040" y="194691"/>
                </a:lnTo>
                <a:lnTo>
                  <a:pt x="1226820" y="153162"/>
                </a:lnTo>
                <a:close/>
                <a:moveTo>
                  <a:pt x="151003" y="42799"/>
                </a:moveTo>
                <a:lnTo>
                  <a:pt x="186817" y="42799"/>
                </a:lnTo>
                <a:lnTo>
                  <a:pt x="186817" y="97917"/>
                </a:lnTo>
                <a:cubicBezTo>
                  <a:pt x="186817" y="103505"/>
                  <a:pt x="186944" y="108204"/>
                  <a:pt x="187325" y="111887"/>
                </a:cubicBezTo>
                <a:cubicBezTo>
                  <a:pt x="187706" y="115697"/>
                  <a:pt x="188468" y="118745"/>
                  <a:pt x="189865" y="121158"/>
                </a:cubicBezTo>
                <a:cubicBezTo>
                  <a:pt x="191135" y="123698"/>
                  <a:pt x="193040" y="125476"/>
                  <a:pt x="195580" y="126492"/>
                </a:cubicBezTo>
                <a:cubicBezTo>
                  <a:pt x="198120" y="127635"/>
                  <a:pt x="201676" y="128270"/>
                  <a:pt x="206120" y="128270"/>
                </a:cubicBezTo>
                <a:cubicBezTo>
                  <a:pt x="209169" y="128270"/>
                  <a:pt x="212598" y="127635"/>
                  <a:pt x="216281" y="126492"/>
                </a:cubicBezTo>
                <a:cubicBezTo>
                  <a:pt x="219964" y="125476"/>
                  <a:pt x="223520" y="123825"/>
                  <a:pt x="226949" y="121539"/>
                </a:cubicBezTo>
                <a:lnTo>
                  <a:pt x="226949" y="42799"/>
                </a:lnTo>
                <a:lnTo>
                  <a:pt x="262636" y="42799"/>
                </a:lnTo>
                <a:lnTo>
                  <a:pt x="262636" y="153924"/>
                </a:lnTo>
                <a:lnTo>
                  <a:pt x="226949" y="153924"/>
                </a:lnTo>
                <a:lnTo>
                  <a:pt x="226949" y="141732"/>
                </a:lnTo>
                <a:cubicBezTo>
                  <a:pt x="220345" y="146685"/>
                  <a:pt x="214376" y="150495"/>
                  <a:pt x="208915" y="153162"/>
                </a:cubicBezTo>
                <a:cubicBezTo>
                  <a:pt x="203454" y="155702"/>
                  <a:pt x="196850" y="156972"/>
                  <a:pt x="189230" y="156972"/>
                </a:cubicBezTo>
                <a:cubicBezTo>
                  <a:pt x="177038" y="156972"/>
                  <a:pt x="167640" y="153543"/>
                  <a:pt x="161036" y="146431"/>
                </a:cubicBezTo>
                <a:cubicBezTo>
                  <a:pt x="154305" y="139319"/>
                  <a:pt x="151003" y="128905"/>
                  <a:pt x="151003" y="115189"/>
                </a:cubicBezTo>
                <a:close/>
                <a:moveTo>
                  <a:pt x="688975" y="42418"/>
                </a:moveTo>
                <a:cubicBezTo>
                  <a:pt x="690118" y="42418"/>
                  <a:pt x="691642" y="42418"/>
                  <a:pt x="693166" y="42545"/>
                </a:cubicBezTo>
                <a:cubicBezTo>
                  <a:pt x="694690" y="42545"/>
                  <a:pt x="696087" y="42672"/>
                  <a:pt x="697357" y="42799"/>
                </a:cubicBezTo>
                <a:lnTo>
                  <a:pt x="697357" y="76708"/>
                </a:lnTo>
                <a:lnTo>
                  <a:pt x="694182" y="76708"/>
                </a:lnTo>
                <a:cubicBezTo>
                  <a:pt x="692657" y="76200"/>
                  <a:pt x="690245" y="75819"/>
                  <a:pt x="686816" y="75565"/>
                </a:cubicBezTo>
                <a:cubicBezTo>
                  <a:pt x="683514" y="75311"/>
                  <a:pt x="680720" y="75184"/>
                  <a:pt x="678433" y="75184"/>
                </a:cubicBezTo>
                <a:cubicBezTo>
                  <a:pt x="673354" y="75184"/>
                  <a:pt x="668908" y="75565"/>
                  <a:pt x="664971" y="76200"/>
                </a:cubicBezTo>
                <a:cubicBezTo>
                  <a:pt x="661162" y="76835"/>
                  <a:pt x="656970" y="77978"/>
                  <a:pt x="652526" y="79502"/>
                </a:cubicBezTo>
                <a:lnTo>
                  <a:pt x="652526" y="153924"/>
                </a:lnTo>
                <a:lnTo>
                  <a:pt x="616712" y="153924"/>
                </a:lnTo>
                <a:lnTo>
                  <a:pt x="616712" y="42799"/>
                </a:lnTo>
                <a:lnTo>
                  <a:pt x="652526" y="42799"/>
                </a:lnTo>
                <a:lnTo>
                  <a:pt x="652526" y="59182"/>
                </a:lnTo>
                <a:cubicBezTo>
                  <a:pt x="660273" y="52451"/>
                  <a:pt x="667131" y="48006"/>
                  <a:pt x="672973" y="45720"/>
                </a:cubicBezTo>
                <a:cubicBezTo>
                  <a:pt x="678688" y="43561"/>
                  <a:pt x="684021" y="42418"/>
                  <a:pt x="688975" y="42418"/>
                </a:cubicBezTo>
                <a:close/>
                <a:moveTo>
                  <a:pt x="1038352" y="39624"/>
                </a:moveTo>
                <a:cubicBezTo>
                  <a:pt x="1058671" y="39624"/>
                  <a:pt x="1073277" y="42799"/>
                  <a:pt x="1082294" y="49022"/>
                </a:cubicBezTo>
                <a:cubicBezTo>
                  <a:pt x="1091311" y="55245"/>
                  <a:pt x="1095756" y="65024"/>
                  <a:pt x="1095756" y="78359"/>
                </a:cubicBezTo>
                <a:lnTo>
                  <a:pt x="1095756" y="153924"/>
                </a:lnTo>
                <a:lnTo>
                  <a:pt x="1060450" y="153924"/>
                </a:lnTo>
                <a:lnTo>
                  <a:pt x="1060450" y="142240"/>
                </a:lnTo>
                <a:cubicBezTo>
                  <a:pt x="1058545" y="143637"/>
                  <a:pt x="1056132" y="145415"/>
                  <a:pt x="1053338" y="147447"/>
                </a:cubicBezTo>
                <a:cubicBezTo>
                  <a:pt x="1050544" y="149479"/>
                  <a:pt x="1047877" y="151130"/>
                  <a:pt x="1045337" y="152273"/>
                </a:cubicBezTo>
                <a:cubicBezTo>
                  <a:pt x="1041781" y="153797"/>
                  <a:pt x="1038225" y="155067"/>
                  <a:pt x="1034415" y="155829"/>
                </a:cubicBezTo>
                <a:cubicBezTo>
                  <a:pt x="1030732" y="156591"/>
                  <a:pt x="1026541" y="156972"/>
                  <a:pt x="1022095" y="156972"/>
                </a:cubicBezTo>
                <a:cubicBezTo>
                  <a:pt x="1011555" y="156972"/>
                  <a:pt x="1002665" y="153670"/>
                  <a:pt x="995553" y="147066"/>
                </a:cubicBezTo>
                <a:cubicBezTo>
                  <a:pt x="988441" y="140589"/>
                  <a:pt x="984885" y="132207"/>
                  <a:pt x="984885" y="122047"/>
                </a:cubicBezTo>
                <a:cubicBezTo>
                  <a:pt x="984885" y="113919"/>
                  <a:pt x="986663" y="107315"/>
                  <a:pt x="990345" y="102235"/>
                </a:cubicBezTo>
                <a:cubicBezTo>
                  <a:pt x="993902" y="97028"/>
                  <a:pt x="999108" y="92964"/>
                  <a:pt x="1005713" y="90043"/>
                </a:cubicBezTo>
                <a:cubicBezTo>
                  <a:pt x="1012317" y="86995"/>
                  <a:pt x="1020571" y="84963"/>
                  <a:pt x="1030351" y="83693"/>
                </a:cubicBezTo>
                <a:cubicBezTo>
                  <a:pt x="1040003" y="82423"/>
                  <a:pt x="1050163" y="81534"/>
                  <a:pt x="1060704" y="80899"/>
                </a:cubicBezTo>
                <a:lnTo>
                  <a:pt x="1060704" y="80264"/>
                </a:lnTo>
                <a:cubicBezTo>
                  <a:pt x="1060704" y="74168"/>
                  <a:pt x="1058164" y="69977"/>
                  <a:pt x="1053211" y="67564"/>
                </a:cubicBezTo>
                <a:cubicBezTo>
                  <a:pt x="1048131" y="65278"/>
                  <a:pt x="1040765" y="64135"/>
                  <a:pt x="1030986" y="64135"/>
                </a:cubicBezTo>
                <a:cubicBezTo>
                  <a:pt x="1025144" y="64135"/>
                  <a:pt x="1018794" y="65151"/>
                  <a:pt x="1012190" y="67183"/>
                </a:cubicBezTo>
                <a:cubicBezTo>
                  <a:pt x="1005458" y="69342"/>
                  <a:pt x="1000760" y="70866"/>
                  <a:pt x="997839" y="72009"/>
                </a:cubicBezTo>
                <a:lnTo>
                  <a:pt x="994537" y="72009"/>
                </a:lnTo>
                <a:lnTo>
                  <a:pt x="994537" y="45212"/>
                </a:lnTo>
                <a:cubicBezTo>
                  <a:pt x="998346" y="44196"/>
                  <a:pt x="1004443" y="43053"/>
                  <a:pt x="1012952" y="41656"/>
                </a:cubicBezTo>
                <a:cubicBezTo>
                  <a:pt x="1021461" y="40386"/>
                  <a:pt x="1029843" y="39624"/>
                  <a:pt x="1038352" y="39624"/>
                </a:cubicBezTo>
                <a:close/>
                <a:moveTo>
                  <a:pt x="537718" y="39370"/>
                </a:moveTo>
                <a:cubicBezTo>
                  <a:pt x="555752" y="39370"/>
                  <a:pt x="569341" y="43942"/>
                  <a:pt x="578485" y="53086"/>
                </a:cubicBezTo>
                <a:cubicBezTo>
                  <a:pt x="587502" y="62230"/>
                  <a:pt x="592074" y="75311"/>
                  <a:pt x="592074" y="92456"/>
                </a:cubicBezTo>
                <a:lnTo>
                  <a:pt x="592074" y="105029"/>
                </a:lnTo>
                <a:lnTo>
                  <a:pt x="510540" y="105029"/>
                </a:lnTo>
                <a:cubicBezTo>
                  <a:pt x="511048" y="113665"/>
                  <a:pt x="514350" y="120396"/>
                  <a:pt x="520445" y="124968"/>
                </a:cubicBezTo>
                <a:cubicBezTo>
                  <a:pt x="526542" y="129540"/>
                  <a:pt x="535558" y="131826"/>
                  <a:pt x="547496" y="131826"/>
                </a:cubicBezTo>
                <a:cubicBezTo>
                  <a:pt x="554990" y="131826"/>
                  <a:pt x="562229" y="130556"/>
                  <a:pt x="569341" y="127889"/>
                </a:cubicBezTo>
                <a:cubicBezTo>
                  <a:pt x="576453" y="125095"/>
                  <a:pt x="581914" y="122174"/>
                  <a:pt x="586105" y="119126"/>
                </a:cubicBezTo>
                <a:lnTo>
                  <a:pt x="590042" y="119126"/>
                </a:lnTo>
                <a:lnTo>
                  <a:pt x="590042" y="147701"/>
                </a:lnTo>
                <a:cubicBezTo>
                  <a:pt x="581914" y="151003"/>
                  <a:pt x="574420" y="153289"/>
                  <a:pt x="567308" y="154686"/>
                </a:cubicBezTo>
                <a:cubicBezTo>
                  <a:pt x="560070" y="156210"/>
                  <a:pt x="552195" y="156972"/>
                  <a:pt x="543560" y="156972"/>
                </a:cubicBezTo>
                <a:cubicBezTo>
                  <a:pt x="521335" y="156972"/>
                  <a:pt x="504190" y="151892"/>
                  <a:pt x="492379" y="141859"/>
                </a:cubicBezTo>
                <a:cubicBezTo>
                  <a:pt x="480441" y="131826"/>
                  <a:pt x="474471" y="117602"/>
                  <a:pt x="474471" y="99060"/>
                </a:cubicBezTo>
                <a:cubicBezTo>
                  <a:pt x="474471" y="80645"/>
                  <a:pt x="480187" y="66167"/>
                  <a:pt x="491363" y="55372"/>
                </a:cubicBezTo>
                <a:cubicBezTo>
                  <a:pt x="502666" y="44704"/>
                  <a:pt x="518032" y="39370"/>
                  <a:pt x="537718" y="39370"/>
                </a:cubicBezTo>
                <a:close/>
                <a:moveTo>
                  <a:pt x="37845" y="33655"/>
                </a:moveTo>
                <a:lnTo>
                  <a:pt x="37845" y="64770"/>
                </a:lnTo>
                <a:lnTo>
                  <a:pt x="43688" y="64770"/>
                </a:lnTo>
                <a:cubicBezTo>
                  <a:pt x="49783" y="64770"/>
                  <a:pt x="54864" y="64643"/>
                  <a:pt x="59055" y="64516"/>
                </a:cubicBezTo>
                <a:cubicBezTo>
                  <a:pt x="63245" y="64262"/>
                  <a:pt x="66675" y="63627"/>
                  <a:pt x="69088" y="62484"/>
                </a:cubicBezTo>
                <a:cubicBezTo>
                  <a:pt x="72517" y="60960"/>
                  <a:pt x="74803" y="59055"/>
                  <a:pt x="75819" y="56642"/>
                </a:cubicBezTo>
                <a:cubicBezTo>
                  <a:pt x="76835" y="54229"/>
                  <a:pt x="77343" y="51435"/>
                  <a:pt x="77343" y="48260"/>
                </a:cubicBezTo>
                <a:cubicBezTo>
                  <a:pt x="77343" y="45847"/>
                  <a:pt x="76707" y="43434"/>
                  <a:pt x="75565" y="40894"/>
                </a:cubicBezTo>
                <a:cubicBezTo>
                  <a:pt x="74295" y="38481"/>
                  <a:pt x="72136" y="36702"/>
                  <a:pt x="69088" y="35433"/>
                </a:cubicBezTo>
                <a:cubicBezTo>
                  <a:pt x="66294" y="34417"/>
                  <a:pt x="62865" y="33908"/>
                  <a:pt x="58674" y="33782"/>
                </a:cubicBezTo>
                <a:cubicBezTo>
                  <a:pt x="54610" y="33655"/>
                  <a:pt x="48768" y="33655"/>
                  <a:pt x="41402" y="33655"/>
                </a:cubicBezTo>
                <a:close/>
                <a:moveTo>
                  <a:pt x="902335" y="11049"/>
                </a:moveTo>
                <a:lnTo>
                  <a:pt x="938021" y="11049"/>
                </a:lnTo>
                <a:lnTo>
                  <a:pt x="938021" y="42799"/>
                </a:lnTo>
                <a:lnTo>
                  <a:pt x="971295" y="42799"/>
                </a:lnTo>
                <a:lnTo>
                  <a:pt x="971295" y="66929"/>
                </a:lnTo>
                <a:lnTo>
                  <a:pt x="938021" y="66929"/>
                </a:lnTo>
                <a:lnTo>
                  <a:pt x="938021" y="106426"/>
                </a:lnTo>
                <a:cubicBezTo>
                  <a:pt x="938021" y="110363"/>
                  <a:pt x="938021" y="113665"/>
                  <a:pt x="938149" y="116586"/>
                </a:cubicBezTo>
                <a:cubicBezTo>
                  <a:pt x="938149" y="119507"/>
                  <a:pt x="938657" y="122174"/>
                  <a:pt x="939673" y="124460"/>
                </a:cubicBezTo>
                <a:cubicBezTo>
                  <a:pt x="940562" y="126746"/>
                  <a:pt x="942213" y="128651"/>
                  <a:pt x="944626" y="129921"/>
                </a:cubicBezTo>
                <a:cubicBezTo>
                  <a:pt x="946912" y="131318"/>
                  <a:pt x="950341" y="131953"/>
                  <a:pt x="954786" y="131953"/>
                </a:cubicBezTo>
                <a:cubicBezTo>
                  <a:pt x="956691" y="131953"/>
                  <a:pt x="959104" y="131572"/>
                  <a:pt x="962025" y="130810"/>
                </a:cubicBezTo>
                <a:cubicBezTo>
                  <a:pt x="965073" y="130048"/>
                  <a:pt x="967105" y="129286"/>
                  <a:pt x="968375" y="128651"/>
                </a:cubicBezTo>
                <a:lnTo>
                  <a:pt x="971295" y="128651"/>
                </a:lnTo>
                <a:lnTo>
                  <a:pt x="971295" y="153035"/>
                </a:lnTo>
                <a:cubicBezTo>
                  <a:pt x="967486" y="153924"/>
                  <a:pt x="963421" y="154686"/>
                  <a:pt x="959104" y="155321"/>
                </a:cubicBezTo>
                <a:cubicBezTo>
                  <a:pt x="954786" y="155829"/>
                  <a:pt x="949579" y="156083"/>
                  <a:pt x="943356" y="156083"/>
                </a:cubicBezTo>
                <a:cubicBezTo>
                  <a:pt x="929513" y="156083"/>
                  <a:pt x="919226" y="153289"/>
                  <a:pt x="912495" y="147701"/>
                </a:cubicBezTo>
                <a:cubicBezTo>
                  <a:pt x="905637" y="142113"/>
                  <a:pt x="902335" y="132461"/>
                  <a:pt x="902335" y="118872"/>
                </a:cubicBezTo>
                <a:lnTo>
                  <a:pt x="902335" y="66929"/>
                </a:lnTo>
                <a:lnTo>
                  <a:pt x="887603" y="66929"/>
                </a:lnTo>
                <a:lnTo>
                  <a:pt x="887603" y="42799"/>
                </a:lnTo>
                <a:lnTo>
                  <a:pt x="902335" y="42799"/>
                </a:lnTo>
                <a:close/>
                <a:moveTo>
                  <a:pt x="391795" y="11049"/>
                </a:moveTo>
                <a:lnTo>
                  <a:pt x="427482" y="11049"/>
                </a:lnTo>
                <a:lnTo>
                  <a:pt x="427482" y="42799"/>
                </a:lnTo>
                <a:lnTo>
                  <a:pt x="460756" y="42799"/>
                </a:lnTo>
                <a:lnTo>
                  <a:pt x="460756" y="66929"/>
                </a:lnTo>
                <a:lnTo>
                  <a:pt x="427482" y="66929"/>
                </a:lnTo>
                <a:lnTo>
                  <a:pt x="427482" y="106426"/>
                </a:lnTo>
                <a:cubicBezTo>
                  <a:pt x="427482" y="110363"/>
                  <a:pt x="427482" y="113665"/>
                  <a:pt x="427608" y="116586"/>
                </a:cubicBezTo>
                <a:cubicBezTo>
                  <a:pt x="427608" y="119507"/>
                  <a:pt x="428117" y="122174"/>
                  <a:pt x="429132" y="124460"/>
                </a:cubicBezTo>
                <a:cubicBezTo>
                  <a:pt x="430021" y="126746"/>
                  <a:pt x="431673" y="128651"/>
                  <a:pt x="434086" y="129921"/>
                </a:cubicBezTo>
                <a:cubicBezTo>
                  <a:pt x="436371" y="131318"/>
                  <a:pt x="439801" y="131953"/>
                  <a:pt x="444245" y="131953"/>
                </a:cubicBezTo>
                <a:cubicBezTo>
                  <a:pt x="446151" y="131953"/>
                  <a:pt x="448564" y="131572"/>
                  <a:pt x="451485" y="130810"/>
                </a:cubicBezTo>
                <a:cubicBezTo>
                  <a:pt x="454532" y="130048"/>
                  <a:pt x="456565" y="129286"/>
                  <a:pt x="457835" y="128651"/>
                </a:cubicBezTo>
                <a:lnTo>
                  <a:pt x="460756" y="128651"/>
                </a:lnTo>
                <a:lnTo>
                  <a:pt x="460756" y="153035"/>
                </a:lnTo>
                <a:cubicBezTo>
                  <a:pt x="456945" y="153924"/>
                  <a:pt x="452882" y="154686"/>
                  <a:pt x="448564" y="155321"/>
                </a:cubicBezTo>
                <a:cubicBezTo>
                  <a:pt x="444245" y="155829"/>
                  <a:pt x="439039" y="156083"/>
                  <a:pt x="432816" y="156083"/>
                </a:cubicBezTo>
                <a:cubicBezTo>
                  <a:pt x="418973" y="156083"/>
                  <a:pt x="408686" y="153289"/>
                  <a:pt x="401955" y="147701"/>
                </a:cubicBezTo>
                <a:cubicBezTo>
                  <a:pt x="395096" y="142113"/>
                  <a:pt x="391795" y="132461"/>
                  <a:pt x="391795" y="118872"/>
                </a:cubicBezTo>
                <a:lnTo>
                  <a:pt x="391795" y="66929"/>
                </a:lnTo>
                <a:lnTo>
                  <a:pt x="377063" y="66929"/>
                </a:lnTo>
                <a:lnTo>
                  <a:pt x="377063" y="42799"/>
                </a:lnTo>
                <a:lnTo>
                  <a:pt x="391795" y="42799"/>
                </a:lnTo>
                <a:close/>
                <a:moveTo>
                  <a:pt x="298831" y="11049"/>
                </a:moveTo>
                <a:lnTo>
                  <a:pt x="334518" y="11049"/>
                </a:lnTo>
                <a:lnTo>
                  <a:pt x="334518" y="42799"/>
                </a:lnTo>
                <a:lnTo>
                  <a:pt x="367792" y="42799"/>
                </a:lnTo>
                <a:lnTo>
                  <a:pt x="367792" y="66929"/>
                </a:lnTo>
                <a:lnTo>
                  <a:pt x="334518" y="66929"/>
                </a:lnTo>
                <a:lnTo>
                  <a:pt x="334518" y="106426"/>
                </a:lnTo>
                <a:cubicBezTo>
                  <a:pt x="334518" y="110363"/>
                  <a:pt x="334518" y="113665"/>
                  <a:pt x="334645" y="116586"/>
                </a:cubicBezTo>
                <a:cubicBezTo>
                  <a:pt x="334645" y="119507"/>
                  <a:pt x="335153" y="122174"/>
                  <a:pt x="336169" y="124460"/>
                </a:cubicBezTo>
                <a:cubicBezTo>
                  <a:pt x="337057" y="126746"/>
                  <a:pt x="338708" y="128651"/>
                  <a:pt x="341121" y="129921"/>
                </a:cubicBezTo>
                <a:cubicBezTo>
                  <a:pt x="343407" y="131318"/>
                  <a:pt x="346837" y="131953"/>
                  <a:pt x="351282" y="131953"/>
                </a:cubicBezTo>
                <a:cubicBezTo>
                  <a:pt x="353187" y="131953"/>
                  <a:pt x="355600" y="131572"/>
                  <a:pt x="358520" y="130810"/>
                </a:cubicBezTo>
                <a:cubicBezTo>
                  <a:pt x="361569" y="130048"/>
                  <a:pt x="363601" y="129286"/>
                  <a:pt x="364870" y="128651"/>
                </a:cubicBezTo>
                <a:lnTo>
                  <a:pt x="367792" y="128651"/>
                </a:lnTo>
                <a:lnTo>
                  <a:pt x="367792" y="153035"/>
                </a:lnTo>
                <a:cubicBezTo>
                  <a:pt x="363982" y="153924"/>
                  <a:pt x="359918" y="154686"/>
                  <a:pt x="355600" y="155321"/>
                </a:cubicBezTo>
                <a:cubicBezTo>
                  <a:pt x="351282" y="155829"/>
                  <a:pt x="346075" y="156083"/>
                  <a:pt x="339852" y="156083"/>
                </a:cubicBezTo>
                <a:cubicBezTo>
                  <a:pt x="326008" y="156083"/>
                  <a:pt x="315721" y="153289"/>
                  <a:pt x="308991" y="147701"/>
                </a:cubicBezTo>
                <a:cubicBezTo>
                  <a:pt x="302132" y="142113"/>
                  <a:pt x="298831" y="132461"/>
                  <a:pt x="298831" y="118872"/>
                </a:cubicBezTo>
                <a:lnTo>
                  <a:pt x="298831" y="66929"/>
                </a:lnTo>
                <a:lnTo>
                  <a:pt x="284099" y="66929"/>
                </a:lnTo>
                <a:lnTo>
                  <a:pt x="284099" y="42799"/>
                </a:lnTo>
                <a:lnTo>
                  <a:pt x="298831" y="42799"/>
                </a:lnTo>
                <a:close/>
                <a:moveTo>
                  <a:pt x="784352" y="6604"/>
                </a:moveTo>
                <a:lnTo>
                  <a:pt x="870585" y="6604"/>
                </a:lnTo>
                <a:lnTo>
                  <a:pt x="870585" y="32766"/>
                </a:lnTo>
                <a:lnTo>
                  <a:pt x="846455" y="32766"/>
                </a:lnTo>
                <a:lnTo>
                  <a:pt x="846455" y="127889"/>
                </a:lnTo>
                <a:lnTo>
                  <a:pt x="870585" y="127889"/>
                </a:lnTo>
                <a:lnTo>
                  <a:pt x="870585" y="153924"/>
                </a:lnTo>
                <a:lnTo>
                  <a:pt x="784352" y="153924"/>
                </a:lnTo>
                <a:lnTo>
                  <a:pt x="784352" y="127889"/>
                </a:lnTo>
                <a:lnTo>
                  <a:pt x="808482" y="127889"/>
                </a:lnTo>
                <a:lnTo>
                  <a:pt x="808482" y="32766"/>
                </a:lnTo>
                <a:lnTo>
                  <a:pt x="784352" y="32766"/>
                </a:lnTo>
                <a:close/>
                <a:moveTo>
                  <a:pt x="0" y="6604"/>
                </a:moveTo>
                <a:lnTo>
                  <a:pt x="57150" y="6604"/>
                </a:lnTo>
                <a:cubicBezTo>
                  <a:pt x="69088" y="6604"/>
                  <a:pt x="77724" y="6985"/>
                  <a:pt x="83312" y="7746"/>
                </a:cubicBezTo>
                <a:cubicBezTo>
                  <a:pt x="88773" y="8508"/>
                  <a:pt x="94233" y="10287"/>
                  <a:pt x="99695" y="13081"/>
                </a:cubicBezTo>
                <a:cubicBezTo>
                  <a:pt x="105282" y="15875"/>
                  <a:pt x="109474" y="19685"/>
                  <a:pt x="112141" y="24511"/>
                </a:cubicBezTo>
                <a:cubicBezTo>
                  <a:pt x="114935" y="29210"/>
                  <a:pt x="116332" y="34671"/>
                  <a:pt x="116332" y="40894"/>
                </a:cubicBezTo>
                <a:cubicBezTo>
                  <a:pt x="116332" y="48006"/>
                  <a:pt x="114427" y="54229"/>
                  <a:pt x="110617" y="59690"/>
                </a:cubicBezTo>
                <a:cubicBezTo>
                  <a:pt x="106933" y="65151"/>
                  <a:pt x="101600" y="69342"/>
                  <a:pt x="94742" y="72390"/>
                </a:cubicBezTo>
                <a:lnTo>
                  <a:pt x="94742" y="73152"/>
                </a:lnTo>
                <a:cubicBezTo>
                  <a:pt x="104394" y="75057"/>
                  <a:pt x="112014" y="79121"/>
                  <a:pt x="117602" y="85090"/>
                </a:cubicBezTo>
                <a:cubicBezTo>
                  <a:pt x="123317" y="91059"/>
                  <a:pt x="126111" y="98933"/>
                  <a:pt x="126111" y="108839"/>
                </a:cubicBezTo>
                <a:cubicBezTo>
                  <a:pt x="126111" y="115951"/>
                  <a:pt x="124587" y="122301"/>
                  <a:pt x="121793" y="127889"/>
                </a:cubicBezTo>
                <a:cubicBezTo>
                  <a:pt x="118871" y="133477"/>
                  <a:pt x="114935" y="138176"/>
                  <a:pt x="109982" y="141859"/>
                </a:cubicBezTo>
                <a:cubicBezTo>
                  <a:pt x="104140" y="146177"/>
                  <a:pt x="97790" y="149352"/>
                  <a:pt x="90805" y="151130"/>
                </a:cubicBezTo>
                <a:cubicBezTo>
                  <a:pt x="83820" y="153035"/>
                  <a:pt x="75057" y="153924"/>
                  <a:pt x="64262" y="153924"/>
                </a:cubicBezTo>
                <a:lnTo>
                  <a:pt x="0" y="153924"/>
                </a:lnTo>
                <a:close/>
                <a:moveTo>
                  <a:pt x="1128776" y="0"/>
                </a:moveTo>
                <a:lnTo>
                  <a:pt x="1164590" y="0"/>
                </a:lnTo>
                <a:lnTo>
                  <a:pt x="1164590" y="153924"/>
                </a:lnTo>
                <a:lnTo>
                  <a:pt x="1128776" y="15392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30" name="object 230"/>
          <p:cNvSpPr/>
          <p:nvPr/>
        </p:nvSpPr>
        <p:spPr>
          <a:xfrm>
            <a:off x="7605048" y="3664839"/>
            <a:ext cx="9143" cy="9144"/>
          </a:xfrm>
          <a:custGeom>
            <a:avLst/>
            <a:gdLst/>
            <a:ahLst/>
            <a:cxnLst/>
            <a:rect l="l" t="t" r="r" b="b"/>
            <a:pathLst>
              <a:path w="9143" h="9144"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31" name="object 231"/>
          <p:cNvSpPr/>
          <p:nvPr/>
        </p:nvSpPr>
        <p:spPr>
          <a:xfrm>
            <a:off x="7565648" y="3664845"/>
            <a:ext cx="48513" cy="40005"/>
          </a:xfrm>
          <a:custGeom>
            <a:avLst/>
            <a:gdLst/>
            <a:ahLst/>
            <a:cxnLst/>
            <a:rect l="l" t="t" r="r" b="b"/>
            <a:pathLst>
              <a:path w="48513" h="40005">
                <a:moveTo>
                  <a:pt x="43942" y="4572"/>
                </a:moveTo>
                <a:cubicBezTo>
                  <a:pt x="39116" y="4953"/>
                  <a:pt x="33909" y="5461"/>
                  <a:pt x="28321" y="6096"/>
                </a:cubicBezTo>
                <a:cubicBezTo>
                  <a:pt x="22733" y="6858"/>
                  <a:pt x="18415" y="7620"/>
                  <a:pt x="15621" y="8509"/>
                </a:cubicBezTo>
                <a:cubicBezTo>
                  <a:pt x="12065" y="9652"/>
                  <a:pt x="9271" y="11303"/>
                  <a:pt x="7366" y="13462"/>
                </a:cubicBezTo>
                <a:cubicBezTo>
                  <a:pt x="5461" y="15621"/>
                  <a:pt x="4572" y="18415"/>
                  <a:pt x="4572" y="21844"/>
                </a:cubicBezTo>
                <a:cubicBezTo>
                  <a:pt x="4572" y="24130"/>
                  <a:pt x="4825" y="26035"/>
                  <a:pt x="5207" y="27559"/>
                </a:cubicBezTo>
                <a:cubicBezTo>
                  <a:pt x="5587" y="28956"/>
                  <a:pt x="6604" y="30353"/>
                  <a:pt x="8128" y="31623"/>
                </a:cubicBezTo>
                <a:cubicBezTo>
                  <a:pt x="9652" y="33020"/>
                  <a:pt x="11430" y="33909"/>
                  <a:pt x="13588" y="34544"/>
                </a:cubicBezTo>
                <a:cubicBezTo>
                  <a:pt x="15748" y="35179"/>
                  <a:pt x="19049" y="35433"/>
                  <a:pt x="23495" y="35433"/>
                </a:cubicBezTo>
                <a:cubicBezTo>
                  <a:pt x="27050" y="35433"/>
                  <a:pt x="30607" y="34798"/>
                  <a:pt x="34290" y="33274"/>
                </a:cubicBezTo>
                <a:cubicBezTo>
                  <a:pt x="37973" y="31877"/>
                  <a:pt x="41148" y="29972"/>
                  <a:pt x="43942" y="27559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32" name="object 232"/>
          <p:cNvSpPr/>
          <p:nvPr/>
        </p:nvSpPr>
        <p:spPr>
          <a:xfrm>
            <a:off x="6582415" y="3653155"/>
            <a:ext cx="1031747" cy="45974"/>
          </a:xfrm>
          <a:custGeom>
            <a:avLst/>
            <a:gdLst/>
            <a:ahLst/>
            <a:cxnLst/>
            <a:rect l="l" t="t" r="r" b="b"/>
            <a:pathLst>
              <a:path w="1031747" h="45974">
                <a:moveTo>
                  <a:pt x="1027176" y="39243"/>
                </a:moveTo>
                <a:moveTo>
                  <a:pt x="1027176" y="16256"/>
                </a:moveTo>
                <a:moveTo>
                  <a:pt x="4571" y="4572"/>
                </a:moveTo>
                <a:lnTo>
                  <a:pt x="4571" y="41402"/>
                </a:lnTo>
                <a:lnTo>
                  <a:pt x="7239" y="4140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33" name="object 233"/>
          <p:cNvSpPr/>
          <p:nvPr/>
        </p:nvSpPr>
        <p:spPr>
          <a:xfrm>
            <a:off x="6585077" y="3624588"/>
            <a:ext cx="1029080" cy="74549"/>
          </a:xfrm>
          <a:custGeom>
            <a:avLst/>
            <a:gdLst/>
            <a:ahLst/>
            <a:cxnLst/>
            <a:rect l="l" t="t" r="r" b="b"/>
            <a:pathLst>
              <a:path w="1029080" h="74549">
                <a:moveTo>
                  <a:pt x="4572" y="69977"/>
                </a:moveTo>
                <a:cubicBezTo>
                  <a:pt x="15240" y="69977"/>
                  <a:pt x="22860" y="69850"/>
                  <a:pt x="27559" y="69850"/>
                </a:cubicBezTo>
                <a:cubicBezTo>
                  <a:pt x="32130" y="69723"/>
                  <a:pt x="36449" y="68834"/>
                  <a:pt x="40259" y="67183"/>
                </a:cubicBezTo>
                <a:cubicBezTo>
                  <a:pt x="44196" y="65532"/>
                  <a:pt x="46990" y="63373"/>
                  <a:pt x="48387" y="60706"/>
                </a:cubicBezTo>
                <a:cubicBezTo>
                  <a:pt x="49911" y="57912"/>
                  <a:pt x="50673" y="54737"/>
                  <a:pt x="50673" y="51181"/>
                </a:cubicBezTo>
                <a:cubicBezTo>
                  <a:pt x="50673" y="46482"/>
                  <a:pt x="49784" y="42926"/>
                  <a:pt x="47879" y="40386"/>
                </a:cubicBezTo>
                <a:cubicBezTo>
                  <a:pt x="46101" y="37846"/>
                  <a:pt x="43053" y="35941"/>
                  <a:pt x="38735" y="34671"/>
                </a:cubicBezTo>
                <a:cubicBezTo>
                  <a:pt x="35687" y="33782"/>
                  <a:pt x="31623" y="33401"/>
                  <a:pt x="26416" y="33274"/>
                </a:cubicBezTo>
                <a:cubicBezTo>
                  <a:pt x="21209" y="33274"/>
                  <a:pt x="15748" y="33147"/>
                  <a:pt x="10160" y="33147"/>
                </a:cubicBezTo>
                <a:moveTo>
                  <a:pt x="1024509" y="44831"/>
                </a:moveTo>
                <a:moveTo>
                  <a:pt x="498855" y="4572"/>
                </a:moveTo>
                <a:cubicBezTo>
                  <a:pt x="491998" y="4572"/>
                  <a:pt x="486410" y="6350"/>
                  <a:pt x="481965" y="9906"/>
                </a:cubicBezTo>
                <a:cubicBezTo>
                  <a:pt x="477520" y="13462"/>
                  <a:pt x="474979" y="19177"/>
                  <a:pt x="474472" y="27051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34" name="object 234"/>
          <p:cNvSpPr/>
          <p:nvPr/>
        </p:nvSpPr>
        <p:spPr>
          <a:xfrm>
            <a:off x="7054977" y="3647059"/>
            <a:ext cx="55372" cy="9144"/>
          </a:xfrm>
          <a:custGeom>
            <a:avLst/>
            <a:gdLst/>
            <a:ahLst/>
            <a:cxnLst/>
            <a:rect l="l" t="t" r="r" b="b"/>
            <a:pathLst>
              <a:path w="55372" h="9144">
                <a:moveTo>
                  <a:pt x="4572" y="4572"/>
                </a:moveTo>
                <a:lnTo>
                  <a:pt x="50800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35" name="object 235"/>
          <p:cNvSpPr/>
          <p:nvPr/>
        </p:nvSpPr>
        <p:spPr>
          <a:xfrm>
            <a:off x="7079361" y="3605784"/>
            <a:ext cx="657860" cy="68198"/>
          </a:xfrm>
          <a:custGeom>
            <a:avLst/>
            <a:gdLst/>
            <a:ahLst/>
            <a:cxnLst/>
            <a:rect l="l" t="t" r="r" b="b"/>
            <a:pathLst>
              <a:path w="657860" h="68198">
                <a:moveTo>
                  <a:pt x="26416" y="45847"/>
                </a:moveTo>
                <a:cubicBezTo>
                  <a:pt x="26289" y="38354"/>
                  <a:pt x="24383" y="32766"/>
                  <a:pt x="20955" y="29083"/>
                </a:cubicBezTo>
                <a:cubicBezTo>
                  <a:pt x="17399" y="25273"/>
                  <a:pt x="11938" y="23368"/>
                  <a:pt x="4571" y="23368"/>
                </a:cubicBezTo>
                <a:moveTo>
                  <a:pt x="530225" y="63627"/>
                </a:moveTo>
                <a:moveTo>
                  <a:pt x="653288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36" name="object 236"/>
          <p:cNvSpPr/>
          <p:nvPr/>
        </p:nvSpPr>
        <p:spPr>
          <a:xfrm>
            <a:off x="7728133" y="3605792"/>
            <a:ext cx="46609" cy="9143"/>
          </a:xfrm>
          <a:custGeom>
            <a:avLst/>
            <a:gdLst/>
            <a:ahLst/>
            <a:cxnLst/>
            <a:rect l="l" t="t" r="r" b="b"/>
            <a:pathLst>
              <a:path w="46609" h="9143">
                <a:moveTo>
                  <a:pt x="4572" y="4572"/>
                </a:moveTo>
                <a:lnTo>
                  <a:pt x="42037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37" name="object 237"/>
          <p:cNvSpPr/>
          <p:nvPr/>
        </p:nvSpPr>
        <p:spPr>
          <a:xfrm>
            <a:off x="7765542" y="3605784"/>
            <a:ext cx="61086" cy="81025"/>
          </a:xfrm>
          <a:custGeom>
            <a:avLst/>
            <a:gdLst/>
            <a:ahLst/>
            <a:cxnLst/>
            <a:rect l="l" t="t" r="r" b="b"/>
            <a:pathLst>
              <a:path w="61086" h="81025">
                <a:moveTo>
                  <a:pt x="4572" y="4572"/>
                </a:moveTo>
                <a:lnTo>
                  <a:pt x="31114" y="76454"/>
                </a:lnTo>
                <a:lnTo>
                  <a:pt x="56514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38" name="object 238"/>
          <p:cNvSpPr/>
          <p:nvPr/>
        </p:nvSpPr>
        <p:spPr>
          <a:xfrm>
            <a:off x="7817541" y="3605792"/>
            <a:ext cx="45719" cy="9143"/>
          </a:xfrm>
          <a:custGeom>
            <a:avLst/>
            <a:gdLst/>
            <a:ahLst/>
            <a:cxnLst/>
            <a:rect l="l" t="t" r="r" b="b"/>
            <a:pathLst>
              <a:path w="45719" h="9143">
                <a:moveTo>
                  <a:pt x="4571" y="4572"/>
                </a:moveTo>
                <a:lnTo>
                  <a:pt x="41147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39" name="object 239"/>
          <p:cNvSpPr/>
          <p:nvPr/>
        </p:nvSpPr>
        <p:spPr>
          <a:xfrm>
            <a:off x="7792339" y="3605786"/>
            <a:ext cx="70865" cy="161035"/>
          </a:xfrm>
          <a:custGeom>
            <a:avLst/>
            <a:gdLst/>
            <a:ahLst/>
            <a:cxnLst/>
            <a:rect l="l" t="t" r="r" b="b"/>
            <a:pathLst>
              <a:path w="70865" h="161035">
                <a:moveTo>
                  <a:pt x="66293" y="4572"/>
                </a:moveTo>
                <a:lnTo>
                  <a:pt x="4572" y="156464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40" name="object 240"/>
          <p:cNvSpPr/>
          <p:nvPr/>
        </p:nvSpPr>
        <p:spPr>
          <a:xfrm>
            <a:off x="7753604" y="3757676"/>
            <a:ext cx="47878" cy="9144"/>
          </a:xfrm>
          <a:custGeom>
            <a:avLst/>
            <a:gdLst/>
            <a:ahLst/>
            <a:cxnLst/>
            <a:rect l="l" t="t" r="r" b="b"/>
            <a:pathLst>
              <a:path w="47878" h="9144">
                <a:moveTo>
                  <a:pt x="43307" y="4572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41" name="object 241"/>
          <p:cNvSpPr/>
          <p:nvPr/>
        </p:nvSpPr>
        <p:spPr>
          <a:xfrm>
            <a:off x="6695567" y="3605786"/>
            <a:ext cx="1084960" cy="161035"/>
          </a:xfrm>
          <a:custGeom>
            <a:avLst/>
            <a:gdLst/>
            <a:ahLst/>
            <a:cxnLst/>
            <a:rect l="l" t="t" r="r" b="b"/>
            <a:pathLst>
              <a:path w="1084960" h="161035">
                <a:moveTo>
                  <a:pt x="1062609" y="156464"/>
                </a:moveTo>
                <a:lnTo>
                  <a:pt x="1080389" y="114935"/>
                </a:lnTo>
                <a:moveTo>
                  <a:pt x="914019" y="63627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42" name="object 242"/>
          <p:cNvSpPr/>
          <p:nvPr/>
        </p:nvSpPr>
        <p:spPr>
          <a:xfrm>
            <a:off x="6695623" y="3605784"/>
            <a:ext cx="44957" cy="64261"/>
          </a:xfrm>
          <a:custGeom>
            <a:avLst/>
            <a:gdLst/>
            <a:ahLst/>
            <a:cxnLst/>
            <a:rect l="l" t="t" r="r" b="b"/>
            <a:pathLst>
              <a:path w="44957" h="64261">
                <a:moveTo>
                  <a:pt x="4572" y="4572"/>
                </a:moveTo>
                <a:lnTo>
                  <a:pt x="40386" y="4572"/>
                </a:lnTo>
                <a:lnTo>
                  <a:pt x="40386" y="59690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43" name="object 243"/>
          <p:cNvSpPr/>
          <p:nvPr/>
        </p:nvSpPr>
        <p:spPr>
          <a:xfrm>
            <a:off x="6731437" y="3660908"/>
            <a:ext cx="49275" cy="39497"/>
          </a:xfrm>
          <a:custGeom>
            <a:avLst/>
            <a:gdLst/>
            <a:ahLst/>
            <a:cxnLst/>
            <a:rect l="l" t="t" r="r" b="b"/>
            <a:pathLst>
              <a:path w="49275" h="39497">
                <a:moveTo>
                  <a:pt x="4572" y="4572"/>
                </a:moveTo>
                <a:cubicBezTo>
                  <a:pt x="4572" y="10160"/>
                  <a:pt x="4699" y="14859"/>
                  <a:pt x="5080" y="18542"/>
                </a:cubicBezTo>
                <a:cubicBezTo>
                  <a:pt x="5461" y="22352"/>
                  <a:pt x="6223" y="25400"/>
                  <a:pt x="7620" y="27813"/>
                </a:cubicBezTo>
                <a:cubicBezTo>
                  <a:pt x="8890" y="30353"/>
                  <a:pt x="10795" y="32131"/>
                  <a:pt x="13335" y="33147"/>
                </a:cubicBezTo>
                <a:cubicBezTo>
                  <a:pt x="15875" y="34290"/>
                  <a:pt x="19431" y="34925"/>
                  <a:pt x="23875" y="34925"/>
                </a:cubicBezTo>
                <a:cubicBezTo>
                  <a:pt x="26924" y="34925"/>
                  <a:pt x="30353" y="34290"/>
                  <a:pt x="34036" y="33147"/>
                </a:cubicBezTo>
                <a:cubicBezTo>
                  <a:pt x="37719" y="32131"/>
                  <a:pt x="41275" y="30480"/>
                  <a:pt x="44704" y="28194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44" name="object 244"/>
          <p:cNvSpPr/>
          <p:nvPr/>
        </p:nvSpPr>
        <p:spPr>
          <a:xfrm>
            <a:off x="6771513" y="3605784"/>
            <a:ext cx="44830" cy="120268"/>
          </a:xfrm>
          <a:custGeom>
            <a:avLst/>
            <a:gdLst/>
            <a:ahLst/>
            <a:cxnLst/>
            <a:rect l="l" t="t" r="r" b="b"/>
            <a:pathLst>
              <a:path w="44830" h="120268">
                <a:moveTo>
                  <a:pt x="4572" y="83312"/>
                </a:moveTo>
                <a:lnTo>
                  <a:pt x="4572" y="4572"/>
                </a:lnTo>
                <a:lnTo>
                  <a:pt x="40259" y="4572"/>
                </a:lnTo>
                <a:lnTo>
                  <a:pt x="40259" y="115697"/>
                </a:lnTo>
                <a:lnTo>
                  <a:pt x="4572" y="115697"/>
                </a:lnTo>
                <a:lnTo>
                  <a:pt x="4572" y="103505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45" name="object 245"/>
          <p:cNvSpPr/>
          <p:nvPr/>
        </p:nvSpPr>
        <p:spPr>
          <a:xfrm>
            <a:off x="6695567" y="3605406"/>
            <a:ext cx="918590" cy="123697"/>
          </a:xfrm>
          <a:custGeom>
            <a:avLst/>
            <a:gdLst/>
            <a:ahLst/>
            <a:cxnLst/>
            <a:rect l="l" t="t" r="r" b="b"/>
            <a:pathLst>
              <a:path w="918590" h="123697">
                <a:moveTo>
                  <a:pt x="80518" y="103886"/>
                </a:moveTo>
                <a:cubicBezTo>
                  <a:pt x="73914" y="108839"/>
                  <a:pt x="67945" y="112649"/>
                  <a:pt x="62484" y="115316"/>
                </a:cubicBezTo>
                <a:cubicBezTo>
                  <a:pt x="57023" y="117856"/>
                  <a:pt x="50419" y="119126"/>
                  <a:pt x="42799" y="119126"/>
                </a:cubicBezTo>
                <a:cubicBezTo>
                  <a:pt x="30607" y="119126"/>
                  <a:pt x="21209" y="115697"/>
                  <a:pt x="14605" y="108585"/>
                </a:cubicBezTo>
                <a:cubicBezTo>
                  <a:pt x="7874" y="101473"/>
                  <a:pt x="4572" y="91059"/>
                  <a:pt x="4572" y="77343"/>
                </a:cubicBezTo>
                <a:moveTo>
                  <a:pt x="914019" y="64008"/>
                </a:moveTo>
                <a:moveTo>
                  <a:pt x="542544" y="4572"/>
                </a:moveTo>
                <a:cubicBezTo>
                  <a:pt x="543687" y="4572"/>
                  <a:pt x="545211" y="4572"/>
                  <a:pt x="546735" y="4699"/>
                </a:cubicBezTo>
                <a:cubicBezTo>
                  <a:pt x="548259" y="4699"/>
                  <a:pt x="549656" y="4826"/>
                  <a:pt x="550926" y="4953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46" name="object 246"/>
          <p:cNvSpPr/>
          <p:nvPr/>
        </p:nvSpPr>
        <p:spPr>
          <a:xfrm>
            <a:off x="7238751" y="3605784"/>
            <a:ext cx="12318" cy="43052"/>
          </a:xfrm>
          <a:custGeom>
            <a:avLst/>
            <a:gdLst/>
            <a:ahLst/>
            <a:cxnLst/>
            <a:rect l="l" t="t" r="r" b="b"/>
            <a:pathLst>
              <a:path w="12318" h="43052">
                <a:moveTo>
                  <a:pt x="7747" y="4572"/>
                </a:moveTo>
                <a:lnTo>
                  <a:pt x="7747" y="38481"/>
                </a:lnTo>
                <a:lnTo>
                  <a:pt x="4572" y="3848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47" name="object 247"/>
          <p:cNvSpPr/>
          <p:nvPr/>
        </p:nvSpPr>
        <p:spPr>
          <a:xfrm>
            <a:off x="7197094" y="3638169"/>
            <a:ext cx="50800" cy="13462"/>
          </a:xfrm>
          <a:custGeom>
            <a:avLst/>
            <a:gdLst/>
            <a:ahLst/>
            <a:cxnLst/>
            <a:rect l="l" t="t" r="r" b="b"/>
            <a:pathLst>
              <a:path w="50800" h="13462">
                <a:moveTo>
                  <a:pt x="46228" y="6096"/>
                </a:moveTo>
                <a:cubicBezTo>
                  <a:pt x="44703" y="5588"/>
                  <a:pt x="42291" y="5207"/>
                  <a:pt x="38862" y="4953"/>
                </a:cubicBezTo>
                <a:cubicBezTo>
                  <a:pt x="35560" y="4699"/>
                  <a:pt x="32766" y="4572"/>
                  <a:pt x="30479" y="4572"/>
                </a:cubicBezTo>
                <a:cubicBezTo>
                  <a:pt x="25400" y="4572"/>
                  <a:pt x="20954" y="4953"/>
                  <a:pt x="17017" y="5588"/>
                </a:cubicBezTo>
                <a:cubicBezTo>
                  <a:pt x="13208" y="6223"/>
                  <a:pt x="9016" y="7366"/>
                  <a:pt x="4572" y="8890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48" name="object 248"/>
          <p:cNvSpPr/>
          <p:nvPr/>
        </p:nvSpPr>
        <p:spPr>
          <a:xfrm>
            <a:off x="7161279" y="3605784"/>
            <a:ext cx="44958" cy="120268"/>
          </a:xfrm>
          <a:custGeom>
            <a:avLst/>
            <a:gdLst/>
            <a:ahLst/>
            <a:cxnLst/>
            <a:rect l="l" t="t" r="r" b="b"/>
            <a:pathLst>
              <a:path w="44958" h="120268">
                <a:moveTo>
                  <a:pt x="40386" y="41275"/>
                </a:moveTo>
                <a:lnTo>
                  <a:pt x="40386" y="115697"/>
                </a:lnTo>
                <a:lnTo>
                  <a:pt x="4572" y="115697"/>
                </a:lnTo>
                <a:lnTo>
                  <a:pt x="4572" y="4572"/>
                </a:lnTo>
                <a:lnTo>
                  <a:pt x="40386" y="4572"/>
                </a:lnTo>
                <a:lnTo>
                  <a:pt x="40386" y="20955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49" name="object 249"/>
          <p:cNvSpPr/>
          <p:nvPr/>
        </p:nvSpPr>
        <p:spPr>
          <a:xfrm>
            <a:off x="7197090" y="3602611"/>
            <a:ext cx="452374" cy="71373"/>
          </a:xfrm>
          <a:custGeom>
            <a:avLst/>
            <a:gdLst/>
            <a:ahLst/>
            <a:cxnLst/>
            <a:rect l="l" t="t" r="r" b="b"/>
            <a:pathLst>
              <a:path w="452374" h="71373">
                <a:moveTo>
                  <a:pt x="4572" y="24130"/>
                </a:moveTo>
                <a:cubicBezTo>
                  <a:pt x="12319" y="17399"/>
                  <a:pt x="19177" y="12954"/>
                  <a:pt x="25019" y="10668"/>
                </a:cubicBezTo>
                <a:cubicBezTo>
                  <a:pt x="30734" y="8509"/>
                  <a:pt x="36067" y="7366"/>
                  <a:pt x="41021" y="7366"/>
                </a:cubicBezTo>
                <a:moveTo>
                  <a:pt x="412496" y="66802"/>
                </a:moveTo>
                <a:moveTo>
                  <a:pt x="390398" y="4572"/>
                </a:moveTo>
                <a:cubicBezTo>
                  <a:pt x="410717" y="4572"/>
                  <a:pt x="425323" y="7747"/>
                  <a:pt x="434340" y="13970"/>
                </a:cubicBezTo>
                <a:cubicBezTo>
                  <a:pt x="443357" y="20193"/>
                  <a:pt x="447802" y="29972"/>
                  <a:pt x="447802" y="43307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50" name="object 250"/>
          <p:cNvSpPr/>
          <p:nvPr/>
        </p:nvSpPr>
        <p:spPr>
          <a:xfrm>
            <a:off x="7605014" y="3641352"/>
            <a:ext cx="44450" cy="84709"/>
          </a:xfrm>
          <a:custGeom>
            <a:avLst/>
            <a:gdLst/>
            <a:ahLst/>
            <a:cxnLst/>
            <a:rect l="l" t="t" r="r" b="b"/>
            <a:pathLst>
              <a:path w="44450" h="84709">
                <a:moveTo>
                  <a:pt x="39878" y="4572"/>
                </a:moveTo>
                <a:lnTo>
                  <a:pt x="39878" y="80137"/>
                </a:lnTo>
                <a:lnTo>
                  <a:pt x="4572" y="80137"/>
                </a:lnTo>
                <a:lnTo>
                  <a:pt x="4572" y="6845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51" name="object 251"/>
          <p:cNvSpPr/>
          <p:nvPr/>
        </p:nvSpPr>
        <p:spPr>
          <a:xfrm>
            <a:off x="7529505" y="3643892"/>
            <a:ext cx="84963" cy="85217"/>
          </a:xfrm>
          <a:custGeom>
            <a:avLst/>
            <a:gdLst/>
            <a:ahLst/>
            <a:cxnLst/>
            <a:rect l="l" t="t" r="r" b="b"/>
            <a:pathLst>
              <a:path w="84963" h="85217">
                <a:moveTo>
                  <a:pt x="80137" y="65913"/>
                </a:moveTo>
                <a:cubicBezTo>
                  <a:pt x="78232" y="67310"/>
                  <a:pt x="75819" y="69088"/>
                  <a:pt x="73025" y="71120"/>
                </a:cubicBezTo>
                <a:cubicBezTo>
                  <a:pt x="70231" y="73152"/>
                  <a:pt x="67564" y="74803"/>
                  <a:pt x="65024" y="75946"/>
                </a:cubicBezTo>
                <a:cubicBezTo>
                  <a:pt x="61468" y="77470"/>
                  <a:pt x="57912" y="78740"/>
                  <a:pt x="54102" y="79502"/>
                </a:cubicBezTo>
                <a:cubicBezTo>
                  <a:pt x="50419" y="80264"/>
                  <a:pt x="46228" y="80645"/>
                  <a:pt x="41782" y="80645"/>
                </a:cubicBezTo>
                <a:cubicBezTo>
                  <a:pt x="31242" y="80645"/>
                  <a:pt x="22352" y="77343"/>
                  <a:pt x="15240" y="70739"/>
                </a:cubicBezTo>
                <a:cubicBezTo>
                  <a:pt x="8128" y="64262"/>
                  <a:pt x="4572" y="55880"/>
                  <a:pt x="4572" y="45720"/>
                </a:cubicBezTo>
                <a:cubicBezTo>
                  <a:pt x="4572" y="37592"/>
                  <a:pt x="6350" y="30988"/>
                  <a:pt x="10032" y="25908"/>
                </a:cubicBezTo>
                <a:cubicBezTo>
                  <a:pt x="13589" y="20701"/>
                  <a:pt x="18795" y="16637"/>
                  <a:pt x="25400" y="13716"/>
                </a:cubicBezTo>
                <a:cubicBezTo>
                  <a:pt x="32004" y="10668"/>
                  <a:pt x="40258" y="8636"/>
                  <a:pt x="50038" y="7366"/>
                </a:cubicBezTo>
                <a:cubicBezTo>
                  <a:pt x="59690" y="6096"/>
                  <a:pt x="69850" y="5207"/>
                  <a:pt x="80391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52" name="object 252"/>
          <p:cNvSpPr/>
          <p:nvPr/>
        </p:nvSpPr>
        <p:spPr>
          <a:xfrm>
            <a:off x="7605324" y="3643257"/>
            <a:ext cx="9143" cy="9779"/>
          </a:xfrm>
          <a:custGeom>
            <a:avLst/>
            <a:gdLst/>
            <a:ahLst/>
            <a:cxnLst/>
            <a:rect l="l" t="t" r="r" b="b"/>
            <a:pathLst>
              <a:path w="9143" h="9779">
                <a:moveTo>
                  <a:pt x="4572" y="5207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53" name="object 253"/>
          <p:cNvSpPr/>
          <p:nvPr/>
        </p:nvSpPr>
        <p:spPr>
          <a:xfrm>
            <a:off x="7542404" y="3627127"/>
            <a:ext cx="72009" cy="25273"/>
          </a:xfrm>
          <a:custGeom>
            <a:avLst/>
            <a:gdLst/>
            <a:ahLst/>
            <a:cxnLst/>
            <a:rect l="l" t="t" r="r" b="b"/>
            <a:pathLst>
              <a:path w="72009" h="25273">
                <a:moveTo>
                  <a:pt x="67437" y="20701"/>
                </a:moveTo>
                <a:cubicBezTo>
                  <a:pt x="67437" y="14605"/>
                  <a:pt x="64897" y="10414"/>
                  <a:pt x="59944" y="8001"/>
                </a:cubicBezTo>
                <a:cubicBezTo>
                  <a:pt x="54864" y="5715"/>
                  <a:pt x="47498" y="4572"/>
                  <a:pt x="37719" y="4572"/>
                </a:cubicBezTo>
                <a:cubicBezTo>
                  <a:pt x="31877" y="4572"/>
                  <a:pt x="25527" y="5588"/>
                  <a:pt x="18923" y="7620"/>
                </a:cubicBezTo>
                <a:cubicBezTo>
                  <a:pt x="12191" y="9779"/>
                  <a:pt x="7493" y="11303"/>
                  <a:pt x="4572" y="12446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54" name="object 254"/>
          <p:cNvSpPr/>
          <p:nvPr/>
        </p:nvSpPr>
        <p:spPr>
          <a:xfrm>
            <a:off x="7539107" y="3608205"/>
            <a:ext cx="12446" cy="35941"/>
          </a:xfrm>
          <a:custGeom>
            <a:avLst/>
            <a:gdLst/>
            <a:ahLst/>
            <a:cxnLst/>
            <a:rect l="l" t="t" r="r" b="b"/>
            <a:pathLst>
              <a:path w="12446" h="35941">
                <a:moveTo>
                  <a:pt x="7874" y="31369"/>
                </a:moveTo>
                <a:lnTo>
                  <a:pt x="4572" y="31369"/>
                </a:ln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55" name="object 255"/>
          <p:cNvSpPr/>
          <p:nvPr/>
        </p:nvSpPr>
        <p:spPr>
          <a:xfrm>
            <a:off x="7082287" y="3602355"/>
            <a:ext cx="531875" cy="71628"/>
          </a:xfrm>
          <a:custGeom>
            <a:avLst/>
            <a:gdLst/>
            <a:ahLst/>
            <a:cxnLst/>
            <a:rect l="l" t="t" r="r" b="b"/>
            <a:pathLst>
              <a:path w="531875" h="71628">
                <a:moveTo>
                  <a:pt x="461391" y="10414"/>
                </a:moveTo>
                <a:cubicBezTo>
                  <a:pt x="465200" y="9398"/>
                  <a:pt x="471297" y="8255"/>
                  <a:pt x="479806" y="6858"/>
                </a:cubicBezTo>
                <a:cubicBezTo>
                  <a:pt x="488315" y="5588"/>
                  <a:pt x="496697" y="4826"/>
                  <a:pt x="505206" y="4826"/>
                </a:cubicBezTo>
                <a:moveTo>
                  <a:pt x="527304" y="67056"/>
                </a:moveTo>
                <a:moveTo>
                  <a:pt x="4572" y="4572"/>
                </a:moveTo>
                <a:cubicBezTo>
                  <a:pt x="22606" y="4572"/>
                  <a:pt x="36195" y="9144"/>
                  <a:pt x="45339" y="18288"/>
                </a:cubicBezTo>
                <a:cubicBezTo>
                  <a:pt x="54356" y="27432"/>
                  <a:pt x="58928" y="40513"/>
                  <a:pt x="58928" y="57658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56" name="object 256"/>
          <p:cNvSpPr/>
          <p:nvPr/>
        </p:nvSpPr>
        <p:spPr>
          <a:xfrm>
            <a:off x="7055106" y="3668019"/>
            <a:ext cx="84709" cy="35941"/>
          </a:xfrm>
          <a:custGeom>
            <a:avLst/>
            <a:gdLst/>
            <a:ahLst/>
            <a:cxnLst/>
            <a:rect l="l" t="t" r="r" b="b"/>
            <a:pathLst>
              <a:path w="84709" h="35941">
                <a:moveTo>
                  <a:pt x="4572" y="4572"/>
                </a:moveTo>
                <a:cubicBezTo>
                  <a:pt x="5080" y="13208"/>
                  <a:pt x="8382" y="19939"/>
                  <a:pt x="14477" y="24511"/>
                </a:cubicBezTo>
                <a:cubicBezTo>
                  <a:pt x="20574" y="29083"/>
                  <a:pt x="29590" y="31369"/>
                  <a:pt x="41528" y="31369"/>
                </a:cubicBezTo>
                <a:cubicBezTo>
                  <a:pt x="49022" y="31369"/>
                  <a:pt x="56261" y="30099"/>
                  <a:pt x="63373" y="27432"/>
                </a:cubicBezTo>
                <a:cubicBezTo>
                  <a:pt x="70485" y="24638"/>
                  <a:pt x="75946" y="21717"/>
                  <a:pt x="80137" y="18669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57" name="object 257"/>
          <p:cNvSpPr/>
          <p:nvPr/>
        </p:nvSpPr>
        <p:spPr>
          <a:xfrm>
            <a:off x="7130669" y="3682115"/>
            <a:ext cx="13080" cy="37719"/>
          </a:xfrm>
          <a:custGeom>
            <a:avLst/>
            <a:gdLst/>
            <a:ahLst/>
            <a:cxnLst/>
            <a:rect l="l" t="t" r="r" b="b"/>
            <a:pathLst>
              <a:path w="13080" h="37719">
                <a:moveTo>
                  <a:pt x="4572" y="4572"/>
                </a:moveTo>
                <a:lnTo>
                  <a:pt x="8509" y="4572"/>
                </a:lnTo>
                <a:lnTo>
                  <a:pt x="8509" y="33147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58" name="object 258"/>
          <p:cNvSpPr/>
          <p:nvPr/>
        </p:nvSpPr>
        <p:spPr>
          <a:xfrm>
            <a:off x="6582415" y="3596640"/>
            <a:ext cx="1031747" cy="132460"/>
          </a:xfrm>
          <a:custGeom>
            <a:avLst/>
            <a:gdLst/>
            <a:ahLst/>
            <a:cxnLst/>
            <a:rect l="l" t="t" r="r" b="b"/>
            <a:pathLst>
              <a:path w="1031747" h="132460">
                <a:moveTo>
                  <a:pt x="556768" y="118618"/>
                </a:moveTo>
                <a:cubicBezTo>
                  <a:pt x="548640" y="121920"/>
                  <a:pt x="541146" y="124206"/>
                  <a:pt x="534034" y="125603"/>
                </a:cubicBezTo>
                <a:cubicBezTo>
                  <a:pt x="526796" y="127127"/>
                  <a:pt x="518921" y="127889"/>
                  <a:pt x="510286" y="127889"/>
                </a:cubicBezTo>
                <a:cubicBezTo>
                  <a:pt x="488061" y="127889"/>
                  <a:pt x="470916" y="122809"/>
                  <a:pt x="459105" y="112776"/>
                </a:cubicBezTo>
                <a:cubicBezTo>
                  <a:pt x="447167" y="102743"/>
                  <a:pt x="441197" y="88519"/>
                  <a:pt x="441197" y="69977"/>
                </a:cubicBezTo>
                <a:cubicBezTo>
                  <a:pt x="441197" y="51562"/>
                  <a:pt x="446913" y="37084"/>
                  <a:pt x="458089" y="26289"/>
                </a:cubicBezTo>
                <a:cubicBezTo>
                  <a:pt x="469392" y="15621"/>
                  <a:pt x="484758" y="10287"/>
                  <a:pt x="504444" y="10287"/>
                </a:cubicBezTo>
                <a:moveTo>
                  <a:pt x="1027176" y="72771"/>
                </a:moveTo>
                <a:moveTo>
                  <a:pt x="4571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59" name="object 259"/>
          <p:cNvSpPr/>
          <p:nvPr/>
        </p:nvSpPr>
        <p:spPr>
          <a:xfrm>
            <a:off x="6582410" y="3596640"/>
            <a:ext cx="14986" cy="40258"/>
          </a:xfrm>
          <a:custGeom>
            <a:avLst/>
            <a:gdLst/>
            <a:ahLst/>
            <a:cxnLst/>
            <a:rect l="l" t="t" r="r" b="b"/>
            <a:pathLst>
              <a:path w="14986" h="40258">
                <a:moveTo>
                  <a:pt x="4571" y="4572"/>
                </a:moveTo>
                <a:lnTo>
                  <a:pt x="4571" y="35687"/>
                </a:lnTo>
                <a:lnTo>
                  <a:pt x="10414" y="35687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60" name="object 260"/>
          <p:cNvSpPr/>
          <p:nvPr/>
        </p:nvSpPr>
        <p:spPr>
          <a:xfrm>
            <a:off x="6585969" y="3574034"/>
            <a:ext cx="1028191" cy="99948"/>
          </a:xfrm>
          <a:custGeom>
            <a:avLst/>
            <a:gdLst/>
            <a:ahLst/>
            <a:cxnLst/>
            <a:rect l="l" t="t" r="r" b="b"/>
            <a:pathLst>
              <a:path w="1028191" h="99948">
                <a:moveTo>
                  <a:pt x="6858" y="58293"/>
                </a:moveTo>
                <a:cubicBezTo>
                  <a:pt x="12953" y="58293"/>
                  <a:pt x="18034" y="58166"/>
                  <a:pt x="22225" y="58039"/>
                </a:cubicBezTo>
                <a:cubicBezTo>
                  <a:pt x="26415" y="57785"/>
                  <a:pt x="29845" y="57150"/>
                  <a:pt x="32258" y="56007"/>
                </a:cubicBezTo>
                <a:cubicBezTo>
                  <a:pt x="35687" y="54483"/>
                  <a:pt x="37973" y="52578"/>
                  <a:pt x="38989" y="50165"/>
                </a:cubicBezTo>
                <a:cubicBezTo>
                  <a:pt x="40005" y="47752"/>
                  <a:pt x="40513" y="44958"/>
                  <a:pt x="40513" y="41783"/>
                </a:cubicBezTo>
                <a:cubicBezTo>
                  <a:pt x="40513" y="39370"/>
                  <a:pt x="39877" y="36957"/>
                  <a:pt x="38735" y="34417"/>
                </a:cubicBezTo>
                <a:cubicBezTo>
                  <a:pt x="37465" y="32004"/>
                  <a:pt x="35306" y="30225"/>
                  <a:pt x="32258" y="28956"/>
                </a:cubicBezTo>
                <a:cubicBezTo>
                  <a:pt x="29464" y="27940"/>
                  <a:pt x="26035" y="27431"/>
                  <a:pt x="21844" y="27305"/>
                </a:cubicBezTo>
                <a:cubicBezTo>
                  <a:pt x="17780" y="27178"/>
                  <a:pt x="11938" y="27178"/>
                  <a:pt x="4572" y="27178"/>
                </a:cubicBezTo>
                <a:moveTo>
                  <a:pt x="1023620" y="95377"/>
                </a:moveTo>
                <a:moveTo>
                  <a:pt x="865505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61" name="object 261"/>
          <p:cNvSpPr/>
          <p:nvPr/>
        </p:nvSpPr>
        <p:spPr>
          <a:xfrm>
            <a:off x="7446902" y="3574034"/>
            <a:ext cx="78104" cy="104520"/>
          </a:xfrm>
          <a:custGeom>
            <a:avLst/>
            <a:gdLst/>
            <a:ahLst/>
            <a:cxnLst/>
            <a:rect l="l" t="t" r="r" b="b"/>
            <a:pathLst>
              <a:path w="78104" h="104520">
                <a:moveTo>
                  <a:pt x="4572" y="4572"/>
                </a:moveTo>
                <a:lnTo>
                  <a:pt x="40258" y="4572"/>
                </a:lnTo>
                <a:lnTo>
                  <a:pt x="40258" y="36322"/>
                </a:lnTo>
                <a:lnTo>
                  <a:pt x="73532" y="36322"/>
                </a:lnTo>
                <a:lnTo>
                  <a:pt x="73532" y="60452"/>
                </a:lnTo>
                <a:lnTo>
                  <a:pt x="40258" y="60452"/>
                </a:lnTo>
                <a:lnTo>
                  <a:pt x="40258" y="99949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62" name="object 262"/>
          <p:cNvSpPr/>
          <p:nvPr/>
        </p:nvSpPr>
        <p:spPr>
          <a:xfrm>
            <a:off x="7482586" y="3669411"/>
            <a:ext cx="39496" cy="34671"/>
          </a:xfrm>
          <a:custGeom>
            <a:avLst/>
            <a:gdLst/>
            <a:ahLst/>
            <a:cxnLst/>
            <a:rect l="l" t="t" r="r" b="b"/>
            <a:pathLst>
              <a:path w="39496" h="34671">
                <a:moveTo>
                  <a:pt x="4571" y="4572"/>
                </a:moveTo>
                <a:cubicBezTo>
                  <a:pt x="4571" y="8509"/>
                  <a:pt x="4571" y="11811"/>
                  <a:pt x="4699" y="14732"/>
                </a:cubicBezTo>
                <a:cubicBezTo>
                  <a:pt x="4699" y="17653"/>
                  <a:pt x="5207" y="20320"/>
                  <a:pt x="6223" y="22606"/>
                </a:cubicBezTo>
                <a:cubicBezTo>
                  <a:pt x="7112" y="24892"/>
                  <a:pt x="8763" y="26797"/>
                  <a:pt x="11176" y="28067"/>
                </a:cubicBezTo>
                <a:cubicBezTo>
                  <a:pt x="13462" y="29464"/>
                  <a:pt x="16891" y="30099"/>
                  <a:pt x="21336" y="30099"/>
                </a:cubicBezTo>
                <a:cubicBezTo>
                  <a:pt x="23241" y="30099"/>
                  <a:pt x="25654" y="29718"/>
                  <a:pt x="28575" y="28956"/>
                </a:cubicBezTo>
                <a:cubicBezTo>
                  <a:pt x="31623" y="28194"/>
                  <a:pt x="33655" y="27432"/>
                  <a:pt x="34925" y="26797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63" name="object 263"/>
          <p:cNvSpPr/>
          <p:nvPr/>
        </p:nvSpPr>
        <p:spPr>
          <a:xfrm>
            <a:off x="7512939" y="3691636"/>
            <a:ext cx="12064" cy="33528"/>
          </a:xfrm>
          <a:custGeom>
            <a:avLst/>
            <a:gdLst/>
            <a:ahLst/>
            <a:cxnLst/>
            <a:rect l="l" t="t" r="r" b="b"/>
            <a:pathLst>
              <a:path w="12064" h="33528">
                <a:moveTo>
                  <a:pt x="4572" y="4572"/>
                </a:moveTo>
                <a:lnTo>
                  <a:pt x="7492" y="4572"/>
                </a:lnTo>
                <a:lnTo>
                  <a:pt x="7492" y="28956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64" name="object 264"/>
          <p:cNvSpPr/>
          <p:nvPr/>
        </p:nvSpPr>
        <p:spPr>
          <a:xfrm>
            <a:off x="7446902" y="3681861"/>
            <a:ext cx="78104" cy="46355"/>
          </a:xfrm>
          <a:custGeom>
            <a:avLst/>
            <a:gdLst/>
            <a:ahLst/>
            <a:cxnLst/>
            <a:rect l="l" t="t" r="r" b="b"/>
            <a:pathLst>
              <a:path w="78104" h="46355">
                <a:moveTo>
                  <a:pt x="73532" y="38735"/>
                </a:moveTo>
                <a:cubicBezTo>
                  <a:pt x="69723" y="39624"/>
                  <a:pt x="65658" y="40386"/>
                  <a:pt x="61341" y="41021"/>
                </a:cubicBezTo>
                <a:cubicBezTo>
                  <a:pt x="57023" y="41529"/>
                  <a:pt x="51816" y="41783"/>
                  <a:pt x="45593" y="41783"/>
                </a:cubicBezTo>
                <a:cubicBezTo>
                  <a:pt x="31750" y="41783"/>
                  <a:pt x="21463" y="38989"/>
                  <a:pt x="14732" y="33401"/>
                </a:cubicBezTo>
                <a:cubicBezTo>
                  <a:pt x="7874" y="27813"/>
                  <a:pt x="4572" y="18161"/>
                  <a:pt x="4572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65" name="object 265"/>
          <p:cNvSpPr/>
          <p:nvPr/>
        </p:nvSpPr>
        <p:spPr>
          <a:xfrm>
            <a:off x="7432223" y="3605784"/>
            <a:ext cx="23875" cy="85216"/>
          </a:xfrm>
          <a:custGeom>
            <a:avLst/>
            <a:gdLst/>
            <a:ahLst/>
            <a:cxnLst/>
            <a:rect l="l" t="t" r="r" b="b"/>
            <a:pathLst>
              <a:path w="23875" h="85216">
                <a:moveTo>
                  <a:pt x="19304" y="80645"/>
                </a:moveTo>
                <a:lnTo>
                  <a:pt x="19304" y="28702"/>
                </a:lnTo>
                <a:lnTo>
                  <a:pt x="4572" y="28702"/>
                </a:lnTo>
                <a:lnTo>
                  <a:pt x="4572" y="4572"/>
                </a:lnTo>
                <a:lnTo>
                  <a:pt x="19304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66" name="object 266"/>
          <p:cNvSpPr/>
          <p:nvPr/>
        </p:nvSpPr>
        <p:spPr>
          <a:xfrm>
            <a:off x="6936359" y="3574034"/>
            <a:ext cx="677798" cy="99948"/>
          </a:xfrm>
          <a:custGeom>
            <a:avLst/>
            <a:gdLst/>
            <a:ahLst/>
            <a:cxnLst/>
            <a:rect l="l" t="t" r="r" b="b"/>
            <a:pathLst>
              <a:path w="677798" h="99948">
                <a:moveTo>
                  <a:pt x="515112" y="36322"/>
                </a:moveTo>
                <a:moveTo>
                  <a:pt x="673227" y="95377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67" name="object 267"/>
          <p:cNvSpPr/>
          <p:nvPr/>
        </p:nvSpPr>
        <p:spPr>
          <a:xfrm>
            <a:off x="6936362" y="3574034"/>
            <a:ext cx="78104" cy="104520"/>
          </a:xfrm>
          <a:custGeom>
            <a:avLst/>
            <a:gdLst/>
            <a:ahLst/>
            <a:cxnLst/>
            <a:rect l="l" t="t" r="r" b="b"/>
            <a:pathLst>
              <a:path w="78104" h="104520">
                <a:moveTo>
                  <a:pt x="4572" y="4572"/>
                </a:moveTo>
                <a:lnTo>
                  <a:pt x="40259" y="4572"/>
                </a:lnTo>
                <a:lnTo>
                  <a:pt x="40259" y="36322"/>
                </a:lnTo>
                <a:lnTo>
                  <a:pt x="73533" y="36322"/>
                </a:lnTo>
                <a:lnTo>
                  <a:pt x="73533" y="60452"/>
                </a:lnTo>
                <a:lnTo>
                  <a:pt x="40259" y="60452"/>
                </a:lnTo>
                <a:lnTo>
                  <a:pt x="40259" y="99949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68" name="object 268"/>
          <p:cNvSpPr/>
          <p:nvPr/>
        </p:nvSpPr>
        <p:spPr>
          <a:xfrm>
            <a:off x="6972046" y="3669411"/>
            <a:ext cx="39496" cy="34671"/>
          </a:xfrm>
          <a:custGeom>
            <a:avLst/>
            <a:gdLst/>
            <a:ahLst/>
            <a:cxnLst/>
            <a:rect l="l" t="t" r="r" b="b"/>
            <a:pathLst>
              <a:path w="39496" h="34671">
                <a:moveTo>
                  <a:pt x="4572" y="4572"/>
                </a:moveTo>
                <a:cubicBezTo>
                  <a:pt x="4572" y="8509"/>
                  <a:pt x="4572" y="11811"/>
                  <a:pt x="4698" y="14732"/>
                </a:cubicBezTo>
                <a:cubicBezTo>
                  <a:pt x="4698" y="17653"/>
                  <a:pt x="5207" y="20320"/>
                  <a:pt x="6222" y="22606"/>
                </a:cubicBezTo>
                <a:cubicBezTo>
                  <a:pt x="7111" y="24892"/>
                  <a:pt x="8763" y="26797"/>
                  <a:pt x="11176" y="28067"/>
                </a:cubicBezTo>
                <a:cubicBezTo>
                  <a:pt x="13461" y="29464"/>
                  <a:pt x="16891" y="30099"/>
                  <a:pt x="21335" y="30099"/>
                </a:cubicBezTo>
                <a:cubicBezTo>
                  <a:pt x="23241" y="30099"/>
                  <a:pt x="25654" y="29718"/>
                  <a:pt x="28575" y="28956"/>
                </a:cubicBezTo>
                <a:cubicBezTo>
                  <a:pt x="31622" y="28194"/>
                  <a:pt x="33655" y="27432"/>
                  <a:pt x="34925" y="26797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69" name="object 269"/>
          <p:cNvSpPr/>
          <p:nvPr/>
        </p:nvSpPr>
        <p:spPr>
          <a:xfrm>
            <a:off x="7002400" y="3691636"/>
            <a:ext cx="12065" cy="33528"/>
          </a:xfrm>
          <a:custGeom>
            <a:avLst/>
            <a:gdLst/>
            <a:ahLst/>
            <a:cxnLst/>
            <a:rect l="l" t="t" r="r" b="b"/>
            <a:pathLst>
              <a:path w="12065" h="33528">
                <a:moveTo>
                  <a:pt x="4572" y="4572"/>
                </a:moveTo>
                <a:lnTo>
                  <a:pt x="7493" y="4572"/>
                </a:lnTo>
                <a:lnTo>
                  <a:pt x="7493" y="28956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70" name="object 270"/>
          <p:cNvSpPr/>
          <p:nvPr/>
        </p:nvSpPr>
        <p:spPr>
          <a:xfrm>
            <a:off x="6936362" y="3681861"/>
            <a:ext cx="78104" cy="46355"/>
          </a:xfrm>
          <a:custGeom>
            <a:avLst/>
            <a:gdLst/>
            <a:ahLst/>
            <a:cxnLst/>
            <a:rect l="l" t="t" r="r" b="b"/>
            <a:pathLst>
              <a:path w="78104" h="46355">
                <a:moveTo>
                  <a:pt x="73533" y="38735"/>
                </a:moveTo>
                <a:cubicBezTo>
                  <a:pt x="69722" y="39624"/>
                  <a:pt x="65659" y="40386"/>
                  <a:pt x="61341" y="41021"/>
                </a:cubicBezTo>
                <a:cubicBezTo>
                  <a:pt x="57022" y="41529"/>
                  <a:pt x="51816" y="41783"/>
                  <a:pt x="45593" y="41783"/>
                </a:cubicBezTo>
                <a:cubicBezTo>
                  <a:pt x="31750" y="41783"/>
                  <a:pt x="21463" y="38989"/>
                  <a:pt x="14732" y="33401"/>
                </a:cubicBezTo>
                <a:cubicBezTo>
                  <a:pt x="7873" y="27813"/>
                  <a:pt x="4572" y="18161"/>
                  <a:pt x="4572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71" name="object 271"/>
          <p:cNvSpPr/>
          <p:nvPr/>
        </p:nvSpPr>
        <p:spPr>
          <a:xfrm>
            <a:off x="6921627" y="3605784"/>
            <a:ext cx="23876" cy="85216"/>
          </a:xfrm>
          <a:custGeom>
            <a:avLst/>
            <a:gdLst/>
            <a:ahLst/>
            <a:cxnLst/>
            <a:rect l="l" t="t" r="r" b="b"/>
            <a:pathLst>
              <a:path w="23876" h="85216">
                <a:moveTo>
                  <a:pt x="19304" y="80645"/>
                </a:moveTo>
                <a:lnTo>
                  <a:pt x="19304" y="28702"/>
                </a:lnTo>
                <a:lnTo>
                  <a:pt x="4572" y="28702"/>
                </a:lnTo>
                <a:lnTo>
                  <a:pt x="4572" y="4572"/>
                </a:lnTo>
                <a:lnTo>
                  <a:pt x="19304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72" name="object 272"/>
          <p:cNvSpPr/>
          <p:nvPr/>
        </p:nvSpPr>
        <p:spPr>
          <a:xfrm>
            <a:off x="6843395" y="3574034"/>
            <a:ext cx="770762" cy="99948"/>
          </a:xfrm>
          <a:custGeom>
            <a:avLst/>
            <a:gdLst/>
            <a:ahLst/>
            <a:cxnLst/>
            <a:rect l="l" t="t" r="r" b="b"/>
            <a:pathLst>
              <a:path w="770762" h="99948">
                <a:moveTo>
                  <a:pt x="97536" y="36322"/>
                </a:moveTo>
                <a:moveTo>
                  <a:pt x="766191" y="95377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73" name="object 273"/>
          <p:cNvSpPr/>
          <p:nvPr/>
        </p:nvSpPr>
        <p:spPr>
          <a:xfrm>
            <a:off x="6843398" y="3574034"/>
            <a:ext cx="78104" cy="104520"/>
          </a:xfrm>
          <a:custGeom>
            <a:avLst/>
            <a:gdLst/>
            <a:ahLst/>
            <a:cxnLst/>
            <a:rect l="l" t="t" r="r" b="b"/>
            <a:pathLst>
              <a:path w="78104" h="104520">
                <a:moveTo>
                  <a:pt x="4572" y="4572"/>
                </a:moveTo>
                <a:lnTo>
                  <a:pt x="40259" y="4572"/>
                </a:lnTo>
                <a:lnTo>
                  <a:pt x="40259" y="36322"/>
                </a:lnTo>
                <a:lnTo>
                  <a:pt x="73533" y="36322"/>
                </a:lnTo>
                <a:lnTo>
                  <a:pt x="73533" y="60452"/>
                </a:lnTo>
                <a:lnTo>
                  <a:pt x="40259" y="60452"/>
                </a:lnTo>
                <a:lnTo>
                  <a:pt x="40259" y="99949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74" name="object 274"/>
          <p:cNvSpPr/>
          <p:nvPr/>
        </p:nvSpPr>
        <p:spPr>
          <a:xfrm>
            <a:off x="6879082" y="3669411"/>
            <a:ext cx="39496" cy="34671"/>
          </a:xfrm>
          <a:custGeom>
            <a:avLst/>
            <a:gdLst/>
            <a:ahLst/>
            <a:cxnLst/>
            <a:rect l="l" t="t" r="r" b="b"/>
            <a:pathLst>
              <a:path w="39496" h="34671">
                <a:moveTo>
                  <a:pt x="4572" y="4572"/>
                </a:moveTo>
                <a:cubicBezTo>
                  <a:pt x="4572" y="8509"/>
                  <a:pt x="4572" y="11811"/>
                  <a:pt x="4699" y="14732"/>
                </a:cubicBezTo>
                <a:cubicBezTo>
                  <a:pt x="4699" y="17653"/>
                  <a:pt x="5207" y="20320"/>
                  <a:pt x="6223" y="22606"/>
                </a:cubicBezTo>
                <a:cubicBezTo>
                  <a:pt x="7111" y="24892"/>
                  <a:pt x="8762" y="26797"/>
                  <a:pt x="11175" y="28067"/>
                </a:cubicBezTo>
                <a:cubicBezTo>
                  <a:pt x="13461" y="29464"/>
                  <a:pt x="16891" y="30099"/>
                  <a:pt x="21336" y="30099"/>
                </a:cubicBezTo>
                <a:cubicBezTo>
                  <a:pt x="23241" y="30099"/>
                  <a:pt x="25654" y="29718"/>
                  <a:pt x="28574" y="28956"/>
                </a:cubicBezTo>
                <a:cubicBezTo>
                  <a:pt x="31623" y="28194"/>
                  <a:pt x="33655" y="27432"/>
                  <a:pt x="34924" y="26797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75" name="object 275"/>
          <p:cNvSpPr/>
          <p:nvPr/>
        </p:nvSpPr>
        <p:spPr>
          <a:xfrm>
            <a:off x="6909436" y="3691636"/>
            <a:ext cx="12065" cy="33528"/>
          </a:xfrm>
          <a:custGeom>
            <a:avLst/>
            <a:gdLst/>
            <a:ahLst/>
            <a:cxnLst/>
            <a:rect l="l" t="t" r="r" b="b"/>
            <a:pathLst>
              <a:path w="12065" h="33528">
                <a:moveTo>
                  <a:pt x="4571" y="4572"/>
                </a:moveTo>
                <a:lnTo>
                  <a:pt x="7493" y="4572"/>
                </a:lnTo>
                <a:lnTo>
                  <a:pt x="7493" y="28956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76" name="object 276"/>
          <p:cNvSpPr/>
          <p:nvPr/>
        </p:nvSpPr>
        <p:spPr>
          <a:xfrm>
            <a:off x="6843398" y="3681861"/>
            <a:ext cx="78104" cy="46355"/>
          </a:xfrm>
          <a:custGeom>
            <a:avLst/>
            <a:gdLst/>
            <a:ahLst/>
            <a:cxnLst/>
            <a:rect l="l" t="t" r="r" b="b"/>
            <a:pathLst>
              <a:path w="78104" h="46355">
                <a:moveTo>
                  <a:pt x="73533" y="38735"/>
                </a:moveTo>
                <a:cubicBezTo>
                  <a:pt x="69723" y="39624"/>
                  <a:pt x="65659" y="40386"/>
                  <a:pt x="61341" y="41021"/>
                </a:cubicBezTo>
                <a:cubicBezTo>
                  <a:pt x="57023" y="41529"/>
                  <a:pt x="51816" y="41783"/>
                  <a:pt x="45593" y="41783"/>
                </a:cubicBezTo>
                <a:cubicBezTo>
                  <a:pt x="31749" y="41783"/>
                  <a:pt x="21462" y="38989"/>
                  <a:pt x="14732" y="33401"/>
                </a:cubicBezTo>
                <a:cubicBezTo>
                  <a:pt x="7873" y="27813"/>
                  <a:pt x="4572" y="18161"/>
                  <a:pt x="4572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77" name="object 277"/>
          <p:cNvSpPr/>
          <p:nvPr/>
        </p:nvSpPr>
        <p:spPr>
          <a:xfrm>
            <a:off x="6828663" y="3605784"/>
            <a:ext cx="23876" cy="85216"/>
          </a:xfrm>
          <a:custGeom>
            <a:avLst/>
            <a:gdLst/>
            <a:ahLst/>
            <a:cxnLst/>
            <a:rect l="l" t="t" r="r" b="b"/>
            <a:pathLst>
              <a:path w="23876" h="85216">
                <a:moveTo>
                  <a:pt x="19304" y="80645"/>
                </a:moveTo>
                <a:lnTo>
                  <a:pt x="19304" y="28702"/>
                </a:lnTo>
                <a:lnTo>
                  <a:pt x="4572" y="28702"/>
                </a:lnTo>
                <a:lnTo>
                  <a:pt x="4572" y="4572"/>
                </a:lnTo>
                <a:lnTo>
                  <a:pt x="19304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78" name="object 278"/>
          <p:cNvSpPr/>
          <p:nvPr/>
        </p:nvSpPr>
        <p:spPr>
          <a:xfrm>
            <a:off x="6843395" y="3569589"/>
            <a:ext cx="770762" cy="104394"/>
          </a:xfrm>
          <a:custGeom>
            <a:avLst/>
            <a:gdLst/>
            <a:ahLst/>
            <a:cxnLst/>
            <a:rect l="l" t="t" r="r" b="b"/>
            <a:pathLst>
              <a:path w="770762" h="104394">
                <a:moveTo>
                  <a:pt x="4572" y="40767"/>
                </a:moveTo>
                <a:moveTo>
                  <a:pt x="766191" y="99822"/>
                </a:moveTo>
                <a:moveTo>
                  <a:pt x="490093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79" name="object 279"/>
          <p:cNvSpPr/>
          <p:nvPr/>
        </p:nvSpPr>
        <p:spPr>
          <a:xfrm>
            <a:off x="7328921" y="3569593"/>
            <a:ext cx="71247" cy="9143"/>
          </a:xfrm>
          <a:custGeom>
            <a:avLst/>
            <a:gdLst/>
            <a:ahLst/>
            <a:cxnLst/>
            <a:rect l="l" t="t" r="r" b="b"/>
            <a:pathLst>
              <a:path w="71247" h="9143">
                <a:moveTo>
                  <a:pt x="4572" y="4572"/>
                </a:moveTo>
                <a:lnTo>
                  <a:pt x="66675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80" name="object 280"/>
          <p:cNvSpPr/>
          <p:nvPr/>
        </p:nvSpPr>
        <p:spPr>
          <a:xfrm>
            <a:off x="7391075" y="3569589"/>
            <a:ext cx="9143" cy="35305"/>
          </a:xfrm>
          <a:custGeom>
            <a:avLst/>
            <a:gdLst/>
            <a:ahLst/>
            <a:cxnLst/>
            <a:rect l="l" t="t" r="r" b="b"/>
            <a:pathLst>
              <a:path w="9143" h="35305">
                <a:moveTo>
                  <a:pt x="4572" y="4572"/>
                </a:moveTo>
                <a:lnTo>
                  <a:pt x="4572" y="30734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81" name="object 281"/>
          <p:cNvSpPr/>
          <p:nvPr/>
        </p:nvSpPr>
        <p:spPr>
          <a:xfrm>
            <a:off x="7391075" y="3569589"/>
            <a:ext cx="9143" cy="35305"/>
          </a:xfrm>
          <a:custGeom>
            <a:avLst/>
            <a:gdLst/>
            <a:ahLst/>
            <a:cxnLst/>
            <a:rect l="l" t="t" r="r" b="b"/>
            <a:pathLst>
              <a:path w="9143" h="35305">
                <a:moveTo>
                  <a:pt x="4572" y="4572"/>
                </a:moveTo>
                <a:lnTo>
                  <a:pt x="4572" y="30734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82" name="object 282"/>
          <p:cNvSpPr/>
          <p:nvPr/>
        </p:nvSpPr>
        <p:spPr>
          <a:xfrm>
            <a:off x="7328916" y="3569589"/>
            <a:ext cx="95376" cy="156464"/>
          </a:xfrm>
          <a:custGeom>
            <a:avLst/>
            <a:gdLst/>
            <a:ahLst/>
            <a:cxnLst/>
            <a:rect l="l" t="t" r="r" b="b"/>
            <a:pathLst>
              <a:path w="95376" h="156464">
                <a:moveTo>
                  <a:pt x="4572" y="4572"/>
                </a:moveTo>
                <a:lnTo>
                  <a:pt x="90805" y="4572"/>
                </a:lnTo>
                <a:lnTo>
                  <a:pt x="90805" y="30734"/>
                </a:lnTo>
                <a:lnTo>
                  <a:pt x="66675" y="30734"/>
                </a:lnTo>
                <a:lnTo>
                  <a:pt x="66675" y="125857"/>
                </a:lnTo>
                <a:lnTo>
                  <a:pt x="90805" y="125857"/>
                </a:lnTo>
                <a:lnTo>
                  <a:pt x="90805" y="151892"/>
                </a:lnTo>
                <a:lnTo>
                  <a:pt x="4572" y="151892"/>
                </a:lnTo>
                <a:lnTo>
                  <a:pt x="4572" y="125857"/>
                </a:lnTo>
                <a:lnTo>
                  <a:pt x="28702" y="125857"/>
                </a:lnTo>
                <a:lnTo>
                  <a:pt x="28702" y="30734"/>
                </a:lnTo>
                <a:lnTo>
                  <a:pt x="4572" y="30734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83" name="object 283"/>
          <p:cNvSpPr/>
          <p:nvPr/>
        </p:nvSpPr>
        <p:spPr>
          <a:xfrm>
            <a:off x="6544568" y="3569589"/>
            <a:ext cx="1069593" cy="104394"/>
          </a:xfrm>
          <a:custGeom>
            <a:avLst/>
            <a:gdLst/>
            <a:ahLst/>
            <a:cxnLst/>
            <a:rect l="l" t="t" r="r" b="b"/>
            <a:pathLst>
              <a:path w="1069593" h="104394">
                <a:moveTo>
                  <a:pt x="788924" y="30734"/>
                </a:moveTo>
                <a:moveTo>
                  <a:pt x="1065022" y="99822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84" name="object 284"/>
          <p:cNvSpPr/>
          <p:nvPr/>
        </p:nvSpPr>
        <p:spPr>
          <a:xfrm>
            <a:off x="6544593" y="3569593"/>
            <a:ext cx="66293" cy="9143"/>
          </a:xfrm>
          <a:custGeom>
            <a:avLst/>
            <a:gdLst/>
            <a:ahLst/>
            <a:cxnLst/>
            <a:rect l="l" t="t" r="r" b="b"/>
            <a:pathLst>
              <a:path w="66293" h="9143">
                <a:moveTo>
                  <a:pt x="4572" y="4572"/>
                </a:moveTo>
                <a:lnTo>
                  <a:pt x="6172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85" name="object 285"/>
          <p:cNvSpPr/>
          <p:nvPr/>
        </p:nvSpPr>
        <p:spPr>
          <a:xfrm>
            <a:off x="6601714" y="3569589"/>
            <a:ext cx="68326" cy="74930"/>
          </a:xfrm>
          <a:custGeom>
            <a:avLst/>
            <a:gdLst/>
            <a:ahLst/>
            <a:cxnLst/>
            <a:rect l="l" t="t" r="r" b="b"/>
            <a:pathLst>
              <a:path w="68326" h="74930">
                <a:moveTo>
                  <a:pt x="4572" y="4572"/>
                </a:moveTo>
                <a:cubicBezTo>
                  <a:pt x="16510" y="4572"/>
                  <a:pt x="25146" y="4953"/>
                  <a:pt x="30734" y="5714"/>
                </a:cubicBezTo>
                <a:cubicBezTo>
                  <a:pt x="36195" y="6476"/>
                  <a:pt x="41655" y="8255"/>
                  <a:pt x="47117" y="11049"/>
                </a:cubicBezTo>
                <a:cubicBezTo>
                  <a:pt x="52704" y="13843"/>
                  <a:pt x="56896" y="17653"/>
                  <a:pt x="59563" y="22479"/>
                </a:cubicBezTo>
                <a:cubicBezTo>
                  <a:pt x="62357" y="27178"/>
                  <a:pt x="63754" y="32639"/>
                  <a:pt x="63754" y="38862"/>
                </a:cubicBezTo>
                <a:cubicBezTo>
                  <a:pt x="63754" y="45974"/>
                  <a:pt x="61849" y="52197"/>
                  <a:pt x="58039" y="57658"/>
                </a:cubicBezTo>
                <a:cubicBezTo>
                  <a:pt x="54355" y="63119"/>
                  <a:pt x="49022" y="67310"/>
                  <a:pt x="42164" y="70358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86" name="object 286"/>
          <p:cNvSpPr/>
          <p:nvPr/>
        </p:nvSpPr>
        <p:spPr>
          <a:xfrm>
            <a:off x="6639362" y="3635375"/>
            <a:ext cx="9143" cy="9906"/>
          </a:xfrm>
          <a:custGeom>
            <a:avLst/>
            <a:gdLst/>
            <a:ahLst/>
            <a:cxnLst/>
            <a:rect l="l" t="t" r="r" b="b"/>
            <a:pathLst>
              <a:path w="9143" h="9906">
                <a:moveTo>
                  <a:pt x="4572" y="4572"/>
                </a:moveTo>
                <a:lnTo>
                  <a:pt x="4572" y="5334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87" name="object 287"/>
          <p:cNvSpPr/>
          <p:nvPr/>
        </p:nvSpPr>
        <p:spPr>
          <a:xfrm>
            <a:off x="6608826" y="3636137"/>
            <a:ext cx="70992" cy="89916"/>
          </a:xfrm>
          <a:custGeom>
            <a:avLst/>
            <a:gdLst/>
            <a:ahLst/>
            <a:cxnLst/>
            <a:rect l="l" t="t" r="r" b="b"/>
            <a:pathLst>
              <a:path w="70992" h="89916">
                <a:moveTo>
                  <a:pt x="35052" y="4572"/>
                </a:moveTo>
                <a:cubicBezTo>
                  <a:pt x="44704" y="6477"/>
                  <a:pt x="52324" y="10541"/>
                  <a:pt x="57912" y="16510"/>
                </a:cubicBezTo>
                <a:cubicBezTo>
                  <a:pt x="63627" y="22479"/>
                  <a:pt x="66421" y="30353"/>
                  <a:pt x="66421" y="40259"/>
                </a:cubicBezTo>
                <a:cubicBezTo>
                  <a:pt x="66421" y="47371"/>
                  <a:pt x="64897" y="53721"/>
                  <a:pt x="62103" y="59309"/>
                </a:cubicBezTo>
                <a:cubicBezTo>
                  <a:pt x="59181" y="64897"/>
                  <a:pt x="55245" y="69596"/>
                  <a:pt x="50292" y="73279"/>
                </a:cubicBezTo>
                <a:cubicBezTo>
                  <a:pt x="44450" y="77597"/>
                  <a:pt x="38100" y="80772"/>
                  <a:pt x="31115" y="82550"/>
                </a:cubicBezTo>
                <a:cubicBezTo>
                  <a:pt x="24130" y="84455"/>
                  <a:pt x="15367" y="85344"/>
                  <a:pt x="4572" y="85344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88" name="object 288"/>
          <p:cNvSpPr/>
          <p:nvPr/>
        </p:nvSpPr>
        <p:spPr>
          <a:xfrm>
            <a:off x="6544566" y="3716909"/>
            <a:ext cx="73405" cy="9144"/>
          </a:xfrm>
          <a:custGeom>
            <a:avLst/>
            <a:gdLst/>
            <a:ahLst/>
            <a:cxnLst/>
            <a:rect l="l" t="t" r="r" b="b"/>
            <a:pathLst>
              <a:path w="73405" h="9144">
                <a:moveTo>
                  <a:pt x="68834" y="4572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89" name="object 289"/>
          <p:cNvSpPr/>
          <p:nvPr/>
        </p:nvSpPr>
        <p:spPr>
          <a:xfrm>
            <a:off x="6544564" y="3562992"/>
            <a:ext cx="1137920" cy="163067"/>
          </a:xfrm>
          <a:custGeom>
            <a:avLst/>
            <a:gdLst/>
            <a:ahLst/>
            <a:cxnLst/>
            <a:rect l="l" t="t" r="r" b="b"/>
            <a:pathLst>
              <a:path w="1137920" h="163067">
                <a:moveTo>
                  <a:pt x="4572" y="158496"/>
                </a:moveTo>
                <a:moveTo>
                  <a:pt x="1065022" y="106426"/>
                </a:moveTo>
                <a:moveTo>
                  <a:pt x="1133348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90" name="object 290"/>
          <p:cNvSpPr/>
          <p:nvPr/>
        </p:nvSpPr>
        <p:spPr>
          <a:xfrm>
            <a:off x="7673343" y="3562992"/>
            <a:ext cx="44958" cy="163067"/>
          </a:xfrm>
          <a:custGeom>
            <a:avLst/>
            <a:gdLst/>
            <a:ahLst/>
            <a:cxnLst/>
            <a:rect l="l" t="t" r="r" b="b"/>
            <a:pathLst>
              <a:path w="44958" h="163067">
                <a:moveTo>
                  <a:pt x="4572" y="4572"/>
                </a:moveTo>
                <a:lnTo>
                  <a:pt x="40386" y="4572"/>
                </a:lnTo>
                <a:lnTo>
                  <a:pt x="40386" y="158496"/>
                </a:lnTo>
                <a:lnTo>
                  <a:pt x="4572" y="158496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91" name="object 291"/>
          <p:cNvSpPr/>
          <p:nvPr/>
        </p:nvSpPr>
        <p:spPr>
          <a:xfrm>
            <a:off x="7605014" y="3664839"/>
            <a:ext cx="77470" cy="61214"/>
          </a:xfrm>
          <a:custGeom>
            <a:avLst/>
            <a:gdLst/>
            <a:ahLst/>
            <a:cxnLst/>
            <a:rect l="l" t="t" r="r" b="b"/>
            <a:pathLst>
              <a:path w="77470" h="61214">
                <a:moveTo>
                  <a:pt x="72898" y="56642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92" name="object 292"/>
          <p:cNvSpPr/>
          <p:nvPr/>
        </p:nvSpPr>
        <p:spPr>
          <a:xfrm>
            <a:off x="4618898" y="3250031"/>
            <a:ext cx="1119403" cy="461670"/>
          </a:xfrm>
          <a:custGeom>
            <a:avLst/>
            <a:gdLst/>
            <a:ahLst/>
            <a:cxnLst/>
            <a:rect l="l" t="t" r="r" b="b"/>
            <a:pathLst>
              <a:path w="1119403" h="461670">
                <a:moveTo>
                  <a:pt x="0" y="0"/>
                </a:moveTo>
                <a:lnTo>
                  <a:pt x="0" y="461671"/>
                </a:lnTo>
                <a:lnTo>
                  <a:pt x="1119403" y="461671"/>
                </a:lnTo>
                <a:lnTo>
                  <a:pt x="1119403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93" name="object 293"/>
          <p:cNvSpPr/>
          <p:nvPr/>
        </p:nvSpPr>
        <p:spPr>
          <a:xfrm>
            <a:off x="4614106" y="3245269"/>
            <a:ext cx="1128928" cy="471195"/>
          </a:xfrm>
          <a:custGeom>
            <a:avLst/>
            <a:gdLst/>
            <a:ahLst/>
            <a:cxnLst/>
            <a:rect l="l" t="t" r="r" b="b"/>
            <a:pathLst>
              <a:path w="1128928" h="471195">
                <a:moveTo>
                  <a:pt x="4763" y="4762"/>
                </a:moveTo>
                <a:lnTo>
                  <a:pt x="4763" y="466433"/>
                </a:lnTo>
                <a:lnTo>
                  <a:pt x="1124166" y="466433"/>
                </a:lnTo>
                <a:lnTo>
                  <a:pt x="1124166" y="4762"/>
                </a:lnTo>
                <a:lnTo>
                  <a:pt x="4763" y="4762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94" name="object 294"/>
          <p:cNvSpPr/>
          <p:nvPr/>
        </p:nvSpPr>
        <p:spPr>
          <a:xfrm>
            <a:off x="4840097" y="3368675"/>
            <a:ext cx="685292" cy="210058"/>
          </a:xfrm>
          <a:custGeom>
            <a:avLst/>
            <a:gdLst/>
            <a:ahLst/>
            <a:cxnLst/>
            <a:rect l="l" t="t" r="r" b="b"/>
            <a:pathLst>
              <a:path w="685292" h="210058">
                <a:moveTo>
                  <a:pt x="136652" y="136906"/>
                </a:moveTo>
                <a:cubicBezTo>
                  <a:pt x="139954" y="136778"/>
                  <a:pt x="142494" y="138049"/>
                  <a:pt x="144399" y="140589"/>
                </a:cubicBezTo>
                <a:cubicBezTo>
                  <a:pt x="146431" y="143128"/>
                  <a:pt x="147320" y="146177"/>
                  <a:pt x="147320" y="149733"/>
                </a:cubicBezTo>
                <a:cubicBezTo>
                  <a:pt x="147320" y="156845"/>
                  <a:pt x="145542" y="164719"/>
                  <a:pt x="141859" y="173355"/>
                </a:cubicBezTo>
                <a:cubicBezTo>
                  <a:pt x="138176" y="182118"/>
                  <a:pt x="133604" y="189103"/>
                  <a:pt x="128397" y="194437"/>
                </a:cubicBezTo>
                <a:cubicBezTo>
                  <a:pt x="123825" y="199136"/>
                  <a:pt x="118237" y="202819"/>
                  <a:pt x="111506" y="205740"/>
                </a:cubicBezTo>
                <a:cubicBezTo>
                  <a:pt x="104775" y="208661"/>
                  <a:pt x="98425" y="210058"/>
                  <a:pt x="92329" y="210058"/>
                </a:cubicBezTo>
                <a:cubicBezTo>
                  <a:pt x="85090" y="210058"/>
                  <a:pt x="77597" y="208915"/>
                  <a:pt x="69850" y="206628"/>
                </a:cubicBezTo>
                <a:lnTo>
                  <a:pt x="48768" y="200278"/>
                </a:lnTo>
                <a:cubicBezTo>
                  <a:pt x="39370" y="197612"/>
                  <a:pt x="33274" y="196215"/>
                  <a:pt x="30480" y="196215"/>
                </a:cubicBezTo>
                <a:cubicBezTo>
                  <a:pt x="26924" y="196215"/>
                  <a:pt x="23114" y="198120"/>
                  <a:pt x="18923" y="201676"/>
                </a:cubicBezTo>
                <a:cubicBezTo>
                  <a:pt x="15367" y="204724"/>
                  <a:pt x="12319" y="206248"/>
                  <a:pt x="10033" y="206248"/>
                </a:cubicBezTo>
                <a:cubicBezTo>
                  <a:pt x="6858" y="206248"/>
                  <a:pt x="4318" y="205232"/>
                  <a:pt x="2667" y="203073"/>
                </a:cubicBezTo>
                <a:cubicBezTo>
                  <a:pt x="889" y="201040"/>
                  <a:pt x="0" y="198246"/>
                  <a:pt x="0" y="194818"/>
                </a:cubicBezTo>
                <a:cubicBezTo>
                  <a:pt x="0" y="189103"/>
                  <a:pt x="1270" y="183388"/>
                  <a:pt x="3937" y="177546"/>
                </a:cubicBezTo>
                <a:cubicBezTo>
                  <a:pt x="6477" y="171831"/>
                  <a:pt x="10033" y="166751"/>
                  <a:pt x="14478" y="162306"/>
                </a:cubicBezTo>
                <a:cubicBezTo>
                  <a:pt x="24003" y="153034"/>
                  <a:pt x="36703" y="148463"/>
                  <a:pt x="52832" y="148463"/>
                </a:cubicBezTo>
                <a:cubicBezTo>
                  <a:pt x="59944" y="148463"/>
                  <a:pt x="69596" y="149606"/>
                  <a:pt x="82042" y="151892"/>
                </a:cubicBezTo>
                <a:cubicBezTo>
                  <a:pt x="99314" y="155194"/>
                  <a:pt x="110617" y="156845"/>
                  <a:pt x="115951" y="156845"/>
                </a:cubicBezTo>
                <a:cubicBezTo>
                  <a:pt x="119761" y="156845"/>
                  <a:pt x="122682" y="155828"/>
                  <a:pt x="124587" y="153796"/>
                </a:cubicBezTo>
                <a:cubicBezTo>
                  <a:pt x="124714" y="153543"/>
                  <a:pt x="125095" y="153034"/>
                  <a:pt x="125349" y="152146"/>
                </a:cubicBezTo>
                <a:cubicBezTo>
                  <a:pt x="125730" y="151257"/>
                  <a:pt x="126238" y="149478"/>
                  <a:pt x="126873" y="146558"/>
                </a:cubicBezTo>
                <a:cubicBezTo>
                  <a:pt x="128270" y="140462"/>
                  <a:pt x="131572" y="137159"/>
                  <a:pt x="136652" y="136906"/>
                </a:cubicBezTo>
                <a:close/>
                <a:moveTo>
                  <a:pt x="56896" y="381"/>
                </a:moveTo>
                <a:lnTo>
                  <a:pt x="56896" y="21209"/>
                </a:lnTo>
                <a:cubicBezTo>
                  <a:pt x="52959" y="22098"/>
                  <a:pt x="50419" y="22859"/>
                  <a:pt x="49403" y="23495"/>
                </a:cubicBezTo>
                <a:lnTo>
                  <a:pt x="48260" y="24130"/>
                </a:lnTo>
                <a:cubicBezTo>
                  <a:pt x="48006" y="24130"/>
                  <a:pt x="47879" y="24003"/>
                  <a:pt x="47879" y="23876"/>
                </a:cubicBezTo>
                <a:cubicBezTo>
                  <a:pt x="48006" y="24511"/>
                  <a:pt x="49022" y="25527"/>
                  <a:pt x="50800" y="26796"/>
                </a:cubicBezTo>
                <a:cubicBezTo>
                  <a:pt x="55372" y="29971"/>
                  <a:pt x="58801" y="33401"/>
                  <a:pt x="60960" y="37338"/>
                </a:cubicBezTo>
                <a:cubicBezTo>
                  <a:pt x="63119" y="41275"/>
                  <a:pt x="64135" y="45974"/>
                  <a:pt x="64135" y="51434"/>
                </a:cubicBezTo>
                <a:cubicBezTo>
                  <a:pt x="64135" y="59563"/>
                  <a:pt x="61087" y="66675"/>
                  <a:pt x="54864" y="72644"/>
                </a:cubicBezTo>
                <a:cubicBezTo>
                  <a:pt x="48768" y="78486"/>
                  <a:pt x="41402" y="81534"/>
                  <a:pt x="32893" y="81534"/>
                </a:cubicBezTo>
                <a:cubicBezTo>
                  <a:pt x="23749" y="81534"/>
                  <a:pt x="16256" y="78359"/>
                  <a:pt x="10033" y="72136"/>
                </a:cubicBezTo>
                <a:cubicBezTo>
                  <a:pt x="3937" y="65786"/>
                  <a:pt x="889" y="58039"/>
                  <a:pt x="889" y="48768"/>
                </a:cubicBezTo>
                <a:cubicBezTo>
                  <a:pt x="889" y="40132"/>
                  <a:pt x="3556" y="32131"/>
                  <a:pt x="8636" y="24892"/>
                </a:cubicBezTo>
                <a:cubicBezTo>
                  <a:pt x="13716" y="17526"/>
                  <a:pt x="20701" y="11684"/>
                  <a:pt x="29464" y="7493"/>
                </a:cubicBezTo>
                <a:cubicBezTo>
                  <a:pt x="34925" y="4826"/>
                  <a:pt x="44069" y="2540"/>
                  <a:pt x="56896" y="381"/>
                </a:cubicBezTo>
                <a:close/>
                <a:moveTo>
                  <a:pt x="607060" y="0"/>
                </a:moveTo>
                <a:cubicBezTo>
                  <a:pt x="619887" y="1396"/>
                  <a:pt x="630428" y="4445"/>
                  <a:pt x="638683" y="9144"/>
                </a:cubicBezTo>
                <a:cubicBezTo>
                  <a:pt x="647065" y="13843"/>
                  <a:pt x="654939" y="21209"/>
                  <a:pt x="662432" y="31115"/>
                </a:cubicBezTo>
                <a:cubicBezTo>
                  <a:pt x="669671" y="39751"/>
                  <a:pt x="675259" y="50419"/>
                  <a:pt x="679323" y="63246"/>
                </a:cubicBezTo>
                <a:cubicBezTo>
                  <a:pt x="683260" y="76073"/>
                  <a:pt x="685292" y="90043"/>
                  <a:pt x="685292" y="104902"/>
                </a:cubicBezTo>
                <a:cubicBezTo>
                  <a:pt x="685292" y="120015"/>
                  <a:pt x="683260" y="133984"/>
                  <a:pt x="679323" y="146812"/>
                </a:cubicBezTo>
                <a:cubicBezTo>
                  <a:pt x="675259" y="159639"/>
                  <a:pt x="669671" y="170307"/>
                  <a:pt x="662432" y="178815"/>
                </a:cubicBezTo>
                <a:cubicBezTo>
                  <a:pt x="654939" y="188849"/>
                  <a:pt x="647065" y="196215"/>
                  <a:pt x="638683" y="200914"/>
                </a:cubicBezTo>
                <a:cubicBezTo>
                  <a:pt x="630428" y="205740"/>
                  <a:pt x="619887" y="208661"/>
                  <a:pt x="607060" y="210058"/>
                </a:cubicBezTo>
                <a:lnTo>
                  <a:pt x="607060" y="189738"/>
                </a:lnTo>
                <a:cubicBezTo>
                  <a:pt x="610743" y="188595"/>
                  <a:pt x="613156" y="187706"/>
                  <a:pt x="613918" y="187198"/>
                </a:cubicBezTo>
                <a:cubicBezTo>
                  <a:pt x="614807" y="186690"/>
                  <a:pt x="616331" y="185546"/>
                  <a:pt x="618236" y="183769"/>
                </a:cubicBezTo>
                <a:cubicBezTo>
                  <a:pt x="619379" y="181483"/>
                  <a:pt x="620014" y="177292"/>
                  <a:pt x="620014" y="171196"/>
                </a:cubicBezTo>
                <a:lnTo>
                  <a:pt x="620014" y="38862"/>
                </a:lnTo>
                <a:cubicBezTo>
                  <a:pt x="620014" y="32765"/>
                  <a:pt x="618744" y="28194"/>
                  <a:pt x="616331" y="25146"/>
                </a:cubicBezTo>
                <a:cubicBezTo>
                  <a:pt x="615696" y="24130"/>
                  <a:pt x="614807" y="23495"/>
                  <a:pt x="613918" y="22987"/>
                </a:cubicBezTo>
                <a:cubicBezTo>
                  <a:pt x="613156" y="22352"/>
                  <a:pt x="610743" y="21590"/>
                  <a:pt x="607060" y="20320"/>
                </a:cubicBezTo>
                <a:close/>
                <a:moveTo>
                  <a:pt x="601853" y="0"/>
                </a:moveTo>
                <a:lnTo>
                  <a:pt x="601853" y="20320"/>
                </a:lnTo>
                <a:cubicBezTo>
                  <a:pt x="597916" y="21463"/>
                  <a:pt x="595630" y="22352"/>
                  <a:pt x="594741" y="22859"/>
                </a:cubicBezTo>
                <a:cubicBezTo>
                  <a:pt x="593852" y="23368"/>
                  <a:pt x="592455" y="24511"/>
                  <a:pt x="590423" y="26289"/>
                </a:cubicBezTo>
                <a:cubicBezTo>
                  <a:pt x="589407" y="28448"/>
                  <a:pt x="588899" y="32765"/>
                  <a:pt x="588899" y="38862"/>
                </a:cubicBezTo>
                <a:lnTo>
                  <a:pt x="588899" y="171196"/>
                </a:lnTo>
                <a:cubicBezTo>
                  <a:pt x="588899" y="177419"/>
                  <a:pt x="590042" y="181990"/>
                  <a:pt x="592328" y="185039"/>
                </a:cubicBezTo>
                <a:cubicBezTo>
                  <a:pt x="593090" y="185928"/>
                  <a:pt x="593852" y="186690"/>
                  <a:pt x="594741" y="187198"/>
                </a:cubicBezTo>
                <a:cubicBezTo>
                  <a:pt x="595630" y="187706"/>
                  <a:pt x="597916" y="188595"/>
                  <a:pt x="601853" y="189865"/>
                </a:cubicBezTo>
                <a:lnTo>
                  <a:pt x="601853" y="210058"/>
                </a:lnTo>
                <a:cubicBezTo>
                  <a:pt x="588899" y="208788"/>
                  <a:pt x="578231" y="205740"/>
                  <a:pt x="569976" y="201040"/>
                </a:cubicBezTo>
                <a:cubicBezTo>
                  <a:pt x="561721" y="196215"/>
                  <a:pt x="553847" y="188976"/>
                  <a:pt x="546354" y="179324"/>
                </a:cubicBezTo>
                <a:cubicBezTo>
                  <a:pt x="539115" y="170561"/>
                  <a:pt x="533400" y="159765"/>
                  <a:pt x="529463" y="146939"/>
                </a:cubicBezTo>
                <a:cubicBezTo>
                  <a:pt x="525526" y="134112"/>
                  <a:pt x="523494" y="120142"/>
                  <a:pt x="523494" y="104902"/>
                </a:cubicBezTo>
                <a:cubicBezTo>
                  <a:pt x="523494" y="89915"/>
                  <a:pt x="525526" y="75946"/>
                  <a:pt x="529463" y="63119"/>
                </a:cubicBezTo>
                <a:cubicBezTo>
                  <a:pt x="533400" y="50292"/>
                  <a:pt x="539115" y="39624"/>
                  <a:pt x="546354" y="30861"/>
                </a:cubicBezTo>
                <a:cubicBezTo>
                  <a:pt x="553847" y="21082"/>
                  <a:pt x="561721" y="13843"/>
                  <a:pt x="569976" y="9144"/>
                </a:cubicBezTo>
                <a:cubicBezTo>
                  <a:pt x="578231" y="4318"/>
                  <a:pt x="588899" y="1396"/>
                  <a:pt x="601853" y="0"/>
                </a:cubicBezTo>
                <a:close/>
                <a:moveTo>
                  <a:pt x="431800" y="0"/>
                </a:moveTo>
                <a:cubicBezTo>
                  <a:pt x="444627" y="1396"/>
                  <a:pt x="455168" y="4445"/>
                  <a:pt x="463423" y="9144"/>
                </a:cubicBezTo>
                <a:cubicBezTo>
                  <a:pt x="471805" y="13843"/>
                  <a:pt x="479679" y="21209"/>
                  <a:pt x="487172" y="31115"/>
                </a:cubicBezTo>
                <a:cubicBezTo>
                  <a:pt x="494411" y="39751"/>
                  <a:pt x="499999" y="50419"/>
                  <a:pt x="504063" y="63246"/>
                </a:cubicBezTo>
                <a:cubicBezTo>
                  <a:pt x="508000" y="76073"/>
                  <a:pt x="510032" y="90043"/>
                  <a:pt x="510032" y="104902"/>
                </a:cubicBezTo>
                <a:cubicBezTo>
                  <a:pt x="510032" y="120015"/>
                  <a:pt x="508000" y="133984"/>
                  <a:pt x="504063" y="146812"/>
                </a:cubicBezTo>
                <a:cubicBezTo>
                  <a:pt x="499999" y="159639"/>
                  <a:pt x="494411" y="170307"/>
                  <a:pt x="487172" y="178815"/>
                </a:cubicBezTo>
                <a:cubicBezTo>
                  <a:pt x="479679" y="188849"/>
                  <a:pt x="471805" y="196215"/>
                  <a:pt x="463423" y="200914"/>
                </a:cubicBezTo>
                <a:cubicBezTo>
                  <a:pt x="455168" y="205740"/>
                  <a:pt x="444627" y="208661"/>
                  <a:pt x="431800" y="210058"/>
                </a:cubicBezTo>
                <a:lnTo>
                  <a:pt x="431800" y="189738"/>
                </a:lnTo>
                <a:cubicBezTo>
                  <a:pt x="435483" y="188595"/>
                  <a:pt x="437896" y="187706"/>
                  <a:pt x="438658" y="187198"/>
                </a:cubicBezTo>
                <a:cubicBezTo>
                  <a:pt x="439547" y="186690"/>
                  <a:pt x="441071" y="185546"/>
                  <a:pt x="442976" y="183769"/>
                </a:cubicBezTo>
                <a:cubicBezTo>
                  <a:pt x="444119" y="181483"/>
                  <a:pt x="444754" y="177292"/>
                  <a:pt x="444754" y="171196"/>
                </a:cubicBezTo>
                <a:lnTo>
                  <a:pt x="444754" y="38862"/>
                </a:lnTo>
                <a:cubicBezTo>
                  <a:pt x="444754" y="32765"/>
                  <a:pt x="443484" y="28194"/>
                  <a:pt x="441071" y="25146"/>
                </a:cubicBezTo>
                <a:cubicBezTo>
                  <a:pt x="440436" y="24130"/>
                  <a:pt x="439547" y="23495"/>
                  <a:pt x="438658" y="22987"/>
                </a:cubicBezTo>
                <a:cubicBezTo>
                  <a:pt x="437896" y="22352"/>
                  <a:pt x="435483" y="21590"/>
                  <a:pt x="431800" y="20320"/>
                </a:cubicBezTo>
                <a:close/>
                <a:moveTo>
                  <a:pt x="426593" y="0"/>
                </a:moveTo>
                <a:lnTo>
                  <a:pt x="426593" y="20320"/>
                </a:lnTo>
                <a:cubicBezTo>
                  <a:pt x="422656" y="21463"/>
                  <a:pt x="420370" y="22352"/>
                  <a:pt x="419481" y="22859"/>
                </a:cubicBezTo>
                <a:cubicBezTo>
                  <a:pt x="418592" y="23368"/>
                  <a:pt x="417195" y="24511"/>
                  <a:pt x="415163" y="26289"/>
                </a:cubicBezTo>
                <a:cubicBezTo>
                  <a:pt x="414147" y="28448"/>
                  <a:pt x="413639" y="32765"/>
                  <a:pt x="413639" y="38862"/>
                </a:cubicBezTo>
                <a:lnTo>
                  <a:pt x="413639" y="171196"/>
                </a:lnTo>
                <a:cubicBezTo>
                  <a:pt x="413639" y="177419"/>
                  <a:pt x="414782" y="181990"/>
                  <a:pt x="417068" y="185039"/>
                </a:cubicBezTo>
                <a:cubicBezTo>
                  <a:pt x="417830" y="185928"/>
                  <a:pt x="418592" y="186690"/>
                  <a:pt x="419481" y="187198"/>
                </a:cubicBezTo>
                <a:cubicBezTo>
                  <a:pt x="420370" y="187706"/>
                  <a:pt x="422656" y="188595"/>
                  <a:pt x="426593" y="189865"/>
                </a:cubicBezTo>
                <a:lnTo>
                  <a:pt x="426593" y="210058"/>
                </a:lnTo>
                <a:cubicBezTo>
                  <a:pt x="413639" y="208788"/>
                  <a:pt x="402971" y="205740"/>
                  <a:pt x="394716" y="201040"/>
                </a:cubicBezTo>
                <a:cubicBezTo>
                  <a:pt x="386461" y="196215"/>
                  <a:pt x="378587" y="188976"/>
                  <a:pt x="371094" y="179324"/>
                </a:cubicBezTo>
                <a:cubicBezTo>
                  <a:pt x="363855" y="170561"/>
                  <a:pt x="358140" y="159765"/>
                  <a:pt x="354203" y="146939"/>
                </a:cubicBezTo>
                <a:cubicBezTo>
                  <a:pt x="350266" y="134112"/>
                  <a:pt x="348234" y="120142"/>
                  <a:pt x="348234" y="104902"/>
                </a:cubicBezTo>
                <a:cubicBezTo>
                  <a:pt x="348234" y="89915"/>
                  <a:pt x="350266" y="75946"/>
                  <a:pt x="354203" y="63119"/>
                </a:cubicBezTo>
                <a:cubicBezTo>
                  <a:pt x="358140" y="50292"/>
                  <a:pt x="363855" y="39624"/>
                  <a:pt x="371094" y="30861"/>
                </a:cubicBezTo>
                <a:cubicBezTo>
                  <a:pt x="378587" y="21082"/>
                  <a:pt x="386461" y="13843"/>
                  <a:pt x="394716" y="9144"/>
                </a:cubicBezTo>
                <a:cubicBezTo>
                  <a:pt x="402971" y="4318"/>
                  <a:pt x="413639" y="1396"/>
                  <a:pt x="426593" y="0"/>
                </a:cubicBezTo>
                <a:close/>
                <a:moveTo>
                  <a:pt x="255016" y="0"/>
                </a:moveTo>
                <a:cubicBezTo>
                  <a:pt x="267843" y="1396"/>
                  <a:pt x="278384" y="4445"/>
                  <a:pt x="286639" y="9144"/>
                </a:cubicBezTo>
                <a:cubicBezTo>
                  <a:pt x="295021" y="13843"/>
                  <a:pt x="302895" y="21209"/>
                  <a:pt x="310388" y="31115"/>
                </a:cubicBezTo>
                <a:cubicBezTo>
                  <a:pt x="317627" y="39751"/>
                  <a:pt x="323215" y="50419"/>
                  <a:pt x="327279" y="63246"/>
                </a:cubicBezTo>
                <a:cubicBezTo>
                  <a:pt x="331216" y="76073"/>
                  <a:pt x="333248" y="90043"/>
                  <a:pt x="333248" y="104902"/>
                </a:cubicBezTo>
                <a:cubicBezTo>
                  <a:pt x="333248" y="120015"/>
                  <a:pt x="331216" y="133984"/>
                  <a:pt x="327279" y="146812"/>
                </a:cubicBezTo>
                <a:cubicBezTo>
                  <a:pt x="323215" y="159639"/>
                  <a:pt x="317627" y="170307"/>
                  <a:pt x="310388" y="178815"/>
                </a:cubicBezTo>
                <a:cubicBezTo>
                  <a:pt x="302895" y="188849"/>
                  <a:pt x="295021" y="196215"/>
                  <a:pt x="286639" y="200914"/>
                </a:cubicBezTo>
                <a:cubicBezTo>
                  <a:pt x="278384" y="205740"/>
                  <a:pt x="267843" y="208661"/>
                  <a:pt x="255016" y="210058"/>
                </a:cubicBezTo>
                <a:lnTo>
                  <a:pt x="255016" y="189738"/>
                </a:lnTo>
                <a:cubicBezTo>
                  <a:pt x="258699" y="188595"/>
                  <a:pt x="261112" y="187706"/>
                  <a:pt x="261874" y="187198"/>
                </a:cubicBezTo>
                <a:cubicBezTo>
                  <a:pt x="262763" y="186690"/>
                  <a:pt x="264287" y="185546"/>
                  <a:pt x="266192" y="183769"/>
                </a:cubicBezTo>
                <a:cubicBezTo>
                  <a:pt x="267335" y="181483"/>
                  <a:pt x="267970" y="177292"/>
                  <a:pt x="267970" y="171196"/>
                </a:cubicBezTo>
                <a:lnTo>
                  <a:pt x="267970" y="38862"/>
                </a:lnTo>
                <a:cubicBezTo>
                  <a:pt x="267970" y="32765"/>
                  <a:pt x="266700" y="28194"/>
                  <a:pt x="264287" y="25146"/>
                </a:cubicBezTo>
                <a:cubicBezTo>
                  <a:pt x="263652" y="24130"/>
                  <a:pt x="262763" y="23495"/>
                  <a:pt x="261874" y="22987"/>
                </a:cubicBezTo>
                <a:cubicBezTo>
                  <a:pt x="261112" y="22352"/>
                  <a:pt x="258699" y="21590"/>
                  <a:pt x="255016" y="20320"/>
                </a:cubicBezTo>
                <a:close/>
                <a:moveTo>
                  <a:pt x="249809" y="0"/>
                </a:moveTo>
                <a:lnTo>
                  <a:pt x="249809" y="20320"/>
                </a:lnTo>
                <a:cubicBezTo>
                  <a:pt x="245872" y="21463"/>
                  <a:pt x="243586" y="22352"/>
                  <a:pt x="242697" y="22859"/>
                </a:cubicBezTo>
                <a:cubicBezTo>
                  <a:pt x="241808" y="23368"/>
                  <a:pt x="240411" y="24511"/>
                  <a:pt x="238379" y="26289"/>
                </a:cubicBezTo>
                <a:cubicBezTo>
                  <a:pt x="237363" y="28448"/>
                  <a:pt x="236855" y="32765"/>
                  <a:pt x="236855" y="38862"/>
                </a:cubicBezTo>
                <a:lnTo>
                  <a:pt x="236855" y="171196"/>
                </a:lnTo>
                <a:cubicBezTo>
                  <a:pt x="236855" y="177419"/>
                  <a:pt x="237998" y="181990"/>
                  <a:pt x="240284" y="185039"/>
                </a:cubicBezTo>
                <a:cubicBezTo>
                  <a:pt x="241046" y="185928"/>
                  <a:pt x="241808" y="186690"/>
                  <a:pt x="242697" y="187198"/>
                </a:cubicBezTo>
                <a:cubicBezTo>
                  <a:pt x="243586" y="187706"/>
                  <a:pt x="245872" y="188595"/>
                  <a:pt x="249809" y="189865"/>
                </a:cubicBezTo>
                <a:lnTo>
                  <a:pt x="249809" y="210058"/>
                </a:lnTo>
                <a:cubicBezTo>
                  <a:pt x="236855" y="208788"/>
                  <a:pt x="226187" y="205740"/>
                  <a:pt x="217932" y="201040"/>
                </a:cubicBezTo>
                <a:cubicBezTo>
                  <a:pt x="209677" y="196215"/>
                  <a:pt x="201803" y="188976"/>
                  <a:pt x="194310" y="179324"/>
                </a:cubicBezTo>
                <a:cubicBezTo>
                  <a:pt x="187071" y="170561"/>
                  <a:pt x="181356" y="159765"/>
                  <a:pt x="177419" y="146939"/>
                </a:cubicBezTo>
                <a:cubicBezTo>
                  <a:pt x="173482" y="134112"/>
                  <a:pt x="171450" y="120142"/>
                  <a:pt x="171450" y="104902"/>
                </a:cubicBezTo>
                <a:cubicBezTo>
                  <a:pt x="171450" y="89915"/>
                  <a:pt x="173482" y="75946"/>
                  <a:pt x="177419" y="63119"/>
                </a:cubicBezTo>
                <a:cubicBezTo>
                  <a:pt x="181356" y="50292"/>
                  <a:pt x="187071" y="39624"/>
                  <a:pt x="194310" y="30861"/>
                </a:cubicBezTo>
                <a:cubicBezTo>
                  <a:pt x="201803" y="21082"/>
                  <a:pt x="209677" y="13843"/>
                  <a:pt x="217932" y="9144"/>
                </a:cubicBezTo>
                <a:cubicBezTo>
                  <a:pt x="226187" y="4318"/>
                  <a:pt x="236855" y="1396"/>
                  <a:pt x="249809" y="0"/>
                </a:cubicBezTo>
                <a:close/>
                <a:moveTo>
                  <a:pt x="73787" y="0"/>
                </a:moveTo>
                <a:cubicBezTo>
                  <a:pt x="82169" y="0"/>
                  <a:pt x="91059" y="1651"/>
                  <a:pt x="100711" y="5207"/>
                </a:cubicBezTo>
                <a:cubicBezTo>
                  <a:pt x="110236" y="8636"/>
                  <a:pt x="118237" y="13589"/>
                  <a:pt x="124714" y="19812"/>
                </a:cubicBezTo>
                <a:cubicBezTo>
                  <a:pt x="135636" y="30480"/>
                  <a:pt x="141097" y="43815"/>
                  <a:pt x="141097" y="59817"/>
                </a:cubicBezTo>
                <a:cubicBezTo>
                  <a:pt x="141097" y="73533"/>
                  <a:pt x="137033" y="85852"/>
                  <a:pt x="128905" y="96520"/>
                </a:cubicBezTo>
                <a:cubicBezTo>
                  <a:pt x="120777" y="107188"/>
                  <a:pt x="109347" y="115443"/>
                  <a:pt x="94615" y="121412"/>
                </a:cubicBezTo>
                <a:lnTo>
                  <a:pt x="75565" y="129032"/>
                </a:lnTo>
                <a:cubicBezTo>
                  <a:pt x="70231" y="131190"/>
                  <a:pt x="62230" y="135128"/>
                  <a:pt x="51435" y="140843"/>
                </a:cubicBezTo>
                <a:lnTo>
                  <a:pt x="47498" y="143383"/>
                </a:lnTo>
                <a:cubicBezTo>
                  <a:pt x="43307" y="143383"/>
                  <a:pt x="39497" y="143890"/>
                  <a:pt x="36068" y="144780"/>
                </a:cubicBezTo>
                <a:cubicBezTo>
                  <a:pt x="32639" y="145796"/>
                  <a:pt x="26289" y="147828"/>
                  <a:pt x="16764" y="150749"/>
                </a:cubicBezTo>
                <a:cubicBezTo>
                  <a:pt x="20701" y="142875"/>
                  <a:pt x="24511" y="137159"/>
                  <a:pt x="28194" y="133603"/>
                </a:cubicBezTo>
                <a:cubicBezTo>
                  <a:pt x="31750" y="130175"/>
                  <a:pt x="37211" y="125603"/>
                  <a:pt x="44450" y="120015"/>
                </a:cubicBezTo>
                <a:cubicBezTo>
                  <a:pt x="53467" y="113030"/>
                  <a:pt x="59436" y="107950"/>
                  <a:pt x="62484" y="104902"/>
                </a:cubicBezTo>
                <a:cubicBezTo>
                  <a:pt x="65532" y="101853"/>
                  <a:pt x="68453" y="97917"/>
                  <a:pt x="71247" y="92964"/>
                </a:cubicBezTo>
                <a:cubicBezTo>
                  <a:pt x="72517" y="90043"/>
                  <a:pt x="73787" y="85852"/>
                  <a:pt x="74676" y="80137"/>
                </a:cubicBezTo>
                <a:cubicBezTo>
                  <a:pt x="75692" y="74421"/>
                  <a:pt x="76200" y="67309"/>
                  <a:pt x="76200" y="58801"/>
                </a:cubicBezTo>
                <a:cubicBezTo>
                  <a:pt x="76200" y="43815"/>
                  <a:pt x="74930" y="33782"/>
                  <a:pt x="72390" y="28702"/>
                </a:cubicBezTo>
                <a:cubicBezTo>
                  <a:pt x="71501" y="26924"/>
                  <a:pt x="70612" y="25527"/>
                  <a:pt x="69596" y="24511"/>
                </a:cubicBezTo>
                <a:cubicBezTo>
                  <a:pt x="68580" y="23495"/>
                  <a:pt x="66675" y="22225"/>
                  <a:pt x="63754" y="20701"/>
                </a:cubicBezTo>
                <a:lnTo>
                  <a:pt x="63754" y="12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95" name="object 295"/>
          <p:cNvSpPr/>
          <p:nvPr/>
        </p:nvSpPr>
        <p:spPr>
          <a:xfrm>
            <a:off x="4972177" y="3501012"/>
            <a:ext cx="9144" cy="9143"/>
          </a:xfrm>
          <a:custGeom>
            <a:avLst/>
            <a:gdLst/>
            <a:ahLst/>
            <a:cxnLst/>
            <a:rect l="l" t="t" r="r" b="b"/>
            <a:pathLst>
              <a:path w="9144" h="9143"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96" name="object 296"/>
          <p:cNvSpPr/>
          <p:nvPr/>
        </p:nvSpPr>
        <p:spPr>
          <a:xfrm>
            <a:off x="4835529" y="3500886"/>
            <a:ext cx="156463" cy="82423"/>
          </a:xfrm>
          <a:custGeom>
            <a:avLst/>
            <a:gdLst/>
            <a:ahLst/>
            <a:cxnLst/>
            <a:rect l="l" t="t" r="r" b="b"/>
            <a:pathLst>
              <a:path w="156463" h="82423">
                <a:moveTo>
                  <a:pt x="141224" y="4699"/>
                </a:moveTo>
                <a:cubicBezTo>
                  <a:pt x="144526" y="4571"/>
                  <a:pt x="147066" y="5842"/>
                  <a:pt x="148971" y="8382"/>
                </a:cubicBezTo>
                <a:cubicBezTo>
                  <a:pt x="151003" y="10921"/>
                  <a:pt x="151892" y="13970"/>
                  <a:pt x="151892" y="17526"/>
                </a:cubicBezTo>
                <a:cubicBezTo>
                  <a:pt x="151892" y="24638"/>
                  <a:pt x="150114" y="32512"/>
                  <a:pt x="146431" y="41148"/>
                </a:cubicBezTo>
                <a:cubicBezTo>
                  <a:pt x="142748" y="49911"/>
                  <a:pt x="138176" y="56896"/>
                  <a:pt x="132969" y="62230"/>
                </a:cubicBezTo>
                <a:cubicBezTo>
                  <a:pt x="128397" y="66929"/>
                  <a:pt x="122809" y="70612"/>
                  <a:pt x="116078" y="73533"/>
                </a:cubicBezTo>
                <a:cubicBezTo>
                  <a:pt x="109347" y="76454"/>
                  <a:pt x="102997" y="77851"/>
                  <a:pt x="96901" y="77851"/>
                </a:cubicBezTo>
                <a:cubicBezTo>
                  <a:pt x="89662" y="77851"/>
                  <a:pt x="82169" y="76708"/>
                  <a:pt x="74422" y="74421"/>
                </a:cubicBezTo>
                <a:lnTo>
                  <a:pt x="53340" y="68071"/>
                </a:lnTo>
                <a:cubicBezTo>
                  <a:pt x="43942" y="65405"/>
                  <a:pt x="37846" y="64008"/>
                  <a:pt x="35052" y="64008"/>
                </a:cubicBezTo>
                <a:cubicBezTo>
                  <a:pt x="31496" y="64008"/>
                  <a:pt x="27686" y="65913"/>
                  <a:pt x="23495" y="69469"/>
                </a:cubicBezTo>
                <a:cubicBezTo>
                  <a:pt x="19939" y="72517"/>
                  <a:pt x="16891" y="74041"/>
                  <a:pt x="14605" y="74041"/>
                </a:cubicBezTo>
                <a:cubicBezTo>
                  <a:pt x="11430" y="74041"/>
                  <a:pt x="8890" y="73025"/>
                  <a:pt x="7239" y="70866"/>
                </a:cubicBezTo>
                <a:cubicBezTo>
                  <a:pt x="5461" y="68833"/>
                  <a:pt x="4572" y="66039"/>
                  <a:pt x="4572" y="62611"/>
                </a:cubicBezTo>
                <a:cubicBezTo>
                  <a:pt x="4572" y="56896"/>
                  <a:pt x="5842" y="51181"/>
                  <a:pt x="8509" y="45339"/>
                </a:cubicBezTo>
                <a:cubicBezTo>
                  <a:pt x="11049" y="39624"/>
                  <a:pt x="14605" y="34544"/>
                  <a:pt x="19050" y="30099"/>
                </a:cubicBezTo>
                <a:cubicBezTo>
                  <a:pt x="28575" y="20827"/>
                  <a:pt x="41275" y="16256"/>
                  <a:pt x="57404" y="16256"/>
                </a:cubicBezTo>
                <a:cubicBezTo>
                  <a:pt x="64516" y="16256"/>
                  <a:pt x="74168" y="17399"/>
                  <a:pt x="86614" y="19685"/>
                </a:cubicBezTo>
                <a:cubicBezTo>
                  <a:pt x="103886" y="22987"/>
                  <a:pt x="115189" y="24638"/>
                  <a:pt x="120523" y="24638"/>
                </a:cubicBezTo>
                <a:cubicBezTo>
                  <a:pt x="124333" y="24638"/>
                  <a:pt x="127254" y="23621"/>
                  <a:pt x="129159" y="21589"/>
                </a:cubicBezTo>
                <a:cubicBezTo>
                  <a:pt x="129286" y="21336"/>
                  <a:pt x="129667" y="20827"/>
                  <a:pt x="129921" y="19939"/>
                </a:cubicBezTo>
                <a:cubicBezTo>
                  <a:pt x="130302" y="19050"/>
                  <a:pt x="130810" y="17271"/>
                  <a:pt x="131445" y="14351"/>
                </a:cubicBezTo>
                <a:cubicBezTo>
                  <a:pt x="132842" y="8255"/>
                  <a:pt x="136144" y="4952"/>
                  <a:pt x="141224" y="4699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97" name="object 297"/>
          <p:cNvSpPr/>
          <p:nvPr/>
        </p:nvSpPr>
        <p:spPr>
          <a:xfrm>
            <a:off x="4892421" y="3364484"/>
            <a:ext cx="88900" cy="145668"/>
          </a:xfrm>
          <a:custGeom>
            <a:avLst/>
            <a:gdLst/>
            <a:ahLst/>
            <a:cxnLst/>
            <a:rect l="l" t="t" r="r" b="b"/>
            <a:pathLst>
              <a:path w="88900" h="145668">
                <a:moveTo>
                  <a:pt x="84328" y="141097"/>
                </a:moveTo>
                <a:moveTo>
                  <a:pt x="84328" y="141097"/>
                </a:moveTo>
                <a:moveTo>
                  <a:pt x="4572" y="4572"/>
                </a:moveTo>
                <a:lnTo>
                  <a:pt x="4572" y="25400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98" name="object 298"/>
          <p:cNvSpPr/>
          <p:nvPr/>
        </p:nvSpPr>
        <p:spPr>
          <a:xfrm>
            <a:off x="4836470" y="3364103"/>
            <a:ext cx="693547" cy="219201"/>
          </a:xfrm>
          <a:custGeom>
            <a:avLst/>
            <a:gdLst/>
            <a:ahLst/>
            <a:cxnLst/>
            <a:rect l="l" t="t" r="r" b="b"/>
            <a:pathLst>
              <a:path w="693547" h="219201">
                <a:moveTo>
                  <a:pt x="60579" y="25781"/>
                </a:moveTo>
                <a:cubicBezTo>
                  <a:pt x="56642" y="26670"/>
                  <a:pt x="54102" y="27431"/>
                  <a:pt x="53086" y="28067"/>
                </a:cubicBezTo>
                <a:lnTo>
                  <a:pt x="51943" y="28702"/>
                </a:lnTo>
                <a:cubicBezTo>
                  <a:pt x="51689" y="28702"/>
                  <a:pt x="51562" y="28575"/>
                  <a:pt x="51562" y="28448"/>
                </a:cubicBezTo>
                <a:cubicBezTo>
                  <a:pt x="51689" y="29083"/>
                  <a:pt x="52705" y="30099"/>
                  <a:pt x="54483" y="31368"/>
                </a:cubicBezTo>
                <a:cubicBezTo>
                  <a:pt x="59055" y="34543"/>
                  <a:pt x="62484" y="37973"/>
                  <a:pt x="64643" y="41910"/>
                </a:cubicBezTo>
                <a:cubicBezTo>
                  <a:pt x="66802" y="45847"/>
                  <a:pt x="67818" y="50546"/>
                  <a:pt x="67818" y="56006"/>
                </a:cubicBezTo>
                <a:cubicBezTo>
                  <a:pt x="67818" y="64135"/>
                  <a:pt x="64770" y="71247"/>
                  <a:pt x="58547" y="77216"/>
                </a:cubicBezTo>
                <a:cubicBezTo>
                  <a:pt x="52451" y="83058"/>
                  <a:pt x="45085" y="86106"/>
                  <a:pt x="36576" y="86106"/>
                </a:cubicBezTo>
                <a:cubicBezTo>
                  <a:pt x="27432" y="86106"/>
                  <a:pt x="19939" y="82931"/>
                  <a:pt x="13716" y="76708"/>
                </a:cubicBezTo>
                <a:cubicBezTo>
                  <a:pt x="7620" y="70358"/>
                  <a:pt x="4572" y="62611"/>
                  <a:pt x="4572" y="53340"/>
                </a:cubicBezTo>
                <a:cubicBezTo>
                  <a:pt x="4572" y="44704"/>
                  <a:pt x="7239" y="36703"/>
                  <a:pt x="12319" y="29464"/>
                </a:cubicBezTo>
                <a:cubicBezTo>
                  <a:pt x="17399" y="22098"/>
                  <a:pt x="24384" y="16256"/>
                  <a:pt x="33147" y="12065"/>
                </a:cubicBezTo>
                <a:cubicBezTo>
                  <a:pt x="38608" y="9398"/>
                  <a:pt x="47752" y="7112"/>
                  <a:pt x="60579" y="4953"/>
                </a:cubicBezTo>
                <a:moveTo>
                  <a:pt x="140335" y="141478"/>
                </a:moveTo>
                <a:moveTo>
                  <a:pt x="610743" y="4572"/>
                </a:moveTo>
                <a:cubicBezTo>
                  <a:pt x="623570" y="5968"/>
                  <a:pt x="634111" y="9017"/>
                  <a:pt x="642366" y="13716"/>
                </a:cubicBezTo>
                <a:cubicBezTo>
                  <a:pt x="650748" y="18415"/>
                  <a:pt x="658622" y="25781"/>
                  <a:pt x="666115" y="35687"/>
                </a:cubicBezTo>
                <a:cubicBezTo>
                  <a:pt x="673354" y="44323"/>
                  <a:pt x="678942" y="54991"/>
                  <a:pt x="683006" y="67818"/>
                </a:cubicBezTo>
                <a:cubicBezTo>
                  <a:pt x="686943" y="80645"/>
                  <a:pt x="688975" y="94615"/>
                  <a:pt x="688975" y="109474"/>
                </a:cubicBezTo>
                <a:cubicBezTo>
                  <a:pt x="688975" y="124587"/>
                  <a:pt x="686943" y="138556"/>
                  <a:pt x="683006" y="151384"/>
                </a:cubicBezTo>
                <a:cubicBezTo>
                  <a:pt x="678942" y="164211"/>
                  <a:pt x="673354" y="174879"/>
                  <a:pt x="666115" y="183387"/>
                </a:cubicBezTo>
                <a:cubicBezTo>
                  <a:pt x="658622" y="193421"/>
                  <a:pt x="650748" y="200787"/>
                  <a:pt x="642366" y="205486"/>
                </a:cubicBezTo>
                <a:cubicBezTo>
                  <a:pt x="634111" y="210312"/>
                  <a:pt x="623570" y="213233"/>
                  <a:pt x="610743" y="214630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99" name="object 299"/>
          <p:cNvSpPr/>
          <p:nvPr/>
        </p:nvSpPr>
        <p:spPr>
          <a:xfrm>
            <a:off x="5442585" y="3553844"/>
            <a:ext cx="9144" cy="29463"/>
          </a:xfrm>
          <a:custGeom>
            <a:avLst/>
            <a:gdLst/>
            <a:ahLst/>
            <a:cxnLst/>
            <a:rect l="l" t="t" r="r" b="b"/>
            <a:pathLst>
              <a:path w="9144" h="29463">
                <a:moveTo>
                  <a:pt x="4572" y="24892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00" name="object 300"/>
          <p:cNvSpPr/>
          <p:nvPr/>
        </p:nvSpPr>
        <p:spPr>
          <a:xfrm>
            <a:off x="5442592" y="3535300"/>
            <a:ext cx="22097" cy="27685"/>
          </a:xfrm>
          <a:custGeom>
            <a:avLst/>
            <a:gdLst/>
            <a:ahLst/>
            <a:cxnLst/>
            <a:rect l="l" t="t" r="r" b="b"/>
            <a:pathLst>
              <a:path w="22097" h="27685">
                <a:moveTo>
                  <a:pt x="4572" y="23114"/>
                </a:moveTo>
                <a:cubicBezTo>
                  <a:pt x="8255" y="21971"/>
                  <a:pt x="10668" y="21082"/>
                  <a:pt x="11430" y="20574"/>
                </a:cubicBezTo>
                <a:cubicBezTo>
                  <a:pt x="12319" y="20066"/>
                  <a:pt x="13843" y="18922"/>
                  <a:pt x="15748" y="17145"/>
                </a:cubicBezTo>
                <a:cubicBezTo>
                  <a:pt x="16891" y="14859"/>
                  <a:pt x="17526" y="10668"/>
                  <a:pt x="17526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01" name="object 301"/>
          <p:cNvSpPr/>
          <p:nvPr/>
        </p:nvSpPr>
        <p:spPr>
          <a:xfrm>
            <a:off x="5455595" y="3402965"/>
            <a:ext cx="9143" cy="141477"/>
          </a:xfrm>
          <a:custGeom>
            <a:avLst/>
            <a:gdLst/>
            <a:ahLst/>
            <a:cxnLst/>
            <a:rect l="l" t="t" r="r" b="b"/>
            <a:pathLst>
              <a:path w="9143" h="141477">
                <a:moveTo>
                  <a:pt x="4572" y="136906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02" name="object 302"/>
          <p:cNvSpPr/>
          <p:nvPr/>
        </p:nvSpPr>
        <p:spPr>
          <a:xfrm>
            <a:off x="4972233" y="3364106"/>
            <a:ext cx="492505" cy="146049"/>
          </a:xfrm>
          <a:custGeom>
            <a:avLst/>
            <a:gdLst/>
            <a:ahLst/>
            <a:cxnLst/>
            <a:rect l="l" t="t" r="r" b="b"/>
            <a:pathLst>
              <a:path w="492505" h="146049">
                <a:moveTo>
                  <a:pt x="487934" y="43434"/>
                </a:moveTo>
                <a:cubicBezTo>
                  <a:pt x="487934" y="37337"/>
                  <a:pt x="486664" y="32766"/>
                  <a:pt x="484251" y="29718"/>
                </a:cubicBezTo>
                <a:cubicBezTo>
                  <a:pt x="483616" y="28702"/>
                  <a:pt x="482727" y="28067"/>
                  <a:pt x="481838" y="27559"/>
                </a:cubicBezTo>
                <a:cubicBezTo>
                  <a:pt x="481076" y="26924"/>
                  <a:pt x="478663" y="26162"/>
                  <a:pt x="474980" y="24892"/>
                </a:cubicBezTo>
                <a:moveTo>
                  <a:pt x="4572" y="141478"/>
                </a:moveTo>
                <a:moveTo>
                  <a:pt x="469773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03" name="object 303"/>
          <p:cNvSpPr/>
          <p:nvPr/>
        </p:nvSpPr>
        <p:spPr>
          <a:xfrm>
            <a:off x="5437378" y="3364215"/>
            <a:ext cx="9144" cy="29463"/>
          </a:xfrm>
          <a:custGeom>
            <a:avLst/>
            <a:gdLst/>
            <a:ahLst/>
            <a:cxnLst/>
            <a:rect l="l" t="t" r="r" b="b"/>
            <a:pathLst>
              <a:path w="9144" h="29463">
                <a:moveTo>
                  <a:pt x="4572" y="4572"/>
                </a:moveTo>
                <a:lnTo>
                  <a:pt x="4572" y="2489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04" name="object 304"/>
          <p:cNvSpPr/>
          <p:nvPr/>
        </p:nvSpPr>
        <p:spPr>
          <a:xfrm>
            <a:off x="5424424" y="3384535"/>
            <a:ext cx="22097" cy="27685"/>
          </a:xfrm>
          <a:custGeom>
            <a:avLst/>
            <a:gdLst/>
            <a:ahLst/>
            <a:cxnLst/>
            <a:rect l="l" t="t" r="r" b="b"/>
            <a:pathLst>
              <a:path w="22097" h="27685">
                <a:moveTo>
                  <a:pt x="17526" y="4572"/>
                </a:moveTo>
                <a:cubicBezTo>
                  <a:pt x="13589" y="5715"/>
                  <a:pt x="11303" y="6604"/>
                  <a:pt x="10414" y="7111"/>
                </a:cubicBezTo>
                <a:cubicBezTo>
                  <a:pt x="9525" y="7620"/>
                  <a:pt x="8128" y="8763"/>
                  <a:pt x="6096" y="10541"/>
                </a:cubicBezTo>
                <a:cubicBezTo>
                  <a:pt x="5080" y="12700"/>
                  <a:pt x="4572" y="17017"/>
                  <a:pt x="4572" y="23114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05" name="object 305"/>
          <p:cNvSpPr/>
          <p:nvPr/>
        </p:nvSpPr>
        <p:spPr>
          <a:xfrm>
            <a:off x="5424480" y="3402965"/>
            <a:ext cx="9143" cy="141477"/>
          </a:xfrm>
          <a:custGeom>
            <a:avLst/>
            <a:gdLst/>
            <a:ahLst/>
            <a:cxnLst/>
            <a:rect l="l" t="t" r="r" b="b"/>
            <a:pathLst>
              <a:path w="9143" h="141477">
                <a:moveTo>
                  <a:pt x="4572" y="4572"/>
                </a:moveTo>
                <a:lnTo>
                  <a:pt x="4572" y="136906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06" name="object 306"/>
          <p:cNvSpPr/>
          <p:nvPr/>
        </p:nvSpPr>
        <p:spPr>
          <a:xfrm>
            <a:off x="5424424" y="3535299"/>
            <a:ext cx="22097" cy="27812"/>
          </a:xfrm>
          <a:custGeom>
            <a:avLst/>
            <a:gdLst/>
            <a:ahLst/>
            <a:cxnLst/>
            <a:rect l="l" t="t" r="r" b="b"/>
            <a:pathLst>
              <a:path w="22097" h="27812">
                <a:moveTo>
                  <a:pt x="4572" y="4572"/>
                </a:moveTo>
                <a:cubicBezTo>
                  <a:pt x="4572" y="10795"/>
                  <a:pt x="5715" y="15366"/>
                  <a:pt x="8001" y="18415"/>
                </a:cubicBezTo>
                <a:cubicBezTo>
                  <a:pt x="8763" y="19304"/>
                  <a:pt x="9525" y="20066"/>
                  <a:pt x="10414" y="20574"/>
                </a:cubicBezTo>
                <a:cubicBezTo>
                  <a:pt x="11303" y="21082"/>
                  <a:pt x="13589" y="21971"/>
                  <a:pt x="17526" y="23241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07" name="object 307"/>
          <p:cNvSpPr/>
          <p:nvPr/>
        </p:nvSpPr>
        <p:spPr>
          <a:xfrm>
            <a:off x="5437378" y="3553968"/>
            <a:ext cx="9144" cy="29336"/>
          </a:xfrm>
          <a:custGeom>
            <a:avLst/>
            <a:gdLst/>
            <a:ahLst/>
            <a:cxnLst/>
            <a:rect l="l" t="t" r="r" b="b"/>
            <a:pathLst>
              <a:path w="9144" h="29336">
                <a:moveTo>
                  <a:pt x="4572" y="4572"/>
                </a:moveTo>
                <a:lnTo>
                  <a:pt x="4572" y="24765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08" name="object 308"/>
          <p:cNvSpPr/>
          <p:nvPr/>
        </p:nvSpPr>
        <p:spPr>
          <a:xfrm>
            <a:off x="4972184" y="3364103"/>
            <a:ext cx="474345" cy="219201"/>
          </a:xfrm>
          <a:custGeom>
            <a:avLst/>
            <a:gdLst/>
            <a:ahLst/>
            <a:cxnLst/>
            <a:rect l="l" t="t" r="r" b="b"/>
            <a:pathLst>
              <a:path w="474345" h="219201">
                <a:moveTo>
                  <a:pt x="469773" y="214630"/>
                </a:moveTo>
                <a:cubicBezTo>
                  <a:pt x="456819" y="213360"/>
                  <a:pt x="446151" y="210312"/>
                  <a:pt x="437896" y="205612"/>
                </a:cubicBezTo>
                <a:cubicBezTo>
                  <a:pt x="429641" y="200787"/>
                  <a:pt x="421767" y="193548"/>
                  <a:pt x="414274" y="183896"/>
                </a:cubicBezTo>
                <a:cubicBezTo>
                  <a:pt x="407035" y="175133"/>
                  <a:pt x="401320" y="164337"/>
                  <a:pt x="397383" y="151511"/>
                </a:cubicBezTo>
                <a:cubicBezTo>
                  <a:pt x="393446" y="138684"/>
                  <a:pt x="391414" y="124714"/>
                  <a:pt x="391414" y="109474"/>
                </a:cubicBezTo>
                <a:cubicBezTo>
                  <a:pt x="391414" y="94487"/>
                  <a:pt x="393446" y="80518"/>
                  <a:pt x="397383" y="67691"/>
                </a:cubicBezTo>
                <a:cubicBezTo>
                  <a:pt x="401320" y="54864"/>
                  <a:pt x="407035" y="44196"/>
                  <a:pt x="414274" y="35433"/>
                </a:cubicBezTo>
                <a:cubicBezTo>
                  <a:pt x="421767" y="25654"/>
                  <a:pt x="429641" y="18415"/>
                  <a:pt x="437896" y="13716"/>
                </a:cubicBezTo>
                <a:cubicBezTo>
                  <a:pt x="446151" y="8890"/>
                  <a:pt x="456819" y="5968"/>
                  <a:pt x="469773" y="4572"/>
                </a:cubicBezTo>
                <a:moveTo>
                  <a:pt x="4572" y="141478"/>
                </a:moveTo>
                <a:moveTo>
                  <a:pt x="299720" y="4572"/>
                </a:moveTo>
                <a:cubicBezTo>
                  <a:pt x="312547" y="5968"/>
                  <a:pt x="323088" y="9017"/>
                  <a:pt x="331343" y="13716"/>
                </a:cubicBezTo>
                <a:cubicBezTo>
                  <a:pt x="339725" y="18415"/>
                  <a:pt x="347599" y="25781"/>
                  <a:pt x="355092" y="35687"/>
                </a:cubicBezTo>
                <a:cubicBezTo>
                  <a:pt x="362331" y="44323"/>
                  <a:pt x="367919" y="54991"/>
                  <a:pt x="371983" y="67818"/>
                </a:cubicBezTo>
                <a:cubicBezTo>
                  <a:pt x="375920" y="80645"/>
                  <a:pt x="377952" y="94615"/>
                  <a:pt x="377952" y="109474"/>
                </a:cubicBezTo>
                <a:cubicBezTo>
                  <a:pt x="377952" y="124587"/>
                  <a:pt x="375920" y="138556"/>
                  <a:pt x="371983" y="151384"/>
                </a:cubicBezTo>
                <a:cubicBezTo>
                  <a:pt x="367919" y="164211"/>
                  <a:pt x="362331" y="174879"/>
                  <a:pt x="355092" y="183387"/>
                </a:cubicBezTo>
                <a:cubicBezTo>
                  <a:pt x="347599" y="193421"/>
                  <a:pt x="339725" y="200787"/>
                  <a:pt x="331343" y="205486"/>
                </a:cubicBezTo>
                <a:cubicBezTo>
                  <a:pt x="323088" y="210312"/>
                  <a:pt x="312547" y="213233"/>
                  <a:pt x="299720" y="214630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09" name="object 309"/>
          <p:cNvSpPr/>
          <p:nvPr/>
        </p:nvSpPr>
        <p:spPr>
          <a:xfrm>
            <a:off x="5267381" y="3553844"/>
            <a:ext cx="9143" cy="29463"/>
          </a:xfrm>
          <a:custGeom>
            <a:avLst/>
            <a:gdLst/>
            <a:ahLst/>
            <a:cxnLst/>
            <a:rect l="l" t="t" r="r" b="b"/>
            <a:pathLst>
              <a:path w="9143" h="29463">
                <a:moveTo>
                  <a:pt x="4572" y="24892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10" name="object 310"/>
          <p:cNvSpPr/>
          <p:nvPr/>
        </p:nvSpPr>
        <p:spPr>
          <a:xfrm>
            <a:off x="5267325" y="3535300"/>
            <a:ext cx="22098" cy="27685"/>
          </a:xfrm>
          <a:custGeom>
            <a:avLst/>
            <a:gdLst/>
            <a:ahLst/>
            <a:cxnLst/>
            <a:rect l="l" t="t" r="r" b="b"/>
            <a:pathLst>
              <a:path w="22098" h="27685">
                <a:moveTo>
                  <a:pt x="4572" y="23114"/>
                </a:moveTo>
                <a:cubicBezTo>
                  <a:pt x="8255" y="21971"/>
                  <a:pt x="10668" y="21082"/>
                  <a:pt x="11430" y="20574"/>
                </a:cubicBezTo>
                <a:cubicBezTo>
                  <a:pt x="12319" y="20066"/>
                  <a:pt x="13843" y="18922"/>
                  <a:pt x="15748" y="17145"/>
                </a:cubicBezTo>
                <a:cubicBezTo>
                  <a:pt x="16891" y="14859"/>
                  <a:pt x="17526" y="10668"/>
                  <a:pt x="17526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11" name="object 311"/>
          <p:cNvSpPr/>
          <p:nvPr/>
        </p:nvSpPr>
        <p:spPr>
          <a:xfrm>
            <a:off x="5280279" y="3402965"/>
            <a:ext cx="9144" cy="141477"/>
          </a:xfrm>
          <a:custGeom>
            <a:avLst/>
            <a:gdLst/>
            <a:ahLst/>
            <a:cxnLst/>
            <a:rect l="l" t="t" r="r" b="b"/>
            <a:pathLst>
              <a:path w="9144" h="141477">
                <a:moveTo>
                  <a:pt x="4572" y="136906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12" name="object 312"/>
          <p:cNvSpPr/>
          <p:nvPr/>
        </p:nvSpPr>
        <p:spPr>
          <a:xfrm>
            <a:off x="4972177" y="3364106"/>
            <a:ext cx="317246" cy="146049"/>
          </a:xfrm>
          <a:custGeom>
            <a:avLst/>
            <a:gdLst/>
            <a:ahLst/>
            <a:cxnLst/>
            <a:rect l="l" t="t" r="r" b="b"/>
            <a:pathLst>
              <a:path w="317246" h="146049">
                <a:moveTo>
                  <a:pt x="312674" y="43434"/>
                </a:moveTo>
                <a:cubicBezTo>
                  <a:pt x="312674" y="37337"/>
                  <a:pt x="311404" y="32766"/>
                  <a:pt x="308991" y="29718"/>
                </a:cubicBezTo>
                <a:cubicBezTo>
                  <a:pt x="308356" y="28702"/>
                  <a:pt x="307467" y="28067"/>
                  <a:pt x="306578" y="27559"/>
                </a:cubicBezTo>
                <a:cubicBezTo>
                  <a:pt x="305816" y="26924"/>
                  <a:pt x="303403" y="26162"/>
                  <a:pt x="299720" y="24892"/>
                </a:cubicBezTo>
                <a:moveTo>
                  <a:pt x="4572" y="141478"/>
                </a:moveTo>
                <a:moveTo>
                  <a:pt x="294513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13" name="object 313"/>
          <p:cNvSpPr/>
          <p:nvPr/>
        </p:nvSpPr>
        <p:spPr>
          <a:xfrm>
            <a:off x="5262174" y="3364215"/>
            <a:ext cx="9143" cy="29463"/>
          </a:xfrm>
          <a:custGeom>
            <a:avLst/>
            <a:gdLst/>
            <a:ahLst/>
            <a:cxnLst/>
            <a:rect l="l" t="t" r="r" b="b"/>
            <a:pathLst>
              <a:path w="9143" h="29463">
                <a:moveTo>
                  <a:pt x="4572" y="4572"/>
                </a:moveTo>
                <a:lnTo>
                  <a:pt x="4572" y="2489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14" name="object 314"/>
          <p:cNvSpPr/>
          <p:nvPr/>
        </p:nvSpPr>
        <p:spPr>
          <a:xfrm>
            <a:off x="5249164" y="3384535"/>
            <a:ext cx="22098" cy="27685"/>
          </a:xfrm>
          <a:custGeom>
            <a:avLst/>
            <a:gdLst/>
            <a:ahLst/>
            <a:cxnLst/>
            <a:rect l="l" t="t" r="r" b="b"/>
            <a:pathLst>
              <a:path w="22098" h="27685">
                <a:moveTo>
                  <a:pt x="17526" y="4572"/>
                </a:moveTo>
                <a:cubicBezTo>
                  <a:pt x="13589" y="5715"/>
                  <a:pt x="11303" y="6604"/>
                  <a:pt x="10414" y="7111"/>
                </a:cubicBezTo>
                <a:cubicBezTo>
                  <a:pt x="9525" y="7620"/>
                  <a:pt x="8128" y="8763"/>
                  <a:pt x="6096" y="10541"/>
                </a:cubicBezTo>
                <a:cubicBezTo>
                  <a:pt x="5080" y="12700"/>
                  <a:pt x="4572" y="17017"/>
                  <a:pt x="4572" y="23114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15" name="object 315"/>
          <p:cNvSpPr/>
          <p:nvPr/>
        </p:nvSpPr>
        <p:spPr>
          <a:xfrm>
            <a:off x="5249220" y="3402965"/>
            <a:ext cx="9143" cy="141477"/>
          </a:xfrm>
          <a:custGeom>
            <a:avLst/>
            <a:gdLst/>
            <a:ahLst/>
            <a:cxnLst/>
            <a:rect l="l" t="t" r="r" b="b"/>
            <a:pathLst>
              <a:path w="9143" h="141477">
                <a:moveTo>
                  <a:pt x="4572" y="4572"/>
                </a:moveTo>
                <a:lnTo>
                  <a:pt x="4572" y="136906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16" name="object 316"/>
          <p:cNvSpPr/>
          <p:nvPr/>
        </p:nvSpPr>
        <p:spPr>
          <a:xfrm>
            <a:off x="5249164" y="3535299"/>
            <a:ext cx="22098" cy="27812"/>
          </a:xfrm>
          <a:custGeom>
            <a:avLst/>
            <a:gdLst/>
            <a:ahLst/>
            <a:cxnLst/>
            <a:rect l="l" t="t" r="r" b="b"/>
            <a:pathLst>
              <a:path w="22098" h="27812">
                <a:moveTo>
                  <a:pt x="4572" y="4572"/>
                </a:moveTo>
                <a:cubicBezTo>
                  <a:pt x="4572" y="10795"/>
                  <a:pt x="5715" y="15366"/>
                  <a:pt x="8001" y="18415"/>
                </a:cubicBezTo>
                <a:cubicBezTo>
                  <a:pt x="8763" y="19304"/>
                  <a:pt x="9525" y="20066"/>
                  <a:pt x="10414" y="20574"/>
                </a:cubicBezTo>
                <a:cubicBezTo>
                  <a:pt x="11303" y="21082"/>
                  <a:pt x="13589" y="21971"/>
                  <a:pt x="17526" y="23241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17" name="object 317"/>
          <p:cNvSpPr/>
          <p:nvPr/>
        </p:nvSpPr>
        <p:spPr>
          <a:xfrm>
            <a:off x="5262174" y="3553968"/>
            <a:ext cx="9143" cy="29336"/>
          </a:xfrm>
          <a:custGeom>
            <a:avLst/>
            <a:gdLst/>
            <a:ahLst/>
            <a:cxnLst/>
            <a:rect l="l" t="t" r="r" b="b"/>
            <a:pathLst>
              <a:path w="9143" h="29336">
                <a:moveTo>
                  <a:pt x="4572" y="4572"/>
                </a:moveTo>
                <a:lnTo>
                  <a:pt x="4572" y="24765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18" name="object 318"/>
          <p:cNvSpPr/>
          <p:nvPr/>
        </p:nvSpPr>
        <p:spPr>
          <a:xfrm>
            <a:off x="4972233" y="3364103"/>
            <a:ext cx="299085" cy="219201"/>
          </a:xfrm>
          <a:custGeom>
            <a:avLst/>
            <a:gdLst/>
            <a:ahLst/>
            <a:cxnLst/>
            <a:rect l="l" t="t" r="r" b="b"/>
            <a:pathLst>
              <a:path w="299085" h="219201">
                <a:moveTo>
                  <a:pt x="294513" y="214630"/>
                </a:moveTo>
                <a:cubicBezTo>
                  <a:pt x="281559" y="213360"/>
                  <a:pt x="270891" y="210312"/>
                  <a:pt x="262636" y="205612"/>
                </a:cubicBezTo>
                <a:cubicBezTo>
                  <a:pt x="254381" y="200787"/>
                  <a:pt x="246507" y="193548"/>
                  <a:pt x="239014" y="183896"/>
                </a:cubicBezTo>
                <a:cubicBezTo>
                  <a:pt x="231775" y="175133"/>
                  <a:pt x="226060" y="164337"/>
                  <a:pt x="222123" y="151511"/>
                </a:cubicBezTo>
                <a:cubicBezTo>
                  <a:pt x="218186" y="138684"/>
                  <a:pt x="216154" y="124714"/>
                  <a:pt x="216154" y="109474"/>
                </a:cubicBezTo>
                <a:cubicBezTo>
                  <a:pt x="216154" y="94487"/>
                  <a:pt x="218186" y="80518"/>
                  <a:pt x="222123" y="67691"/>
                </a:cubicBezTo>
                <a:cubicBezTo>
                  <a:pt x="226060" y="54864"/>
                  <a:pt x="231775" y="44196"/>
                  <a:pt x="239014" y="35433"/>
                </a:cubicBezTo>
                <a:cubicBezTo>
                  <a:pt x="246507" y="25654"/>
                  <a:pt x="254381" y="18415"/>
                  <a:pt x="262636" y="13716"/>
                </a:cubicBezTo>
                <a:cubicBezTo>
                  <a:pt x="270891" y="8890"/>
                  <a:pt x="281559" y="5968"/>
                  <a:pt x="294513" y="4572"/>
                </a:cubicBezTo>
                <a:moveTo>
                  <a:pt x="4572" y="141478"/>
                </a:moveTo>
                <a:moveTo>
                  <a:pt x="122936" y="4572"/>
                </a:moveTo>
                <a:cubicBezTo>
                  <a:pt x="135763" y="5968"/>
                  <a:pt x="146304" y="9017"/>
                  <a:pt x="154559" y="13716"/>
                </a:cubicBezTo>
                <a:cubicBezTo>
                  <a:pt x="162941" y="18415"/>
                  <a:pt x="170815" y="25781"/>
                  <a:pt x="178308" y="35687"/>
                </a:cubicBezTo>
                <a:cubicBezTo>
                  <a:pt x="185547" y="44323"/>
                  <a:pt x="191135" y="54991"/>
                  <a:pt x="195199" y="67818"/>
                </a:cubicBezTo>
                <a:cubicBezTo>
                  <a:pt x="199136" y="80645"/>
                  <a:pt x="201168" y="94615"/>
                  <a:pt x="201168" y="109474"/>
                </a:cubicBezTo>
                <a:cubicBezTo>
                  <a:pt x="201168" y="124587"/>
                  <a:pt x="199136" y="138556"/>
                  <a:pt x="195199" y="151384"/>
                </a:cubicBezTo>
                <a:cubicBezTo>
                  <a:pt x="191135" y="164211"/>
                  <a:pt x="185547" y="174879"/>
                  <a:pt x="178308" y="183387"/>
                </a:cubicBezTo>
                <a:cubicBezTo>
                  <a:pt x="170815" y="193421"/>
                  <a:pt x="162941" y="200787"/>
                  <a:pt x="154559" y="205486"/>
                </a:cubicBezTo>
                <a:cubicBezTo>
                  <a:pt x="146304" y="210312"/>
                  <a:pt x="135763" y="213233"/>
                  <a:pt x="122936" y="214630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19" name="object 319"/>
          <p:cNvSpPr/>
          <p:nvPr/>
        </p:nvSpPr>
        <p:spPr>
          <a:xfrm>
            <a:off x="5090541" y="3553844"/>
            <a:ext cx="9144" cy="29463"/>
          </a:xfrm>
          <a:custGeom>
            <a:avLst/>
            <a:gdLst/>
            <a:ahLst/>
            <a:cxnLst/>
            <a:rect l="l" t="t" r="r" b="b"/>
            <a:pathLst>
              <a:path w="9144" h="29463">
                <a:moveTo>
                  <a:pt x="4572" y="24892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20" name="object 320"/>
          <p:cNvSpPr/>
          <p:nvPr/>
        </p:nvSpPr>
        <p:spPr>
          <a:xfrm>
            <a:off x="5090541" y="3535300"/>
            <a:ext cx="22097" cy="27685"/>
          </a:xfrm>
          <a:custGeom>
            <a:avLst/>
            <a:gdLst/>
            <a:ahLst/>
            <a:cxnLst/>
            <a:rect l="l" t="t" r="r" b="b"/>
            <a:pathLst>
              <a:path w="22097" h="27685">
                <a:moveTo>
                  <a:pt x="4572" y="23114"/>
                </a:moveTo>
                <a:cubicBezTo>
                  <a:pt x="8255" y="21971"/>
                  <a:pt x="10668" y="21082"/>
                  <a:pt x="11430" y="20574"/>
                </a:cubicBezTo>
                <a:cubicBezTo>
                  <a:pt x="12319" y="20066"/>
                  <a:pt x="13843" y="18922"/>
                  <a:pt x="15748" y="17145"/>
                </a:cubicBezTo>
                <a:cubicBezTo>
                  <a:pt x="16891" y="14859"/>
                  <a:pt x="17526" y="10668"/>
                  <a:pt x="17526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21" name="object 321"/>
          <p:cNvSpPr/>
          <p:nvPr/>
        </p:nvSpPr>
        <p:spPr>
          <a:xfrm>
            <a:off x="5103551" y="3402965"/>
            <a:ext cx="9143" cy="141477"/>
          </a:xfrm>
          <a:custGeom>
            <a:avLst/>
            <a:gdLst/>
            <a:ahLst/>
            <a:cxnLst/>
            <a:rect l="l" t="t" r="r" b="b"/>
            <a:pathLst>
              <a:path w="9143" h="141477">
                <a:moveTo>
                  <a:pt x="4572" y="136906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22" name="object 322"/>
          <p:cNvSpPr/>
          <p:nvPr/>
        </p:nvSpPr>
        <p:spPr>
          <a:xfrm>
            <a:off x="4972182" y="3364106"/>
            <a:ext cx="140461" cy="146049"/>
          </a:xfrm>
          <a:custGeom>
            <a:avLst/>
            <a:gdLst/>
            <a:ahLst/>
            <a:cxnLst/>
            <a:rect l="l" t="t" r="r" b="b"/>
            <a:pathLst>
              <a:path w="140461" h="146049">
                <a:moveTo>
                  <a:pt x="135890" y="43434"/>
                </a:moveTo>
                <a:cubicBezTo>
                  <a:pt x="135890" y="37337"/>
                  <a:pt x="134620" y="32766"/>
                  <a:pt x="132207" y="29718"/>
                </a:cubicBezTo>
                <a:cubicBezTo>
                  <a:pt x="131572" y="28702"/>
                  <a:pt x="130683" y="28067"/>
                  <a:pt x="129794" y="27559"/>
                </a:cubicBezTo>
                <a:cubicBezTo>
                  <a:pt x="129032" y="26924"/>
                  <a:pt x="126619" y="26162"/>
                  <a:pt x="122936" y="24892"/>
                </a:cubicBezTo>
                <a:moveTo>
                  <a:pt x="4572" y="141478"/>
                </a:moveTo>
                <a:moveTo>
                  <a:pt x="117729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23" name="object 323"/>
          <p:cNvSpPr/>
          <p:nvPr/>
        </p:nvSpPr>
        <p:spPr>
          <a:xfrm>
            <a:off x="5085334" y="3364215"/>
            <a:ext cx="9144" cy="29463"/>
          </a:xfrm>
          <a:custGeom>
            <a:avLst/>
            <a:gdLst/>
            <a:ahLst/>
            <a:cxnLst/>
            <a:rect l="l" t="t" r="r" b="b"/>
            <a:pathLst>
              <a:path w="9144" h="29463">
                <a:moveTo>
                  <a:pt x="4572" y="4572"/>
                </a:moveTo>
                <a:lnTo>
                  <a:pt x="4572" y="2489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24" name="object 324"/>
          <p:cNvSpPr/>
          <p:nvPr/>
        </p:nvSpPr>
        <p:spPr>
          <a:xfrm>
            <a:off x="5072380" y="3384535"/>
            <a:ext cx="22097" cy="27685"/>
          </a:xfrm>
          <a:custGeom>
            <a:avLst/>
            <a:gdLst/>
            <a:ahLst/>
            <a:cxnLst/>
            <a:rect l="l" t="t" r="r" b="b"/>
            <a:pathLst>
              <a:path w="22097" h="27685">
                <a:moveTo>
                  <a:pt x="17526" y="4572"/>
                </a:moveTo>
                <a:cubicBezTo>
                  <a:pt x="13589" y="5715"/>
                  <a:pt x="11303" y="6604"/>
                  <a:pt x="10414" y="7111"/>
                </a:cubicBezTo>
                <a:cubicBezTo>
                  <a:pt x="9525" y="7620"/>
                  <a:pt x="8128" y="8763"/>
                  <a:pt x="6096" y="10541"/>
                </a:cubicBezTo>
                <a:cubicBezTo>
                  <a:pt x="5080" y="12700"/>
                  <a:pt x="4572" y="17017"/>
                  <a:pt x="4572" y="23114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25" name="object 325"/>
          <p:cNvSpPr/>
          <p:nvPr/>
        </p:nvSpPr>
        <p:spPr>
          <a:xfrm>
            <a:off x="5072436" y="3402965"/>
            <a:ext cx="9143" cy="141477"/>
          </a:xfrm>
          <a:custGeom>
            <a:avLst/>
            <a:gdLst/>
            <a:ahLst/>
            <a:cxnLst/>
            <a:rect l="l" t="t" r="r" b="b"/>
            <a:pathLst>
              <a:path w="9143" h="141477">
                <a:moveTo>
                  <a:pt x="4572" y="4572"/>
                </a:moveTo>
                <a:lnTo>
                  <a:pt x="4572" y="136906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26" name="object 326"/>
          <p:cNvSpPr/>
          <p:nvPr/>
        </p:nvSpPr>
        <p:spPr>
          <a:xfrm>
            <a:off x="5072380" y="3535299"/>
            <a:ext cx="22097" cy="27812"/>
          </a:xfrm>
          <a:custGeom>
            <a:avLst/>
            <a:gdLst/>
            <a:ahLst/>
            <a:cxnLst/>
            <a:rect l="l" t="t" r="r" b="b"/>
            <a:pathLst>
              <a:path w="22097" h="27812">
                <a:moveTo>
                  <a:pt x="4572" y="4572"/>
                </a:moveTo>
                <a:cubicBezTo>
                  <a:pt x="4572" y="10795"/>
                  <a:pt x="5715" y="15366"/>
                  <a:pt x="8001" y="18415"/>
                </a:cubicBezTo>
                <a:cubicBezTo>
                  <a:pt x="8763" y="19304"/>
                  <a:pt x="9525" y="20066"/>
                  <a:pt x="10414" y="20574"/>
                </a:cubicBezTo>
                <a:cubicBezTo>
                  <a:pt x="11303" y="21082"/>
                  <a:pt x="13589" y="21971"/>
                  <a:pt x="17526" y="23241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27" name="object 327"/>
          <p:cNvSpPr/>
          <p:nvPr/>
        </p:nvSpPr>
        <p:spPr>
          <a:xfrm>
            <a:off x="5085334" y="3553968"/>
            <a:ext cx="9144" cy="29336"/>
          </a:xfrm>
          <a:custGeom>
            <a:avLst/>
            <a:gdLst/>
            <a:ahLst/>
            <a:cxnLst/>
            <a:rect l="l" t="t" r="r" b="b"/>
            <a:pathLst>
              <a:path w="9144" h="29336">
                <a:moveTo>
                  <a:pt x="4572" y="4572"/>
                </a:moveTo>
                <a:lnTo>
                  <a:pt x="4572" y="24765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28" name="object 328"/>
          <p:cNvSpPr/>
          <p:nvPr/>
        </p:nvSpPr>
        <p:spPr>
          <a:xfrm>
            <a:off x="4852345" y="3364103"/>
            <a:ext cx="242189" cy="219201"/>
          </a:xfrm>
          <a:custGeom>
            <a:avLst/>
            <a:gdLst/>
            <a:ahLst/>
            <a:cxnLst/>
            <a:rect l="l" t="t" r="r" b="b"/>
            <a:pathLst>
              <a:path w="242189" h="219201">
                <a:moveTo>
                  <a:pt x="237617" y="214630"/>
                </a:moveTo>
                <a:cubicBezTo>
                  <a:pt x="224663" y="213360"/>
                  <a:pt x="213995" y="210312"/>
                  <a:pt x="205740" y="205612"/>
                </a:cubicBezTo>
                <a:cubicBezTo>
                  <a:pt x="197485" y="200787"/>
                  <a:pt x="189611" y="193548"/>
                  <a:pt x="182118" y="183896"/>
                </a:cubicBezTo>
                <a:cubicBezTo>
                  <a:pt x="174879" y="175133"/>
                  <a:pt x="169164" y="164337"/>
                  <a:pt x="165227" y="151511"/>
                </a:cubicBezTo>
                <a:cubicBezTo>
                  <a:pt x="161290" y="138684"/>
                  <a:pt x="159258" y="124714"/>
                  <a:pt x="159258" y="109474"/>
                </a:cubicBezTo>
                <a:cubicBezTo>
                  <a:pt x="159258" y="94487"/>
                  <a:pt x="161290" y="80518"/>
                  <a:pt x="165227" y="67691"/>
                </a:cubicBezTo>
                <a:cubicBezTo>
                  <a:pt x="169164" y="54864"/>
                  <a:pt x="174879" y="44196"/>
                  <a:pt x="182118" y="35433"/>
                </a:cubicBezTo>
                <a:cubicBezTo>
                  <a:pt x="189611" y="25654"/>
                  <a:pt x="197485" y="18415"/>
                  <a:pt x="205740" y="13716"/>
                </a:cubicBezTo>
                <a:cubicBezTo>
                  <a:pt x="213995" y="8890"/>
                  <a:pt x="224663" y="5968"/>
                  <a:pt x="237617" y="4572"/>
                </a:cubicBezTo>
                <a:moveTo>
                  <a:pt x="124460" y="141478"/>
                </a:moveTo>
                <a:moveTo>
                  <a:pt x="61595" y="4572"/>
                </a:moveTo>
                <a:cubicBezTo>
                  <a:pt x="69977" y="4572"/>
                  <a:pt x="78867" y="6223"/>
                  <a:pt x="88519" y="9779"/>
                </a:cubicBezTo>
                <a:cubicBezTo>
                  <a:pt x="98044" y="13208"/>
                  <a:pt x="106045" y="18161"/>
                  <a:pt x="112522" y="24384"/>
                </a:cubicBezTo>
                <a:cubicBezTo>
                  <a:pt x="123444" y="35052"/>
                  <a:pt x="128905" y="48387"/>
                  <a:pt x="128905" y="64389"/>
                </a:cubicBezTo>
                <a:cubicBezTo>
                  <a:pt x="128905" y="78105"/>
                  <a:pt x="124841" y="90424"/>
                  <a:pt x="116713" y="101092"/>
                </a:cubicBezTo>
                <a:cubicBezTo>
                  <a:pt x="108585" y="111760"/>
                  <a:pt x="97155" y="120015"/>
                  <a:pt x="82423" y="125984"/>
                </a:cubicBezTo>
                <a:lnTo>
                  <a:pt x="63373" y="133604"/>
                </a:lnTo>
                <a:cubicBezTo>
                  <a:pt x="58039" y="135762"/>
                  <a:pt x="50038" y="139700"/>
                  <a:pt x="39243" y="145415"/>
                </a:cubicBezTo>
                <a:lnTo>
                  <a:pt x="35306" y="147955"/>
                </a:lnTo>
                <a:cubicBezTo>
                  <a:pt x="31115" y="147955"/>
                  <a:pt x="27305" y="148462"/>
                  <a:pt x="23876" y="149352"/>
                </a:cubicBezTo>
                <a:cubicBezTo>
                  <a:pt x="20447" y="150368"/>
                  <a:pt x="14097" y="152400"/>
                  <a:pt x="4572" y="155321"/>
                </a:cubicBezTo>
                <a:cubicBezTo>
                  <a:pt x="8509" y="147447"/>
                  <a:pt x="12319" y="141731"/>
                  <a:pt x="16002" y="138175"/>
                </a:cubicBezTo>
                <a:cubicBezTo>
                  <a:pt x="19558" y="134747"/>
                  <a:pt x="25019" y="130175"/>
                  <a:pt x="32258" y="124587"/>
                </a:cubicBezTo>
                <a:cubicBezTo>
                  <a:pt x="41275" y="117602"/>
                  <a:pt x="47244" y="112522"/>
                  <a:pt x="50292" y="109474"/>
                </a:cubicBezTo>
                <a:cubicBezTo>
                  <a:pt x="53340" y="106425"/>
                  <a:pt x="56261" y="102489"/>
                  <a:pt x="59055" y="97536"/>
                </a:cubicBezTo>
                <a:cubicBezTo>
                  <a:pt x="60325" y="94615"/>
                  <a:pt x="61595" y="90424"/>
                  <a:pt x="62484" y="84709"/>
                </a:cubicBezTo>
                <a:cubicBezTo>
                  <a:pt x="63500" y="78993"/>
                  <a:pt x="64008" y="71881"/>
                  <a:pt x="64008" y="63373"/>
                </a:cubicBezTo>
                <a:cubicBezTo>
                  <a:pt x="64008" y="48387"/>
                  <a:pt x="62738" y="38354"/>
                  <a:pt x="60198" y="33274"/>
                </a:cubicBezTo>
                <a:cubicBezTo>
                  <a:pt x="59309" y="31496"/>
                  <a:pt x="58420" y="30099"/>
                  <a:pt x="57404" y="29083"/>
                </a:cubicBezTo>
                <a:cubicBezTo>
                  <a:pt x="56388" y="28067"/>
                  <a:pt x="54483" y="26797"/>
                  <a:pt x="51562" y="25273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29" name="object 329"/>
          <p:cNvSpPr/>
          <p:nvPr/>
        </p:nvSpPr>
        <p:spPr>
          <a:xfrm>
            <a:off x="4899279" y="3364342"/>
            <a:ext cx="9144" cy="29717"/>
          </a:xfrm>
          <a:custGeom>
            <a:avLst/>
            <a:gdLst/>
            <a:ahLst/>
            <a:cxnLst/>
            <a:rect l="l" t="t" r="r" b="b"/>
            <a:pathLst>
              <a:path w="9144" h="29717">
                <a:moveTo>
                  <a:pt x="4572" y="25146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30" name="object 330"/>
          <p:cNvSpPr/>
          <p:nvPr/>
        </p:nvSpPr>
        <p:spPr>
          <a:xfrm>
            <a:off x="4899279" y="3364230"/>
            <a:ext cx="82042" cy="145922"/>
          </a:xfrm>
          <a:custGeom>
            <a:avLst/>
            <a:gdLst/>
            <a:ahLst/>
            <a:cxnLst/>
            <a:rect l="l" t="t" r="r" b="b"/>
            <a:pathLst>
              <a:path w="82042" h="145922">
                <a:moveTo>
                  <a:pt x="4572" y="4572"/>
                </a:moveTo>
                <a:moveTo>
                  <a:pt x="77470" y="141351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31" name="object 331"/>
          <p:cNvSpPr/>
          <p:nvPr/>
        </p:nvSpPr>
        <p:spPr>
          <a:xfrm>
            <a:off x="4618863" y="4005046"/>
            <a:ext cx="1163396" cy="461670"/>
          </a:xfrm>
          <a:custGeom>
            <a:avLst/>
            <a:gdLst/>
            <a:ahLst/>
            <a:cxnLst/>
            <a:rect l="l" t="t" r="r" b="b"/>
            <a:pathLst>
              <a:path w="1163396" h="461670">
                <a:moveTo>
                  <a:pt x="0" y="0"/>
                </a:moveTo>
                <a:lnTo>
                  <a:pt x="0" y="461671"/>
                </a:lnTo>
                <a:lnTo>
                  <a:pt x="1163396" y="461671"/>
                </a:lnTo>
                <a:lnTo>
                  <a:pt x="1163396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32" name="object 332"/>
          <p:cNvSpPr/>
          <p:nvPr/>
        </p:nvSpPr>
        <p:spPr>
          <a:xfrm>
            <a:off x="4614100" y="4000396"/>
            <a:ext cx="1172921" cy="471195"/>
          </a:xfrm>
          <a:custGeom>
            <a:avLst/>
            <a:gdLst/>
            <a:ahLst/>
            <a:cxnLst/>
            <a:rect l="l" t="t" r="r" b="b"/>
            <a:pathLst>
              <a:path w="1172921" h="471195">
                <a:moveTo>
                  <a:pt x="4763" y="4762"/>
                </a:moveTo>
                <a:lnTo>
                  <a:pt x="4763" y="466433"/>
                </a:lnTo>
                <a:lnTo>
                  <a:pt x="1168159" y="466433"/>
                </a:lnTo>
                <a:lnTo>
                  <a:pt x="1168159" y="4762"/>
                </a:lnTo>
                <a:lnTo>
                  <a:pt x="4763" y="4762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33" name="object 333"/>
          <p:cNvSpPr/>
          <p:nvPr/>
        </p:nvSpPr>
        <p:spPr>
          <a:xfrm>
            <a:off x="4862703" y="4123675"/>
            <a:ext cx="671576" cy="210185"/>
          </a:xfrm>
          <a:custGeom>
            <a:avLst/>
            <a:gdLst/>
            <a:ahLst/>
            <a:cxnLst/>
            <a:rect l="l" t="t" r="r" b="b"/>
            <a:pathLst>
              <a:path w="671576" h="210185">
                <a:moveTo>
                  <a:pt x="136652" y="137033"/>
                </a:moveTo>
                <a:cubicBezTo>
                  <a:pt x="139954" y="136906"/>
                  <a:pt x="142494" y="138049"/>
                  <a:pt x="144526" y="140589"/>
                </a:cubicBezTo>
                <a:cubicBezTo>
                  <a:pt x="146431" y="143129"/>
                  <a:pt x="147447" y="146304"/>
                  <a:pt x="147447" y="149860"/>
                </a:cubicBezTo>
                <a:cubicBezTo>
                  <a:pt x="147447" y="156845"/>
                  <a:pt x="145542" y="164719"/>
                  <a:pt x="141859" y="173482"/>
                </a:cubicBezTo>
                <a:cubicBezTo>
                  <a:pt x="138176" y="182118"/>
                  <a:pt x="133604" y="189230"/>
                  <a:pt x="128397" y="194564"/>
                </a:cubicBezTo>
                <a:cubicBezTo>
                  <a:pt x="123825" y="199136"/>
                  <a:pt x="118237" y="202946"/>
                  <a:pt x="111506" y="205867"/>
                </a:cubicBezTo>
                <a:cubicBezTo>
                  <a:pt x="104775" y="208661"/>
                  <a:pt x="98425" y="210185"/>
                  <a:pt x="92329" y="210185"/>
                </a:cubicBezTo>
                <a:cubicBezTo>
                  <a:pt x="85090" y="210185"/>
                  <a:pt x="77597" y="209042"/>
                  <a:pt x="69850" y="206629"/>
                </a:cubicBezTo>
                <a:lnTo>
                  <a:pt x="48768" y="200406"/>
                </a:lnTo>
                <a:cubicBezTo>
                  <a:pt x="39370" y="197739"/>
                  <a:pt x="33274" y="196342"/>
                  <a:pt x="30480" y="196342"/>
                </a:cubicBezTo>
                <a:cubicBezTo>
                  <a:pt x="26924" y="196342"/>
                  <a:pt x="23114" y="198120"/>
                  <a:pt x="18923" y="201803"/>
                </a:cubicBezTo>
                <a:cubicBezTo>
                  <a:pt x="15367" y="204851"/>
                  <a:pt x="12319" y="206248"/>
                  <a:pt x="10033" y="206248"/>
                </a:cubicBezTo>
                <a:cubicBezTo>
                  <a:pt x="6858" y="206248"/>
                  <a:pt x="4445" y="205232"/>
                  <a:pt x="2667" y="203200"/>
                </a:cubicBezTo>
                <a:cubicBezTo>
                  <a:pt x="889" y="201168"/>
                  <a:pt x="0" y="198374"/>
                  <a:pt x="0" y="194818"/>
                </a:cubicBezTo>
                <a:cubicBezTo>
                  <a:pt x="0" y="189103"/>
                  <a:pt x="1397" y="183388"/>
                  <a:pt x="3937" y="177673"/>
                </a:cubicBezTo>
                <a:cubicBezTo>
                  <a:pt x="6477" y="171831"/>
                  <a:pt x="10033" y="166751"/>
                  <a:pt x="14478" y="162433"/>
                </a:cubicBezTo>
                <a:cubicBezTo>
                  <a:pt x="24003" y="153162"/>
                  <a:pt x="36703" y="148590"/>
                  <a:pt x="52832" y="148590"/>
                </a:cubicBezTo>
                <a:cubicBezTo>
                  <a:pt x="59944" y="148590"/>
                  <a:pt x="69723" y="149733"/>
                  <a:pt x="82042" y="152019"/>
                </a:cubicBezTo>
                <a:cubicBezTo>
                  <a:pt x="99314" y="155321"/>
                  <a:pt x="110617" y="156845"/>
                  <a:pt x="115951" y="156845"/>
                </a:cubicBezTo>
                <a:cubicBezTo>
                  <a:pt x="119761" y="156845"/>
                  <a:pt x="122682" y="155829"/>
                  <a:pt x="124587" y="153797"/>
                </a:cubicBezTo>
                <a:cubicBezTo>
                  <a:pt x="124841" y="153670"/>
                  <a:pt x="125095" y="153035"/>
                  <a:pt x="125349" y="152273"/>
                </a:cubicBezTo>
                <a:cubicBezTo>
                  <a:pt x="125730" y="151384"/>
                  <a:pt x="126238" y="149479"/>
                  <a:pt x="126873" y="146685"/>
                </a:cubicBezTo>
                <a:cubicBezTo>
                  <a:pt x="128270" y="140462"/>
                  <a:pt x="131572" y="137287"/>
                  <a:pt x="136652" y="137033"/>
                </a:cubicBezTo>
                <a:close/>
                <a:moveTo>
                  <a:pt x="649224" y="61087"/>
                </a:moveTo>
                <a:cubicBezTo>
                  <a:pt x="642874" y="76073"/>
                  <a:pt x="638302" y="87757"/>
                  <a:pt x="635762" y="96139"/>
                </a:cubicBezTo>
                <a:cubicBezTo>
                  <a:pt x="631952" y="108712"/>
                  <a:pt x="630047" y="120015"/>
                  <a:pt x="630047" y="129794"/>
                </a:cubicBezTo>
                <a:cubicBezTo>
                  <a:pt x="630047" y="133731"/>
                  <a:pt x="630301" y="137033"/>
                  <a:pt x="630809" y="139954"/>
                </a:cubicBezTo>
                <a:lnTo>
                  <a:pt x="633730" y="156972"/>
                </a:lnTo>
                <a:cubicBezTo>
                  <a:pt x="634746" y="162306"/>
                  <a:pt x="635127" y="167513"/>
                  <a:pt x="635127" y="172593"/>
                </a:cubicBezTo>
                <a:cubicBezTo>
                  <a:pt x="635127" y="184531"/>
                  <a:pt x="631444" y="193929"/>
                  <a:pt x="623951" y="200787"/>
                </a:cubicBezTo>
                <a:cubicBezTo>
                  <a:pt x="617093" y="207010"/>
                  <a:pt x="609219" y="210185"/>
                  <a:pt x="600202" y="210185"/>
                </a:cubicBezTo>
                <a:cubicBezTo>
                  <a:pt x="589915" y="210185"/>
                  <a:pt x="581406" y="206248"/>
                  <a:pt x="574929" y="198247"/>
                </a:cubicBezTo>
                <a:cubicBezTo>
                  <a:pt x="568452" y="190373"/>
                  <a:pt x="565150" y="180340"/>
                  <a:pt x="565150" y="168402"/>
                </a:cubicBezTo>
                <a:cubicBezTo>
                  <a:pt x="565150" y="156210"/>
                  <a:pt x="568706" y="144018"/>
                  <a:pt x="575564" y="131953"/>
                </a:cubicBezTo>
                <a:cubicBezTo>
                  <a:pt x="577977" y="127000"/>
                  <a:pt x="580898" y="122555"/>
                  <a:pt x="584200" y="118237"/>
                </a:cubicBezTo>
                <a:cubicBezTo>
                  <a:pt x="587375" y="114046"/>
                  <a:pt x="592836" y="107696"/>
                  <a:pt x="600583" y="99060"/>
                </a:cubicBezTo>
                <a:cubicBezTo>
                  <a:pt x="608203" y="90424"/>
                  <a:pt x="613791" y="83820"/>
                  <a:pt x="617347" y="79375"/>
                </a:cubicBezTo>
                <a:cubicBezTo>
                  <a:pt x="620776" y="74803"/>
                  <a:pt x="623570" y="70485"/>
                  <a:pt x="625475" y="66421"/>
                </a:cubicBezTo>
                <a:cubicBezTo>
                  <a:pt x="631571" y="65786"/>
                  <a:pt x="639572" y="64008"/>
                  <a:pt x="649224" y="61087"/>
                </a:cubicBezTo>
                <a:close/>
                <a:moveTo>
                  <a:pt x="56896" y="508"/>
                </a:moveTo>
                <a:lnTo>
                  <a:pt x="56896" y="21336"/>
                </a:lnTo>
                <a:cubicBezTo>
                  <a:pt x="52959" y="22225"/>
                  <a:pt x="50419" y="22987"/>
                  <a:pt x="49403" y="23622"/>
                </a:cubicBezTo>
                <a:lnTo>
                  <a:pt x="48260" y="24130"/>
                </a:lnTo>
                <a:cubicBezTo>
                  <a:pt x="48006" y="24257"/>
                  <a:pt x="47879" y="24130"/>
                  <a:pt x="47879" y="23876"/>
                </a:cubicBezTo>
                <a:cubicBezTo>
                  <a:pt x="48006" y="24638"/>
                  <a:pt x="49022" y="25654"/>
                  <a:pt x="50800" y="26797"/>
                </a:cubicBezTo>
                <a:cubicBezTo>
                  <a:pt x="55372" y="29972"/>
                  <a:pt x="58801" y="33528"/>
                  <a:pt x="60960" y="37465"/>
                </a:cubicBezTo>
                <a:cubicBezTo>
                  <a:pt x="63119" y="41402"/>
                  <a:pt x="64262" y="46101"/>
                  <a:pt x="64262" y="51435"/>
                </a:cubicBezTo>
                <a:cubicBezTo>
                  <a:pt x="64262" y="59690"/>
                  <a:pt x="61087" y="66802"/>
                  <a:pt x="54864" y="72644"/>
                </a:cubicBezTo>
                <a:cubicBezTo>
                  <a:pt x="48768" y="78613"/>
                  <a:pt x="41402" y="81534"/>
                  <a:pt x="32893" y="81534"/>
                </a:cubicBezTo>
                <a:cubicBezTo>
                  <a:pt x="23876" y="81534"/>
                  <a:pt x="16256" y="78486"/>
                  <a:pt x="10160" y="72136"/>
                </a:cubicBezTo>
                <a:cubicBezTo>
                  <a:pt x="4064" y="65913"/>
                  <a:pt x="1016" y="58166"/>
                  <a:pt x="1016" y="48895"/>
                </a:cubicBezTo>
                <a:cubicBezTo>
                  <a:pt x="1016" y="40259"/>
                  <a:pt x="3556" y="32258"/>
                  <a:pt x="8636" y="24892"/>
                </a:cubicBezTo>
                <a:cubicBezTo>
                  <a:pt x="13716" y="17526"/>
                  <a:pt x="20701" y="11811"/>
                  <a:pt x="29464" y="7493"/>
                </a:cubicBezTo>
                <a:cubicBezTo>
                  <a:pt x="34925" y="4953"/>
                  <a:pt x="44069" y="2540"/>
                  <a:pt x="56896" y="508"/>
                </a:cubicBezTo>
                <a:close/>
                <a:moveTo>
                  <a:pt x="431800" y="127"/>
                </a:moveTo>
                <a:cubicBezTo>
                  <a:pt x="444627" y="1397"/>
                  <a:pt x="455168" y="4445"/>
                  <a:pt x="463550" y="9144"/>
                </a:cubicBezTo>
                <a:cubicBezTo>
                  <a:pt x="471805" y="13970"/>
                  <a:pt x="479679" y="21336"/>
                  <a:pt x="487172" y="31242"/>
                </a:cubicBezTo>
                <a:cubicBezTo>
                  <a:pt x="494411" y="39751"/>
                  <a:pt x="500126" y="50419"/>
                  <a:pt x="504063" y="63373"/>
                </a:cubicBezTo>
                <a:cubicBezTo>
                  <a:pt x="508000" y="76200"/>
                  <a:pt x="510032" y="90043"/>
                  <a:pt x="510032" y="105029"/>
                </a:cubicBezTo>
                <a:cubicBezTo>
                  <a:pt x="510032" y="120015"/>
                  <a:pt x="508000" y="133985"/>
                  <a:pt x="504063" y="146939"/>
                </a:cubicBezTo>
                <a:cubicBezTo>
                  <a:pt x="500126" y="159766"/>
                  <a:pt x="494411" y="170434"/>
                  <a:pt x="487172" y="178943"/>
                </a:cubicBezTo>
                <a:cubicBezTo>
                  <a:pt x="479679" y="188976"/>
                  <a:pt x="471805" y="196342"/>
                  <a:pt x="463550" y="201041"/>
                </a:cubicBezTo>
                <a:cubicBezTo>
                  <a:pt x="455168" y="205740"/>
                  <a:pt x="444627" y="208788"/>
                  <a:pt x="431800" y="210058"/>
                </a:cubicBezTo>
                <a:lnTo>
                  <a:pt x="431800" y="189865"/>
                </a:lnTo>
                <a:cubicBezTo>
                  <a:pt x="435483" y="188595"/>
                  <a:pt x="437896" y="187706"/>
                  <a:pt x="438785" y="187198"/>
                </a:cubicBezTo>
                <a:cubicBezTo>
                  <a:pt x="439674" y="186690"/>
                  <a:pt x="441071" y="185547"/>
                  <a:pt x="442976" y="183896"/>
                </a:cubicBezTo>
                <a:cubicBezTo>
                  <a:pt x="444119" y="181610"/>
                  <a:pt x="444754" y="177419"/>
                  <a:pt x="444754" y="171196"/>
                </a:cubicBezTo>
                <a:lnTo>
                  <a:pt x="444754" y="38989"/>
                </a:lnTo>
                <a:cubicBezTo>
                  <a:pt x="444754" y="32893"/>
                  <a:pt x="443484" y="28321"/>
                  <a:pt x="441071" y="25146"/>
                </a:cubicBezTo>
                <a:cubicBezTo>
                  <a:pt x="440436" y="24257"/>
                  <a:pt x="439674" y="23495"/>
                  <a:pt x="438785" y="22987"/>
                </a:cubicBezTo>
                <a:cubicBezTo>
                  <a:pt x="437896" y="22479"/>
                  <a:pt x="435483" y="21590"/>
                  <a:pt x="431800" y="20447"/>
                </a:cubicBezTo>
                <a:close/>
                <a:moveTo>
                  <a:pt x="426593" y="127"/>
                </a:moveTo>
                <a:lnTo>
                  <a:pt x="426593" y="20320"/>
                </a:lnTo>
                <a:cubicBezTo>
                  <a:pt x="422783" y="21590"/>
                  <a:pt x="420370" y="22479"/>
                  <a:pt x="419481" y="22987"/>
                </a:cubicBezTo>
                <a:cubicBezTo>
                  <a:pt x="418592" y="23495"/>
                  <a:pt x="417195" y="24638"/>
                  <a:pt x="415163" y="26289"/>
                </a:cubicBezTo>
                <a:cubicBezTo>
                  <a:pt x="414147" y="28575"/>
                  <a:pt x="413639" y="32766"/>
                  <a:pt x="413639" y="38989"/>
                </a:cubicBezTo>
                <a:lnTo>
                  <a:pt x="413639" y="171196"/>
                </a:lnTo>
                <a:cubicBezTo>
                  <a:pt x="413639" y="177419"/>
                  <a:pt x="414782" y="181991"/>
                  <a:pt x="417195" y="185039"/>
                </a:cubicBezTo>
                <a:cubicBezTo>
                  <a:pt x="417830" y="186055"/>
                  <a:pt x="418592" y="186817"/>
                  <a:pt x="419481" y="187325"/>
                </a:cubicBezTo>
                <a:cubicBezTo>
                  <a:pt x="420370" y="187833"/>
                  <a:pt x="422783" y="188595"/>
                  <a:pt x="426593" y="189865"/>
                </a:cubicBezTo>
                <a:lnTo>
                  <a:pt x="426593" y="210058"/>
                </a:lnTo>
                <a:cubicBezTo>
                  <a:pt x="413639" y="208788"/>
                  <a:pt x="402971" y="205740"/>
                  <a:pt x="394716" y="201041"/>
                </a:cubicBezTo>
                <a:cubicBezTo>
                  <a:pt x="386461" y="196342"/>
                  <a:pt x="378587" y="189103"/>
                  <a:pt x="371221" y="179324"/>
                </a:cubicBezTo>
                <a:cubicBezTo>
                  <a:pt x="363855" y="170561"/>
                  <a:pt x="358267" y="159893"/>
                  <a:pt x="354203" y="147066"/>
                </a:cubicBezTo>
                <a:cubicBezTo>
                  <a:pt x="350266" y="134239"/>
                  <a:pt x="348234" y="120142"/>
                  <a:pt x="348234" y="105029"/>
                </a:cubicBezTo>
                <a:cubicBezTo>
                  <a:pt x="348234" y="89916"/>
                  <a:pt x="350266" y="76073"/>
                  <a:pt x="354203" y="63246"/>
                </a:cubicBezTo>
                <a:cubicBezTo>
                  <a:pt x="358267" y="50419"/>
                  <a:pt x="363855" y="39624"/>
                  <a:pt x="371221" y="30988"/>
                </a:cubicBezTo>
                <a:cubicBezTo>
                  <a:pt x="378587" y="21209"/>
                  <a:pt x="386461" y="13843"/>
                  <a:pt x="394716" y="9144"/>
                </a:cubicBezTo>
                <a:cubicBezTo>
                  <a:pt x="402971" y="4445"/>
                  <a:pt x="413639" y="1397"/>
                  <a:pt x="426593" y="127"/>
                </a:cubicBezTo>
                <a:close/>
                <a:moveTo>
                  <a:pt x="255016" y="127"/>
                </a:moveTo>
                <a:cubicBezTo>
                  <a:pt x="267843" y="1397"/>
                  <a:pt x="278384" y="4445"/>
                  <a:pt x="286766" y="9144"/>
                </a:cubicBezTo>
                <a:cubicBezTo>
                  <a:pt x="295021" y="13970"/>
                  <a:pt x="302895" y="21336"/>
                  <a:pt x="310388" y="31242"/>
                </a:cubicBezTo>
                <a:cubicBezTo>
                  <a:pt x="317627" y="39751"/>
                  <a:pt x="323342" y="50419"/>
                  <a:pt x="327279" y="63373"/>
                </a:cubicBezTo>
                <a:cubicBezTo>
                  <a:pt x="331216" y="76200"/>
                  <a:pt x="333248" y="90043"/>
                  <a:pt x="333248" y="105029"/>
                </a:cubicBezTo>
                <a:cubicBezTo>
                  <a:pt x="333248" y="120015"/>
                  <a:pt x="331216" y="133985"/>
                  <a:pt x="327279" y="146939"/>
                </a:cubicBezTo>
                <a:cubicBezTo>
                  <a:pt x="323342" y="159766"/>
                  <a:pt x="317627" y="170434"/>
                  <a:pt x="310388" y="178943"/>
                </a:cubicBezTo>
                <a:cubicBezTo>
                  <a:pt x="302895" y="188976"/>
                  <a:pt x="295021" y="196342"/>
                  <a:pt x="286766" y="201041"/>
                </a:cubicBezTo>
                <a:cubicBezTo>
                  <a:pt x="278384" y="205740"/>
                  <a:pt x="267843" y="208788"/>
                  <a:pt x="255016" y="210058"/>
                </a:cubicBezTo>
                <a:lnTo>
                  <a:pt x="255016" y="189865"/>
                </a:lnTo>
                <a:cubicBezTo>
                  <a:pt x="258699" y="188595"/>
                  <a:pt x="261112" y="187706"/>
                  <a:pt x="262001" y="187198"/>
                </a:cubicBezTo>
                <a:cubicBezTo>
                  <a:pt x="262890" y="186690"/>
                  <a:pt x="264287" y="185547"/>
                  <a:pt x="266192" y="183896"/>
                </a:cubicBezTo>
                <a:cubicBezTo>
                  <a:pt x="267335" y="181610"/>
                  <a:pt x="267970" y="177419"/>
                  <a:pt x="267970" y="171196"/>
                </a:cubicBezTo>
                <a:lnTo>
                  <a:pt x="267970" y="38989"/>
                </a:lnTo>
                <a:cubicBezTo>
                  <a:pt x="267970" y="32893"/>
                  <a:pt x="266700" y="28321"/>
                  <a:pt x="264287" y="25146"/>
                </a:cubicBezTo>
                <a:cubicBezTo>
                  <a:pt x="263652" y="24257"/>
                  <a:pt x="262890" y="23495"/>
                  <a:pt x="262001" y="22987"/>
                </a:cubicBezTo>
                <a:cubicBezTo>
                  <a:pt x="261112" y="22479"/>
                  <a:pt x="258699" y="21590"/>
                  <a:pt x="255016" y="20447"/>
                </a:cubicBezTo>
                <a:close/>
                <a:moveTo>
                  <a:pt x="249809" y="127"/>
                </a:moveTo>
                <a:lnTo>
                  <a:pt x="249809" y="20320"/>
                </a:lnTo>
                <a:cubicBezTo>
                  <a:pt x="245999" y="21590"/>
                  <a:pt x="243586" y="22479"/>
                  <a:pt x="242697" y="22987"/>
                </a:cubicBezTo>
                <a:cubicBezTo>
                  <a:pt x="241808" y="23495"/>
                  <a:pt x="240411" y="24638"/>
                  <a:pt x="238379" y="26289"/>
                </a:cubicBezTo>
                <a:cubicBezTo>
                  <a:pt x="237363" y="28575"/>
                  <a:pt x="236855" y="32766"/>
                  <a:pt x="236855" y="38989"/>
                </a:cubicBezTo>
                <a:lnTo>
                  <a:pt x="236855" y="171196"/>
                </a:lnTo>
                <a:cubicBezTo>
                  <a:pt x="236855" y="177419"/>
                  <a:pt x="237998" y="181991"/>
                  <a:pt x="240411" y="185039"/>
                </a:cubicBezTo>
                <a:cubicBezTo>
                  <a:pt x="241046" y="186055"/>
                  <a:pt x="241808" y="186817"/>
                  <a:pt x="242697" y="187325"/>
                </a:cubicBezTo>
                <a:cubicBezTo>
                  <a:pt x="243586" y="187833"/>
                  <a:pt x="245999" y="188595"/>
                  <a:pt x="249809" y="189865"/>
                </a:cubicBezTo>
                <a:lnTo>
                  <a:pt x="249809" y="210058"/>
                </a:lnTo>
                <a:cubicBezTo>
                  <a:pt x="236855" y="208788"/>
                  <a:pt x="226187" y="205740"/>
                  <a:pt x="217932" y="201041"/>
                </a:cubicBezTo>
                <a:cubicBezTo>
                  <a:pt x="209677" y="196342"/>
                  <a:pt x="201803" y="189103"/>
                  <a:pt x="194437" y="179324"/>
                </a:cubicBezTo>
                <a:cubicBezTo>
                  <a:pt x="187071" y="170561"/>
                  <a:pt x="181483" y="159893"/>
                  <a:pt x="177419" y="147066"/>
                </a:cubicBezTo>
                <a:cubicBezTo>
                  <a:pt x="173482" y="134239"/>
                  <a:pt x="171450" y="120142"/>
                  <a:pt x="171450" y="105029"/>
                </a:cubicBezTo>
                <a:cubicBezTo>
                  <a:pt x="171450" y="89916"/>
                  <a:pt x="173482" y="76073"/>
                  <a:pt x="177419" y="63246"/>
                </a:cubicBezTo>
                <a:cubicBezTo>
                  <a:pt x="181483" y="50419"/>
                  <a:pt x="187071" y="39624"/>
                  <a:pt x="194437" y="30988"/>
                </a:cubicBezTo>
                <a:cubicBezTo>
                  <a:pt x="201803" y="21209"/>
                  <a:pt x="209677" y="13843"/>
                  <a:pt x="217932" y="9144"/>
                </a:cubicBezTo>
                <a:cubicBezTo>
                  <a:pt x="226187" y="4445"/>
                  <a:pt x="236855" y="1397"/>
                  <a:pt x="249809" y="127"/>
                </a:cubicBezTo>
                <a:close/>
                <a:moveTo>
                  <a:pt x="598932" y="0"/>
                </a:moveTo>
                <a:cubicBezTo>
                  <a:pt x="602361" y="0"/>
                  <a:pt x="605663" y="254"/>
                  <a:pt x="608584" y="762"/>
                </a:cubicBezTo>
                <a:cubicBezTo>
                  <a:pt x="611632" y="1397"/>
                  <a:pt x="615061" y="2413"/>
                  <a:pt x="618998" y="3937"/>
                </a:cubicBezTo>
                <a:cubicBezTo>
                  <a:pt x="628269" y="6604"/>
                  <a:pt x="634365" y="8382"/>
                  <a:pt x="637159" y="9525"/>
                </a:cubicBezTo>
                <a:cubicBezTo>
                  <a:pt x="642747" y="11684"/>
                  <a:pt x="647192" y="12827"/>
                  <a:pt x="650367" y="12954"/>
                </a:cubicBezTo>
                <a:cubicBezTo>
                  <a:pt x="651637" y="13081"/>
                  <a:pt x="653034" y="12192"/>
                  <a:pt x="654558" y="10541"/>
                </a:cubicBezTo>
                <a:lnTo>
                  <a:pt x="656463" y="8001"/>
                </a:lnTo>
                <a:cubicBezTo>
                  <a:pt x="658495" y="5715"/>
                  <a:pt x="660781" y="4445"/>
                  <a:pt x="663194" y="4445"/>
                </a:cubicBezTo>
                <a:cubicBezTo>
                  <a:pt x="665480" y="4445"/>
                  <a:pt x="667512" y="5334"/>
                  <a:pt x="669163" y="7112"/>
                </a:cubicBezTo>
                <a:cubicBezTo>
                  <a:pt x="670814" y="8890"/>
                  <a:pt x="671576" y="10795"/>
                  <a:pt x="671576" y="13081"/>
                </a:cubicBezTo>
                <a:cubicBezTo>
                  <a:pt x="671576" y="16129"/>
                  <a:pt x="670687" y="20193"/>
                  <a:pt x="668909" y="25273"/>
                </a:cubicBezTo>
                <a:cubicBezTo>
                  <a:pt x="667004" y="30353"/>
                  <a:pt x="663448" y="35560"/>
                  <a:pt x="658241" y="40894"/>
                </a:cubicBezTo>
                <a:cubicBezTo>
                  <a:pt x="656717" y="47244"/>
                  <a:pt x="652653" y="52197"/>
                  <a:pt x="646303" y="55626"/>
                </a:cubicBezTo>
                <a:cubicBezTo>
                  <a:pt x="639953" y="59055"/>
                  <a:pt x="632206" y="60706"/>
                  <a:pt x="623062" y="60706"/>
                </a:cubicBezTo>
                <a:cubicBezTo>
                  <a:pt x="618998" y="60706"/>
                  <a:pt x="615696" y="60452"/>
                  <a:pt x="612902" y="60071"/>
                </a:cubicBezTo>
                <a:cubicBezTo>
                  <a:pt x="610235" y="59563"/>
                  <a:pt x="602488" y="57785"/>
                  <a:pt x="589534" y="54737"/>
                </a:cubicBezTo>
                <a:cubicBezTo>
                  <a:pt x="577342" y="51816"/>
                  <a:pt x="568706" y="50292"/>
                  <a:pt x="563753" y="50292"/>
                </a:cubicBezTo>
                <a:cubicBezTo>
                  <a:pt x="559943" y="50292"/>
                  <a:pt x="557149" y="51435"/>
                  <a:pt x="555371" y="53848"/>
                </a:cubicBezTo>
                <a:cubicBezTo>
                  <a:pt x="553593" y="56134"/>
                  <a:pt x="552704" y="60198"/>
                  <a:pt x="552704" y="65913"/>
                </a:cubicBezTo>
                <a:lnTo>
                  <a:pt x="552704" y="72009"/>
                </a:lnTo>
                <a:lnTo>
                  <a:pt x="535305" y="72009"/>
                </a:lnTo>
                <a:lnTo>
                  <a:pt x="544957" y="3937"/>
                </a:lnTo>
                <a:lnTo>
                  <a:pt x="561467" y="3937"/>
                </a:lnTo>
                <a:lnTo>
                  <a:pt x="559308" y="20828"/>
                </a:lnTo>
                <a:cubicBezTo>
                  <a:pt x="563626" y="13843"/>
                  <a:pt x="569341" y="8509"/>
                  <a:pt x="576199" y="5207"/>
                </a:cubicBezTo>
                <a:cubicBezTo>
                  <a:pt x="583184" y="1778"/>
                  <a:pt x="590677" y="0"/>
                  <a:pt x="598932" y="0"/>
                </a:cubicBezTo>
                <a:close/>
                <a:moveTo>
                  <a:pt x="73787" y="0"/>
                </a:moveTo>
                <a:cubicBezTo>
                  <a:pt x="82169" y="0"/>
                  <a:pt x="91186" y="1778"/>
                  <a:pt x="100711" y="5207"/>
                </a:cubicBezTo>
                <a:cubicBezTo>
                  <a:pt x="110236" y="8763"/>
                  <a:pt x="118237" y="13589"/>
                  <a:pt x="124714" y="19939"/>
                </a:cubicBezTo>
                <a:cubicBezTo>
                  <a:pt x="135636" y="30480"/>
                  <a:pt x="141097" y="43942"/>
                  <a:pt x="141097" y="59944"/>
                </a:cubicBezTo>
                <a:cubicBezTo>
                  <a:pt x="141097" y="73660"/>
                  <a:pt x="137033" y="85852"/>
                  <a:pt x="129032" y="96520"/>
                </a:cubicBezTo>
                <a:cubicBezTo>
                  <a:pt x="120904" y="107188"/>
                  <a:pt x="109474" y="115570"/>
                  <a:pt x="94615" y="121539"/>
                </a:cubicBezTo>
                <a:lnTo>
                  <a:pt x="75565" y="129159"/>
                </a:lnTo>
                <a:cubicBezTo>
                  <a:pt x="70231" y="131318"/>
                  <a:pt x="62230" y="135255"/>
                  <a:pt x="51435" y="140970"/>
                </a:cubicBezTo>
                <a:lnTo>
                  <a:pt x="47498" y="143510"/>
                </a:lnTo>
                <a:cubicBezTo>
                  <a:pt x="43307" y="143510"/>
                  <a:pt x="39497" y="143891"/>
                  <a:pt x="36068" y="144907"/>
                </a:cubicBezTo>
                <a:cubicBezTo>
                  <a:pt x="32766" y="145923"/>
                  <a:pt x="26289" y="147828"/>
                  <a:pt x="16764" y="150876"/>
                </a:cubicBezTo>
                <a:cubicBezTo>
                  <a:pt x="20701" y="142875"/>
                  <a:pt x="24511" y="137160"/>
                  <a:pt x="28194" y="133731"/>
                </a:cubicBezTo>
                <a:cubicBezTo>
                  <a:pt x="31750" y="130302"/>
                  <a:pt x="37211" y="125730"/>
                  <a:pt x="44450" y="120015"/>
                </a:cubicBezTo>
                <a:cubicBezTo>
                  <a:pt x="53467" y="113030"/>
                  <a:pt x="59436" y="108077"/>
                  <a:pt x="62484" y="105029"/>
                </a:cubicBezTo>
                <a:cubicBezTo>
                  <a:pt x="65532" y="101981"/>
                  <a:pt x="68453" y="97917"/>
                  <a:pt x="71247" y="92964"/>
                </a:cubicBezTo>
                <a:cubicBezTo>
                  <a:pt x="72644" y="90170"/>
                  <a:pt x="73787" y="85852"/>
                  <a:pt x="74803" y="80264"/>
                </a:cubicBezTo>
                <a:cubicBezTo>
                  <a:pt x="75819" y="74549"/>
                  <a:pt x="76200" y="67437"/>
                  <a:pt x="76200" y="58928"/>
                </a:cubicBezTo>
                <a:cubicBezTo>
                  <a:pt x="76200" y="43942"/>
                  <a:pt x="75057" y="33782"/>
                  <a:pt x="72517" y="28702"/>
                </a:cubicBezTo>
                <a:cubicBezTo>
                  <a:pt x="71628" y="26924"/>
                  <a:pt x="70612" y="25527"/>
                  <a:pt x="69596" y="24638"/>
                </a:cubicBezTo>
                <a:cubicBezTo>
                  <a:pt x="68580" y="23622"/>
                  <a:pt x="66675" y="22352"/>
                  <a:pt x="63754" y="20701"/>
                </a:cubicBezTo>
                <a:lnTo>
                  <a:pt x="63754" y="12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34" name="object 334"/>
          <p:cNvSpPr/>
          <p:nvPr/>
        </p:nvSpPr>
        <p:spPr>
          <a:xfrm>
            <a:off x="4994839" y="4256024"/>
            <a:ext cx="9143" cy="9144"/>
          </a:xfrm>
          <a:custGeom>
            <a:avLst/>
            <a:gdLst/>
            <a:ahLst/>
            <a:cxnLst/>
            <a:rect l="l" t="t" r="r" b="b"/>
            <a:pathLst>
              <a:path w="9143" h="9144"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35" name="object 335"/>
          <p:cNvSpPr/>
          <p:nvPr/>
        </p:nvSpPr>
        <p:spPr>
          <a:xfrm>
            <a:off x="4858131" y="4256009"/>
            <a:ext cx="156590" cy="82423"/>
          </a:xfrm>
          <a:custGeom>
            <a:avLst/>
            <a:gdLst/>
            <a:ahLst/>
            <a:cxnLst/>
            <a:rect l="l" t="t" r="r" b="b"/>
            <a:pathLst>
              <a:path w="156590" h="82423">
                <a:moveTo>
                  <a:pt x="141224" y="4699"/>
                </a:moveTo>
                <a:cubicBezTo>
                  <a:pt x="144526" y="4572"/>
                  <a:pt x="147066" y="5715"/>
                  <a:pt x="149098" y="8255"/>
                </a:cubicBezTo>
                <a:cubicBezTo>
                  <a:pt x="151003" y="10795"/>
                  <a:pt x="152019" y="13970"/>
                  <a:pt x="152019" y="17526"/>
                </a:cubicBezTo>
                <a:cubicBezTo>
                  <a:pt x="152019" y="24511"/>
                  <a:pt x="150114" y="32385"/>
                  <a:pt x="146431" y="41148"/>
                </a:cubicBezTo>
                <a:cubicBezTo>
                  <a:pt x="142748" y="49784"/>
                  <a:pt x="138176" y="56896"/>
                  <a:pt x="132969" y="62230"/>
                </a:cubicBezTo>
                <a:cubicBezTo>
                  <a:pt x="128397" y="66802"/>
                  <a:pt x="122809" y="70612"/>
                  <a:pt x="116078" y="73533"/>
                </a:cubicBezTo>
                <a:cubicBezTo>
                  <a:pt x="109347" y="76327"/>
                  <a:pt x="102997" y="77851"/>
                  <a:pt x="96901" y="77851"/>
                </a:cubicBezTo>
                <a:cubicBezTo>
                  <a:pt x="89662" y="77851"/>
                  <a:pt x="82169" y="76708"/>
                  <a:pt x="74422" y="74295"/>
                </a:cubicBezTo>
                <a:lnTo>
                  <a:pt x="53340" y="68072"/>
                </a:lnTo>
                <a:cubicBezTo>
                  <a:pt x="43942" y="65405"/>
                  <a:pt x="37846" y="64008"/>
                  <a:pt x="35052" y="64008"/>
                </a:cubicBezTo>
                <a:cubicBezTo>
                  <a:pt x="31496" y="64008"/>
                  <a:pt x="27686" y="65786"/>
                  <a:pt x="23495" y="69469"/>
                </a:cubicBezTo>
                <a:cubicBezTo>
                  <a:pt x="19939" y="72517"/>
                  <a:pt x="16891" y="73914"/>
                  <a:pt x="14605" y="73914"/>
                </a:cubicBezTo>
                <a:cubicBezTo>
                  <a:pt x="11430" y="73914"/>
                  <a:pt x="9017" y="72898"/>
                  <a:pt x="7239" y="70866"/>
                </a:cubicBezTo>
                <a:cubicBezTo>
                  <a:pt x="5461" y="68834"/>
                  <a:pt x="4572" y="66040"/>
                  <a:pt x="4572" y="62484"/>
                </a:cubicBezTo>
                <a:cubicBezTo>
                  <a:pt x="4572" y="56769"/>
                  <a:pt x="5969" y="51054"/>
                  <a:pt x="8509" y="45339"/>
                </a:cubicBezTo>
                <a:cubicBezTo>
                  <a:pt x="11049" y="39497"/>
                  <a:pt x="14605" y="34417"/>
                  <a:pt x="19050" y="30099"/>
                </a:cubicBezTo>
                <a:cubicBezTo>
                  <a:pt x="28575" y="20828"/>
                  <a:pt x="41275" y="16256"/>
                  <a:pt x="57404" y="16256"/>
                </a:cubicBezTo>
                <a:cubicBezTo>
                  <a:pt x="64516" y="16256"/>
                  <a:pt x="74295" y="17399"/>
                  <a:pt x="86614" y="19685"/>
                </a:cubicBezTo>
                <a:cubicBezTo>
                  <a:pt x="103886" y="22987"/>
                  <a:pt x="115189" y="24511"/>
                  <a:pt x="120523" y="24511"/>
                </a:cubicBezTo>
                <a:cubicBezTo>
                  <a:pt x="124333" y="24511"/>
                  <a:pt x="127254" y="23495"/>
                  <a:pt x="129159" y="21463"/>
                </a:cubicBezTo>
                <a:cubicBezTo>
                  <a:pt x="129413" y="21336"/>
                  <a:pt x="129667" y="20701"/>
                  <a:pt x="129921" y="19939"/>
                </a:cubicBezTo>
                <a:cubicBezTo>
                  <a:pt x="130302" y="19050"/>
                  <a:pt x="130810" y="17145"/>
                  <a:pt x="131445" y="14351"/>
                </a:cubicBezTo>
                <a:cubicBezTo>
                  <a:pt x="132842" y="8128"/>
                  <a:pt x="136144" y="4953"/>
                  <a:pt x="141224" y="4699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36" name="object 336"/>
          <p:cNvSpPr/>
          <p:nvPr/>
        </p:nvSpPr>
        <p:spPr>
          <a:xfrm>
            <a:off x="4994783" y="4180078"/>
            <a:ext cx="521716" cy="85090"/>
          </a:xfrm>
          <a:custGeom>
            <a:avLst/>
            <a:gdLst/>
            <a:ahLst/>
            <a:cxnLst/>
            <a:rect l="l" t="t" r="r" b="b"/>
            <a:pathLst>
              <a:path w="521716" h="85090">
                <a:moveTo>
                  <a:pt x="4572" y="80518"/>
                </a:moveTo>
                <a:moveTo>
                  <a:pt x="4572" y="80518"/>
                </a:moveTo>
                <a:moveTo>
                  <a:pt x="517144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37" name="object 337"/>
          <p:cNvSpPr/>
          <p:nvPr/>
        </p:nvSpPr>
        <p:spPr>
          <a:xfrm>
            <a:off x="4915027" y="4119611"/>
            <a:ext cx="601472" cy="218821"/>
          </a:xfrm>
          <a:custGeom>
            <a:avLst/>
            <a:gdLst/>
            <a:ahLst/>
            <a:cxnLst/>
            <a:rect l="l" t="t" r="r" b="b"/>
            <a:pathLst>
              <a:path w="601472" h="218821">
                <a:moveTo>
                  <a:pt x="596900" y="65151"/>
                </a:moveTo>
                <a:cubicBezTo>
                  <a:pt x="590550" y="80137"/>
                  <a:pt x="585978" y="91821"/>
                  <a:pt x="583438" y="100203"/>
                </a:cubicBezTo>
                <a:cubicBezTo>
                  <a:pt x="579628" y="112776"/>
                  <a:pt x="577723" y="124079"/>
                  <a:pt x="577723" y="133858"/>
                </a:cubicBezTo>
                <a:cubicBezTo>
                  <a:pt x="577723" y="137795"/>
                  <a:pt x="577977" y="141097"/>
                  <a:pt x="578485" y="144018"/>
                </a:cubicBezTo>
                <a:lnTo>
                  <a:pt x="581406" y="161036"/>
                </a:lnTo>
                <a:cubicBezTo>
                  <a:pt x="582422" y="166370"/>
                  <a:pt x="582803" y="171577"/>
                  <a:pt x="582803" y="176657"/>
                </a:cubicBezTo>
                <a:cubicBezTo>
                  <a:pt x="582803" y="188595"/>
                  <a:pt x="579120" y="197993"/>
                  <a:pt x="571627" y="204851"/>
                </a:cubicBezTo>
                <a:cubicBezTo>
                  <a:pt x="564769" y="211074"/>
                  <a:pt x="556895" y="214249"/>
                  <a:pt x="547878" y="214249"/>
                </a:cubicBezTo>
                <a:cubicBezTo>
                  <a:pt x="537591" y="214249"/>
                  <a:pt x="529082" y="210312"/>
                  <a:pt x="522605" y="202311"/>
                </a:cubicBezTo>
                <a:cubicBezTo>
                  <a:pt x="516128" y="194437"/>
                  <a:pt x="512826" y="184404"/>
                  <a:pt x="512826" y="172466"/>
                </a:cubicBezTo>
                <a:cubicBezTo>
                  <a:pt x="512826" y="160274"/>
                  <a:pt x="516382" y="148082"/>
                  <a:pt x="523240" y="136017"/>
                </a:cubicBezTo>
                <a:cubicBezTo>
                  <a:pt x="525653" y="131064"/>
                  <a:pt x="528574" y="126619"/>
                  <a:pt x="531876" y="122301"/>
                </a:cubicBezTo>
                <a:cubicBezTo>
                  <a:pt x="535051" y="118110"/>
                  <a:pt x="540512" y="111760"/>
                  <a:pt x="548259" y="103124"/>
                </a:cubicBezTo>
                <a:cubicBezTo>
                  <a:pt x="555879" y="94488"/>
                  <a:pt x="561467" y="87884"/>
                  <a:pt x="565023" y="83439"/>
                </a:cubicBezTo>
                <a:cubicBezTo>
                  <a:pt x="568452" y="78867"/>
                  <a:pt x="571246" y="74549"/>
                  <a:pt x="573151" y="70485"/>
                </a:cubicBezTo>
                <a:cubicBezTo>
                  <a:pt x="579247" y="69850"/>
                  <a:pt x="587248" y="68072"/>
                  <a:pt x="596900" y="65151"/>
                </a:cubicBezTo>
                <a:moveTo>
                  <a:pt x="84328" y="141097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38" name="object 338"/>
          <p:cNvSpPr/>
          <p:nvPr/>
        </p:nvSpPr>
        <p:spPr>
          <a:xfrm>
            <a:off x="4915027" y="4119499"/>
            <a:ext cx="9144" cy="29972"/>
          </a:xfrm>
          <a:custGeom>
            <a:avLst/>
            <a:gdLst/>
            <a:ahLst/>
            <a:cxnLst/>
            <a:rect l="l" t="t" r="r" b="b"/>
            <a:pathLst>
              <a:path w="9144" h="29972">
                <a:moveTo>
                  <a:pt x="4572" y="4572"/>
                </a:moveTo>
                <a:lnTo>
                  <a:pt x="4572" y="25400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39" name="object 339"/>
          <p:cNvSpPr/>
          <p:nvPr/>
        </p:nvSpPr>
        <p:spPr>
          <a:xfrm>
            <a:off x="4907590" y="4140327"/>
            <a:ext cx="16637" cy="11430"/>
          </a:xfrm>
          <a:custGeom>
            <a:avLst/>
            <a:gdLst/>
            <a:ahLst/>
            <a:cxnLst/>
            <a:rect l="l" t="t" r="r" b="b"/>
            <a:pathLst>
              <a:path w="16637" h="11430">
                <a:moveTo>
                  <a:pt x="12065" y="4572"/>
                </a:moveTo>
                <a:cubicBezTo>
                  <a:pt x="8128" y="5461"/>
                  <a:pt x="5588" y="6223"/>
                  <a:pt x="4572" y="6858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40" name="object 340"/>
          <p:cNvSpPr/>
          <p:nvPr/>
        </p:nvSpPr>
        <p:spPr>
          <a:xfrm>
            <a:off x="4906397" y="4142613"/>
            <a:ext cx="10287" cy="9652"/>
          </a:xfrm>
          <a:custGeom>
            <a:avLst/>
            <a:gdLst/>
            <a:ahLst/>
            <a:cxnLst/>
            <a:rect l="l" t="t" r="r" b="b"/>
            <a:pathLst>
              <a:path w="10287" h="9652">
                <a:moveTo>
                  <a:pt x="5715" y="4572"/>
                </a:moveTo>
                <a:lnTo>
                  <a:pt x="4572" y="5080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41" name="object 341"/>
          <p:cNvSpPr/>
          <p:nvPr/>
        </p:nvSpPr>
        <p:spPr>
          <a:xfrm>
            <a:off x="4859172" y="4119230"/>
            <a:ext cx="518159" cy="219075"/>
          </a:xfrm>
          <a:custGeom>
            <a:avLst/>
            <a:gdLst/>
            <a:ahLst/>
            <a:cxnLst/>
            <a:rect l="l" t="t" r="r" b="b"/>
            <a:pathLst>
              <a:path w="518159" h="219075">
                <a:moveTo>
                  <a:pt x="51816" y="28575"/>
                </a:moveTo>
                <a:cubicBezTo>
                  <a:pt x="51562" y="28702"/>
                  <a:pt x="51435" y="28575"/>
                  <a:pt x="51435" y="28321"/>
                </a:cubicBezTo>
                <a:cubicBezTo>
                  <a:pt x="51562" y="29083"/>
                  <a:pt x="52578" y="30099"/>
                  <a:pt x="54356" y="31242"/>
                </a:cubicBezTo>
                <a:cubicBezTo>
                  <a:pt x="58928" y="34417"/>
                  <a:pt x="62357" y="37973"/>
                  <a:pt x="64516" y="41910"/>
                </a:cubicBezTo>
                <a:cubicBezTo>
                  <a:pt x="66675" y="45847"/>
                  <a:pt x="67818" y="50546"/>
                  <a:pt x="67818" y="55880"/>
                </a:cubicBezTo>
                <a:cubicBezTo>
                  <a:pt x="67818" y="64135"/>
                  <a:pt x="64643" y="71247"/>
                  <a:pt x="58420" y="77089"/>
                </a:cubicBezTo>
                <a:cubicBezTo>
                  <a:pt x="52324" y="83058"/>
                  <a:pt x="44958" y="85979"/>
                  <a:pt x="36449" y="85979"/>
                </a:cubicBezTo>
                <a:cubicBezTo>
                  <a:pt x="27432" y="85979"/>
                  <a:pt x="19812" y="82931"/>
                  <a:pt x="13716" y="76581"/>
                </a:cubicBezTo>
                <a:cubicBezTo>
                  <a:pt x="7620" y="70358"/>
                  <a:pt x="4572" y="62611"/>
                  <a:pt x="4572" y="53340"/>
                </a:cubicBezTo>
                <a:cubicBezTo>
                  <a:pt x="4572" y="44704"/>
                  <a:pt x="7112" y="36703"/>
                  <a:pt x="12192" y="29337"/>
                </a:cubicBezTo>
                <a:cubicBezTo>
                  <a:pt x="17272" y="21971"/>
                  <a:pt x="24257" y="16256"/>
                  <a:pt x="33020" y="11938"/>
                </a:cubicBezTo>
                <a:cubicBezTo>
                  <a:pt x="38481" y="9398"/>
                  <a:pt x="47625" y="6985"/>
                  <a:pt x="60452" y="4953"/>
                </a:cubicBezTo>
                <a:moveTo>
                  <a:pt x="140208" y="141478"/>
                </a:moveTo>
                <a:moveTo>
                  <a:pt x="435356" y="4572"/>
                </a:moveTo>
                <a:cubicBezTo>
                  <a:pt x="448183" y="5842"/>
                  <a:pt x="458724" y="8890"/>
                  <a:pt x="467106" y="13589"/>
                </a:cubicBezTo>
                <a:cubicBezTo>
                  <a:pt x="475361" y="18415"/>
                  <a:pt x="483235" y="25781"/>
                  <a:pt x="490728" y="35687"/>
                </a:cubicBezTo>
                <a:cubicBezTo>
                  <a:pt x="497967" y="44196"/>
                  <a:pt x="503682" y="54864"/>
                  <a:pt x="507619" y="67818"/>
                </a:cubicBezTo>
                <a:cubicBezTo>
                  <a:pt x="511556" y="80645"/>
                  <a:pt x="513588" y="94488"/>
                  <a:pt x="513588" y="109474"/>
                </a:cubicBezTo>
                <a:cubicBezTo>
                  <a:pt x="513588" y="124460"/>
                  <a:pt x="511556" y="138430"/>
                  <a:pt x="507619" y="151384"/>
                </a:cubicBezTo>
                <a:cubicBezTo>
                  <a:pt x="503682" y="164211"/>
                  <a:pt x="497967" y="174879"/>
                  <a:pt x="490728" y="183388"/>
                </a:cubicBezTo>
                <a:cubicBezTo>
                  <a:pt x="483235" y="193421"/>
                  <a:pt x="475361" y="200787"/>
                  <a:pt x="467106" y="205486"/>
                </a:cubicBezTo>
                <a:cubicBezTo>
                  <a:pt x="458724" y="210185"/>
                  <a:pt x="448183" y="213233"/>
                  <a:pt x="435356" y="214503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42" name="object 342"/>
          <p:cNvSpPr/>
          <p:nvPr/>
        </p:nvSpPr>
        <p:spPr>
          <a:xfrm>
            <a:off x="5289987" y="4308968"/>
            <a:ext cx="9143" cy="29337"/>
          </a:xfrm>
          <a:custGeom>
            <a:avLst/>
            <a:gdLst/>
            <a:ahLst/>
            <a:cxnLst/>
            <a:rect l="l" t="t" r="r" b="b"/>
            <a:pathLst>
              <a:path w="9143" h="29337">
                <a:moveTo>
                  <a:pt x="4572" y="24765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43" name="object 343"/>
          <p:cNvSpPr/>
          <p:nvPr/>
        </p:nvSpPr>
        <p:spPr>
          <a:xfrm>
            <a:off x="5289931" y="4290299"/>
            <a:ext cx="22097" cy="27813"/>
          </a:xfrm>
          <a:custGeom>
            <a:avLst/>
            <a:gdLst/>
            <a:ahLst/>
            <a:cxnLst/>
            <a:rect l="l" t="t" r="r" b="b"/>
            <a:pathLst>
              <a:path w="22097" h="27813">
                <a:moveTo>
                  <a:pt x="4572" y="23241"/>
                </a:moveTo>
                <a:cubicBezTo>
                  <a:pt x="8255" y="21971"/>
                  <a:pt x="10668" y="21082"/>
                  <a:pt x="11557" y="20574"/>
                </a:cubicBezTo>
                <a:cubicBezTo>
                  <a:pt x="12446" y="20066"/>
                  <a:pt x="13843" y="18923"/>
                  <a:pt x="15748" y="17272"/>
                </a:cubicBezTo>
                <a:cubicBezTo>
                  <a:pt x="16891" y="14986"/>
                  <a:pt x="17526" y="10795"/>
                  <a:pt x="17526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44" name="object 344"/>
          <p:cNvSpPr/>
          <p:nvPr/>
        </p:nvSpPr>
        <p:spPr>
          <a:xfrm>
            <a:off x="5302885" y="4158092"/>
            <a:ext cx="9144" cy="141351"/>
          </a:xfrm>
          <a:custGeom>
            <a:avLst/>
            <a:gdLst/>
            <a:ahLst/>
            <a:cxnLst/>
            <a:rect l="l" t="t" r="r" b="b"/>
            <a:pathLst>
              <a:path w="9144" h="141351">
                <a:moveTo>
                  <a:pt x="4572" y="136779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45" name="object 345"/>
          <p:cNvSpPr/>
          <p:nvPr/>
        </p:nvSpPr>
        <p:spPr>
          <a:xfrm>
            <a:off x="4994783" y="4119118"/>
            <a:ext cx="317246" cy="146050"/>
          </a:xfrm>
          <a:custGeom>
            <a:avLst/>
            <a:gdLst/>
            <a:ahLst/>
            <a:cxnLst/>
            <a:rect l="l" t="t" r="r" b="b"/>
            <a:pathLst>
              <a:path w="317246" h="146050">
                <a:moveTo>
                  <a:pt x="312674" y="43434"/>
                </a:moveTo>
                <a:cubicBezTo>
                  <a:pt x="312674" y="37338"/>
                  <a:pt x="311404" y="32766"/>
                  <a:pt x="308991" y="29591"/>
                </a:cubicBezTo>
                <a:cubicBezTo>
                  <a:pt x="308356" y="28702"/>
                  <a:pt x="307594" y="27940"/>
                  <a:pt x="306705" y="27432"/>
                </a:cubicBezTo>
                <a:cubicBezTo>
                  <a:pt x="305816" y="26924"/>
                  <a:pt x="303403" y="26035"/>
                  <a:pt x="299720" y="24892"/>
                </a:cubicBezTo>
                <a:moveTo>
                  <a:pt x="4572" y="141478"/>
                </a:moveTo>
                <a:moveTo>
                  <a:pt x="294513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46" name="object 346"/>
          <p:cNvSpPr/>
          <p:nvPr/>
        </p:nvSpPr>
        <p:spPr>
          <a:xfrm>
            <a:off x="5284780" y="4119123"/>
            <a:ext cx="9143" cy="29337"/>
          </a:xfrm>
          <a:custGeom>
            <a:avLst/>
            <a:gdLst/>
            <a:ahLst/>
            <a:cxnLst/>
            <a:rect l="l" t="t" r="r" b="b"/>
            <a:pathLst>
              <a:path w="9143" h="29337">
                <a:moveTo>
                  <a:pt x="4572" y="4572"/>
                </a:moveTo>
                <a:lnTo>
                  <a:pt x="4572" y="24765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47" name="object 347"/>
          <p:cNvSpPr/>
          <p:nvPr/>
        </p:nvSpPr>
        <p:spPr>
          <a:xfrm>
            <a:off x="5271770" y="4139317"/>
            <a:ext cx="22098" cy="27813"/>
          </a:xfrm>
          <a:custGeom>
            <a:avLst/>
            <a:gdLst/>
            <a:ahLst/>
            <a:cxnLst/>
            <a:rect l="l" t="t" r="r" b="b"/>
            <a:pathLst>
              <a:path w="22098" h="27813">
                <a:moveTo>
                  <a:pt x="17526" y="4572"/>
                </a:moveTo>
                <a:cubicBezTo>
                  <a:pt x="13716" y="5842"/>
                  <a:pt x="11303" y="6731"/>
                  <a:pt x="10414" y="7239"/>
                </a:cubicBezTo>
                <a:cubicBezTo>
                  <a:pt x="9525" y="7747"/>
                  <a:pt x="8128" y="8890"/>
                  <a:pt x="6096" y="10541"/>
                </a:cubicBezTo>
                <a:cubicBezTo>
                  <a:pt x="5080" y="12827"/>
                  <a:pt x="4572" y="17018"/>
                  <a:pt x="4572" y="23241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48" name="object 348"/>
          <p:cNvSpPr/>
          <p:nvPr/>
        </p:nvSpPr>
        <p:spPr>
          <a:xfrm>
            <a:off x="5271826" y="4158092"/>
            <a:ext cx="9143" cy="141351"/>
          </a:xfrm>
          <a:custGeom>
            <a:avLst/>
            <a:gdLst/>
            <a:ahLst/>
            <a:cxnLst/>
            <a:rect l="l" t="t" r="r" b="b"/>
            <a:pathLst>
              <a:path w="9143" h="141351">
                <a:moveTo>
                  <a:pt x="4572" y="4572"/>
                </a:moveTo>
                <a:lnTo>
                  <a:pt x="4572" y="136779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49" name="object 349"/>
          <p:cNvSpPr/>
          <p:nvPr/>
        </p:nvSpPr>
        <p:spPr>
          <a:xfrm>
            <a:off x="5271770" y="4290299"/>
            <a:ext cx="22098" cy="27813"/>
          </a:xfrm>
          <a:custGeom>
            <a:avLst/>
            <a:gdLst/>
            <a:ahLst/>
            <a:cxnLst/>
            <a:rect l="l" t="t" r="r" b="b"/>
            <a:pathLst>
              <a:path w="22098" h="27813">
                <a:moveTo>
                  <a:pt x="4572" y="4572"/>
                </a:moveTo>
                <a:cubicBezTo>
                  <a:pt x="4572" y="10795"/>
                  <a:pt x="5715" y="15367"/>
                  <a:pt x="8128" y="18415"/>
                </a:cubicBezTo>
                <a:cubicBezTo>
                  <a:pt x="8763" y="19431"/>
                  <a:pt x="9525" y="20193"/>
                  <a:pt x="10414" y="20701"/>
                </a:cubicBezTo>
                <a:cubicBezTo>
                  <a:pt x="11303" y="21209"/>
                  <a:pt x="13716" y="21971"/>
                  <a:pt x="17526" y="23241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50" name="object 350"/>
          <p:cNvSpPr/>
          <p:nvPr/>
        </p:nvSpPr>
        <p:spPr>
          <a:xfrm>
            <a:off x="5284780" y="4308968"/>
            <a:ext cx="9143" cy="29337"/>
          </a:xfrm>
          <a:custGeom>
            <a:avLst/>
            <a:gdLst/>
            <a:ahLst/>
            <a:cxnLst/>
            <a:rect l="l" t="t" r="r" b="b"/>
            <a:pathLst>
              <a:path w="9143" h="29337">
                <a:moveTo>
                  <a:pt x="4572" y="4572"/>
                </a:moveTo>
                <a:lnTo>
                  <a:pt x="4572" y="24765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51" name="object 351"/>
          <p:cNvSpPr/>
          <p:nvPr/>
        </p:nvSpPr>
        <p:spPr>
          <a:xfrm>
            <a:off x="4994839" y="4119230"/>
            <a:ext cx="299085" cy="219075"/>
          </a:xfrm>
          <a:custGeom>
            <a:avLst/>
            <a:gdLst/>
            <a:ahLst/>
            <a:cxnLst/>
            <a:rect l="l" t="t" r="r" b="b"/>
            <a:pathLst>
              <a:path w="299085" h="219075">
                <a:moveTo>
                  <a:pt x="294513" y="214503"/>
                </a:moveTo>
                <a:cubicBezTo>
                  <a:pt x="281559" y="213233"/>
                  <a:pt x="270891" y="210185"/>
                  <a:pt x="262636" y="205486"/>
                </a:cubicBezTo>
                <a:cubicBezTo>
                  <a:pt x="254381" y="200787"/>
                  <a:pt x="246507" y="193548"/>
                  <a:pt x="239141" y="183769"/>
                </a:cubicBezTo>
                <a:cubicBezTo>
                  <a:pt x="231775" y="175006"/>
                  <a:pt x="226187" y="164338"/>
                  <a:pt x="222123" y="151511"/>
                </a:cubicBezTo>
                <a:cubicBezTo>
                  <a:pt x="218186" y="138684"/>
                  <a:pt x="216154" y="124587"/>
                  <a:pt x="216154" y="109474"/>
                </a:cubicBezTo>
                <a:cubicBezTo>
                  <a:pt x="216154" y="94361"/>
                  <a:pt x="218186" y="80518"/>
                  <a:pt x="222123" y="67691"/>
                </a:cubicBezTo>
                <a:cubicBezTo>
                  <a:pt x="226187" y="54864"/>
                  <a:pt x="231775" y="44069"/>
                  <a:pt x="239141" y="35433"/>
                </a:cubicBezTo>
                <a:cubicBezTo>
                  <a:pt x="246507" y="25654"/>
                  <a:pt x="254381" y="18288"/>
                  <a:pt x="262636" y="13589"/>
                </a:cubicBezTo>
                <a:cubicBezTo>
                  <a:pt x="270891" y="8890"/>
                  <a:pt x="281559" y="5842"/>
                  <a:pt x="294513" y="4572"/>
                </a:cubicBezTo>
                <a:moveTo>
                  <a:pt x="4572" y="141478"/>
                </a:moveTo>
                <a:moveTo>
                  <a:pt x="122936" y="4572"/>
                </a:moveTo>
                <a:cubicBezTo>
                  <a:pt x="135763" y="5842"/>
                  <a:pt x="146304" y="8890"/>
                  <a:pt x="154686" y="13589"/>
                </a:cubicBezTo>
                <a:cubicBezTo>
                  <a:pt x="162941" y="18415"/>
                  <a:pt x="170815" y="25781"/>
                  <a:pt x="178308" y="35687"/>
                </a:cubicBezTo>
                <a:cubicBezTo>
                  <a:pt x="185547" y="44196"/>
                  <a:pt x="191262" y="54864"/>
                  <a:pt x="195199" y="67818"/>
                </a:cubicBezTo>
                <a:cubicBezTo>
                  <a:pt x="199136" y="80645"/>
                  <a:pt x="201168" y="94488"/>
                  <a:pt x="201168" y="109474"/>
                </a:cubicBezTo>
                <a:cubicBezTo>
                  <a:pt x="201168" y="124460"/>
                  <a:pt x="199136" y="138430"/>
                  <a:pt x="195199" y="151384"/>
                </a:cubicBezTo>
                <a:cubicBezTo>
                  <a:pt x="191262" y="164211"/>
                  <a:pt x="185547" y="174879"/>
                  <a:pt x="178308" y="183388"/>
                </a:cubicBezTo>
                <a:cubicBezTo>
                  <a:pt x="170815" y="193421"/>
                  <a:pt x="162941" y="200787"/>
                  <a:pt x="154686" y="205486"/>
                </a:cubicBezTo>
                <a:cubicBezTo>
                  <a:pt x="146304" y="210185"/>
                  <a:pt x="135763" y="213233"/>
                  <a:pt x="122936" y="214503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52" name="object 352"/>
          <p:cNvSpPr/>
          <p:nvPr/>
        </p:nvSpPr>
        <p:spPr>
          <a:xfrm>
            <a:off x="5113147" y="4308968"/>
            <a:ext cx="9144" cy="29337"/>
          </a:xfrm>
          <a:custGeom>
            <a:avLst/>
            <a:gdLst/>
            <a:ahLst/>
            <a:cxnLst/>
            <a:rect l="l" t="t" r="r" b="b"/>
            <a:pathLst>
              <a:path w="9144" h="29337">
                <a:moveTo>
                  <a:pt x="4572" y="24765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53" name="object 353"/>
          <p:cNvSpPr/>
          <p:nvPr/>
        </p:nvSpPr>
        <p:spPr>
          <a:xfrm>
            <a:off x="5113147" y="4290299"/>
            <a:ext cx="22097" cy="27813"/>
          </a:xfrm>
          <a:custGeom>
            <a:avLst/>
            <a:gdLst/>
            <a:ahLst/>
            <a:cxnLst/>
            <a:rect l="l" t="t" r="r" b="b"/>
            <a:pathLst>
              <a:path w="22097" h="27813">
                <a:moveTo>
                  <a:pt x="4572" y="23241"/>
                </a:moveTo>
                <a:cubicBezTo>
                  <a:pt x="8255" y="21971"/>
                  <a:pt x="10668" y="21082"/>
                  <a:pt x="11557" y="20574"/>
                </a:cubicBezTo>
                <a:cubicBezTo>
                  <a:pt x="12446" y="20066"/>
                  <a:pt x="13843" y="18923"/>
                  <a:pt x="15748" y="17272"/>
                </a:cubicBezTo>
                <a:cubicBezTo>
                  <a:pt x="16891" y="14986"/>
                  <a:pt x="17526" y="10795"/>
                  <a:pt x="17526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54" name="object 354"/>
          <p:cNvSpPr/>
          <p:nvPr/>
        </p:nvSpPr>
        <p:spPr>
          <a:xfrm>
            <a:off x="5126157" y="4158092"/>
            <a:ext cx="9143" cy="141351"/>
          </a:xfrm>
          <a:custGeom>
            <a:avLst/>
            <a:gdLst/>
            <a:ahLst/>
            <a:cxnLst/>
            <a:rect l="l" t="t" r="r" b="b"/>
            <a:pathLst>
              <a:path w="9143" h="141351">
                <a:moveTo>
                  <a:pt x="4572" y="136779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55" name="object 355"/>
          <p:cNvSpPr/>
          <p:nvPr/>
        </p:nvSpPr>
        <p:spPr>
          <a:xfrm>
            <a:off x="4994783" y="4119118"/>
            <a:ext cx="140461" cy="146050"/>
          </a:xfrm>
          <a:custGeom>
            <a:avLst/>
            <a:gdLst/>
            <a:ahLst/>
            <a:cxnLst/>
            <a:rect l="l" t="t" r="r" b="b"/>
            <a:pathLst>
              <a:path w="140461" h="146050">
                <a:moveTo>
                  <a:pt x="135890" y="43434"/>
                </a:moveTo>
                <a:cubicBezTo>
                  <a:pt x="135890" y="37338"/>
                  <a:pt x="134620" y="32766"/>
                  <a:pt x="132207" y="29591"/>
                </a:cubicBezTo>
                <a:cubicBezTo>
                  <a:pt x="131572" y="28702"/>
                  <a:pt x="130810" y="27940"/>
                  <a:pt x="129921" y="27432"/>
                </a:cubicBezTo>
                <a:cubicBezTo>
                  <a:pt x="129032" y="26924"/>
                  <a:pt x="126619" y="26035"/>
                  <a:pt x="122936" y="24892"/>
                </a:cubicBezTo>
                <a:moveTo>
                  <a:pt x="4572" y="141478"/>
                </a:moveTo>
                <a:moveTo>
                  <a:pt x="117729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56" name="object 356"/>
          <p:cNvSpPr/>
          <p:nvPr/>
        </p:nvSpPr>
        <p:spPr>
          <a:xfrm>
            <a:off x="5107940" y="4119123"/>
            <a:ext cx="9144" cy="29337"/>
          </a:xfrm>
          <a:custGeom>
            <a:avLst/>
            <a:gdLst/>
            <a:ahLst/>
            <a:cxnLst/>
            <a:rect l="l" t="t" r="r" b="b"/>
            <a:pathLst>
              <a:path w="9144" h="29337">
                <a:moveTo>
                  <a:pt x="4572" y="4572"/>
                </a:moveTo>
                <a:lnTo>
                  <a:pt x="4572" y="24765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57" name="object 357"/>
          <p:cNvSpPr/>
          <p:nvPr/>
        </p:nvSpPr>
        <p:spPr>
          <a:xfrm>
            <a:off x="5094988" y="4139317"/>
            <a:ext cx="22097" cy="27813"/>
          </a:xfrm>
          <a:custGeom>
            <a:avLst/>
            <a:gdLst/>
            <a:ahLst/>
            <a:cxnLst/>
            <a:rect l="l" t="t" r="r" b="b"/>
            <a:pathLst>
              <a:path w="22097" h="27813">
                <a:moveTo>
                  <a:pt x="17526" y="4572"/>
                </a:moveTo>
                <a:cubicBezTo>
                  <a:pt x="13716" y="5842"/>
                  <a:pt x="11303" y="6731"/>
                  <a:pt x="10414" y="7239"/>
                </a:cubicBezTo>
                <a:cubicBezTo>
                  <a:pt x="9525" y="7747"/>
                  <a:pt x="8128" y="8890"/>
                  <a:pt x="6096" y="10541"/>
                </a:cubicBezTo>
                <a:cubicBezTo>
                  <a:pt x="5080" y="12827"/>
                  <a:pt x="4572" y="17018"/>
                  <a:pt x="4572" y="23241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58" name="object 358"/>
          <p:cNvSpPr/>
          <p:nvPr/>
        </p:nvSpPr>
        <p:spPr>
          <a:xfrm>
            <a:off x="5095042" y="4158092"/>
            <a:ext cx="9143" cy="141351"/>
          </a:xfrm>
          <a:custGeom>
            <a:avLst/>
            <a:gdLst/>
            <a:ahLst/>
            <a:cxnLst/>
            <a:rect l="l" t="t" r="r" b="b"/>
            <a:pathLst>
              <a:path w="9143" h="141351">
                <a:moveTo>
                  <a:pt x="4572" y="4572"/>
                </a:moveTo>
                <a:lnTo>
                  <a:pt x="4572" y="136779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59" name="object 359"/>
          <p:cNvSpPr/>
          <p:nvPr/>
        </p:nvSpPr>
        <p:spPr>
          <a:xfrm>
            <a:off x="5094988" y="4290299"/>
            <a:ext cx="22097" cy="27813"/>
          </a:xfrm>
          <a:custGeom>
            <a:avLst/>
            <a:gdLst/>
            <a:ahLst/>
            <a:cxnLst/>
            <a:rect l="l" t="t" r="r" b="b"/>
            <a:pathLst>
              <a:path w="22097" h="27813">
                <a:moveTo>
                  <a:pt x="4572" y="4572"/>
                </a:moveTo>
                <a:cubicBezTo>
                  <a:pt x="4572" y="10795"/>
                  <a:pt x="5715" y="15367"/>
                  <a:pt x="8128" y="18415"/>
                </a:cubicBezTo>
                <a:cubicBezTo>
                  <a:pt x="8763" y="19431"/>
                  <a:pt x="9525" y="20193"/>
                  <a:pt x="10414" y="20701"/>
                </a:cubicBezTo>
                <a:cubicBezTo>
                  <a:pt x="11303" y="21209"/>
                  <a:pt x="13716" y="21971"/>
                  <a:pt x="17526" y="23241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60" name="object 360"/>
          <p:cNvSpPr/>
          <p:nvPr/>
        </p:nvSpPr>
        <p:spPr>
          <a:xfrm>
            <a:off x="5107940" y="4308968"/>
            <a:ext cx="9144" cy="29337"/>
          </a:xfrm>
          <a:custGeom>
            <a:avLst/>
            <a:gdLst/>
            <a:ahLst/>
            <a:cxnLst/>
            <a:rect l="l" t="t" r="r" b="b"/>
            <a:pathLst>
              <a:path w="9144" h="29337">
                <a:moveTo>
                  <a:pt x="4572" y="4572"/>
                </a:moveTo>
                <a:lnTo>
                  <a:pt x="4572" y="24765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61" name="object 361"/>
          <p:cNvSpPr/>
          <p:nvPr/>
        </p:nvSpPr>
        <p:spPr>
          <a:xfrm>
            <a:off x="4994783" y="4118991"/>
            <a:ext cx="544067" cy="219202"/>
          </a:xfrm>
          <a:custGeom>
            <a:avLst/>
            <a:gdLst/>
            <a:ahLst/>
            <a:cxnLst/>
            <a:rect l="l" t="t" r="r" b="b"/>
            <a:pathLst>
              <a:path w="544067" h="219202">
                <a:moveTo>
                  <a:pt x="117729" y="214630"/>
                </a:moveTo>
                <a:cubicBezTo>
                  <a:pt x="104775" y="213360"/>
                  <a:pt x="94107" y="210312"/>
                  <a:pt x="85852" y="205613"/>
                </a:cubicBezTo>
                <a:cubicBezTo>
                  <a:pt x="77597" y="200914"/>
                  <a:pt x="69723" y="193675"/>
                  <a:pt x="62357" y="183896"/>
                </a:cubicBezTo>
                <a:cubicBezTo>
                  <a:pt x="54991" y="175133"/>
                  <a:pt x="49403" y="164465"/>
                  <a:pt x="45339" y="151638"/>
                </a:cubicBezTo>
                <a:cubicBezTo>
                  <a:pt x="41402" y="138811"/>
                  <a:pt x="39370" y="124714"/>
                  <a:pt x="39370" y="109601"/>
                </a:cubicBezTo>
                <a:cubicBezTo>
                  <a:pt x="39370" y="94488"/>
                  <a:pt x="41402" y="80645"/>
                  <a:pt x="45339" y="67818"/>
                </a:cubicBezTo>
                <a:cubicBezTo>
                  <a:pt x="49403" y="54991"/>
                  <a:pt x="54991" y="44196"/>
                  <a:pt x="62357" y="35560"/>
                </a:cubicBezTo>
                <a:cubicBezTo>
                  <a:pt x="69723" y="25781"/>
                  <a:pt x="77597" y="18415"/>
                  <a:pt x="85852" y="13716"/>
                </a:cubicBezTo>
                <a:cubicBezTo>
                  <a:pt x="94107" y="9017"/>
                  <a:pt x="104775" y="5969"/>
                  <a:pt x="117729" y="4699"/>
                </a:cubicBezTo>
                <a:moveTo>
                  <a:pt x="4572" y="141605"/>
                </a:moveTo>
                <a:moveTo>
                  <a:pt x="466852" y="4572"/>
                </a:moveTo>
                <a:cubicBezTo>
                  <a:pt x="470281" y="4572"/>
                  <a:pt x="473583" y="4826"/>
                  <a:pt x="476504" y="5334"/>
                </a:cubicBezTo>
                <a:cubicBezTo>
                  <a:pt x="479552" y="5969"/>
                  <a:pt x="482981" y="6985"/>
                  <a:pt x="486918" y="8509"/>
                </a:cubicBezTo>
                <a:cubicBezTo>
                  <a:pt x="496189" y="11176"/>
                  <a:pt x="502285" y="12954"/>
                  <a:pt x="505079" y="14097"/>
                </a:cubicBezTo>
                <a:cubicBezTo>
                  <a:pt x="510667" y="16256"/>
                  <a:pt x="515112" y="17399"/>
                  <a:pt x="518287" y="17526"/>
                </a:cubicBezTo>
                <a:cubicBezTo>
                  <a:pt x="519557" y="17653"/>
                  <a:pt x="520954" y="16764"/>
                  <a:pt x="522478" y="15113"/>
                </a:cubicBezTo>
                <a:lnTo>
                  <a:pt x="524383" y="12573"/>
                </a:lnTo>
                <a:cubicBezTo>
                  <a:pt x="526415" y="10287"/>
                  <a:pt x="528701" y="9017"/>
                  <a:pt x="531114" y="9017"/>
                </a:cubicBezTo>
                <a:cubicBezTo>
                  <a:pt x="533400" y="9017"/>
                  <a:pt x="535432" y="9906"/>
                  <a:pt x="537083" y="11684"/>
                </a:cubicBezTo>
                <a:cubicBezTo>
                  <a:pt x="538734" y="13462"/>
                  <a:pt x="539496" y="15367"/>
                  <a:pt x="539496" y="17653"/>
                </a:cubicBezTo>
                <a:cubicBezTo>
                  <a:pt x="539496" y="20701"/>
                  <a:pt x="538607" y="24765"/>
                  <a:pt x="536829" y="29845"/>
                </a:cubicBezTo>
                <a:cubicBezTo>
                  <a:pt x="534924" y="34925"/>
                  <a:pt x="531368" y="40132"/>
                  <a:pt x="526161" y="45466"/>
                </a:cubicBezTo>
                <a:cubicBezTo>
                  <a:pt x="524637" y="51816"/>
                  <a:pt x="520573" y="56769"/>
                  <a:pt x="514223" y="60198"/>
                </a:cubicBezTo>
                <a:cubicBezTo>
                  <a:pt x="507873" y="63627"/>
                  <a:pt x="500126" y="65278"/>
                  <a:pt x="490982" y="65278"/>
                </a:cubicBezTo>
                <a:cubicBezTo>
                  <a:pt x="486918" y="65278"/>
                  <a:pt x="483616" y="65024"/>
                  <a:pt x="480822" y="64643"/>
                </a:cubicBezTo>
                <a:cubicBezTo>
                  <a:pt x="478155" y="64135"/>
                  <a:pt x="470408" y="62357"/>
                  <a:pt x="457454" y="59309"/>
                </a:cubicBezTo>
                <a:cubicBezTo>
                  <a:pt x="445262" y="56388"/>
                  <a:pt x="436626" y="54864"/>
                  <a:pt x="431673" y="54864"/>
                </a:cubicBezTo>
                <a:cubicBezTo>
                  <a:pt x="427863" y="54864"/>
                  <a:pt x="425069" y="56007"/>
                  <a:pt x="423291" y="58420"/>
                </a:cubicBezTo>
                <a:cubicBezTo>
                  <a:pt x="421513" y="60706"/>
                  <a:pt x="420624" y="64770"/>
                  <a:pt x="420624" y="70485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62" name="object 362"/>
          <p:cNvSpPr/>
          <p:nvPr/>
        </p:nvSpPr>
        <p:spPr>
          <a:xfrm>
            <a:off x="5393436" y="4184904"/>
            <a:ext cx="26542" cy="15240"/>
          </a:xfrm>
          <a:custGeom>
            <a:avLst/>
            <a:gdLst/>
            <a:ahLst/>
            <a:cxnLst/>
            <a:rect l="l" t="t" r="r" b="b"/>
            <a:pathLst>
              <a:path w="26542" h="15240">
                <a:moveTo>
                  <a:pt x="21971" y="4572"/>
                </a:moveTo>
                <a:lnTo>
                  <a:pt x="21971" y="10668"/>
                </a:lnTo>
                <a:lnTo>
                  <a:pt x="4572" y="10668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63" name="object 363"/>
          <p:cNvSpPr/>
          <p:nvPr/>
        </p:nvSpPr>
        <p:spPr>
          <a:xfrm>
            <a:off x="5393492" y="4122928"/>
            <a:ext cx="18795" cy="77216"/>
          </a:xfrm>
          <a:custGeom>
            <a:avLst/>
            <a:gdLst/>
            <a:ahLst/>
            <a:cxnLst/>
            <a:rect l="l" t="t" r="r" b="b"/>
            <a:pathLst>
              <a:path w="18795" h="77216">
                <a:moveTo>
                  <a:pt x="4572" y="72644"/>
                </a:moveTo>
                <a:lnTo>
                  <a:pt x="14224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64" name="object 364"/>
          <p:cNvSpPr/>
          <p:nvPr/>
        </p:nvSpPr>
        <p:spPr>
          <a:xfrm>
            <a:off x="5403088" y="4122928"/>
            <a:ext cx="25654" cy="9144"/>
          </a:xfrm>
          <a:custGeom>
            <a:avLst/>
            <a:gdLst/>
            <a:ahLst/>
            <a:cxnLst/>
            <a:rect l="l" t="t" r="r" b="b"/>
            <a:pathLst>
              <a:path w="25654" h="9144">
                <a:moveTo>
                  <a:pt x="4572" y="4572"/>
                </a:moveTo>
                <a:lnTo>
                  <a:pt x="2108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65" name="object 365"/>
          <p:cNvSpPr/>
          <p:nvPr/>
        </p:nvSpPr>
        <p:spPr>
          <a:xfrm>
            <a:off x="4874951" y="4118991"/>
            <a:ext cx="591311" cy="160020"/>
          </a:xfrm>
          <a:custGeom>
            <a:avLst/>
            <a:gdLst/>
            <a:ahLst/>
            <a:cxnLst/>
            <a:rect l="l" t="t" r="r" b="b"/>
            <a:pathLst>
              <a:path w="591311" h="160020">
                <a:moveTo>
                  <a:pt x="549275" y="8509"/>
                </a:moveTo>
                <a:lnTo>
                  <a:pt x="547116" y="25400"/>
                </a:lnTo>
                <a:cubicBezTo>
                  <a:pt x="551434" y="18415"/>
                  <a:pt x="557149" y="13081"/>
                  <a:pt x="564007" y="9779"/>
                </a:cubicBezTo>
                <a:cubicBezTo>
                  <a:pt x="570992" y="6350"/>
                  <a:pt x="578485" y="4572"/>
                  <a:pt x="586740" y="4572"/>
                </a:cubicBezTo>
                <a:moveTo>
                  <a:pt x="124460" y="141605"/>
                </a:moveTo>
                <a:moveTo>
                  <a:pt x="61595" y="4572"/>
                </a:moveTo>
                <a:cubicBezTo>
                  <a:pt x="69977" y="4572"/>
                  <a:pt x="78994" y="6350"/>
                  <a:pt x="88519" y="9779"/>
                </a:cubicBezTo>
                <a:cubicBezTo>
                  <a:pt x="98044" y="13335"/>
                  <a:pt x="106045" y="18161"/>
                  <a:pt x="112522" y="24511"/>
                </a:cubicBezTo>
                <a:cubicBezTo>
                  <a:pt x="123444" y="35052"/>
                  <a:pt x="128905" y="48514"/>
                  <a:pt x="128905" y="64516"/>
                </a:cubicBezTo>
                <a:cubicBezTo>
                  <a:pt x="128905" y="78232"/>
                  <a:pt x="124841" y="90424"/>
                  <a:pt x="116840" y="101092"/>
                </a:cubicBezTo>
                <a:cubicBezTo>
                  <a:pt x="108712" y="111760"/>
                  <a:pt x="97282" y="120142"/>
                  <a:pt x="82423" y="126111"/>
                </a:cubicBezTo>
                <a:lnTo>
                  <a:pt x="63373" y="133731"/>
                </a:lnTo>
                <a:cubicBezTo>
                  <a:pt x="58039" y="135890"/>
                  <a:pt x="50038" y="139827"/>
                  <a:pt x="39243" y="145542"/>
                </a:cubicBezTo>
                <a:lnTo>
                  <a:pt x="35306" y="148082"/>
                </a:lnTo>
                <a:cubicBezTo>
                  <a:pt x="31115" y="148082"/>
                  <a:pt x="27305" y="148463"/>
                  <a:pt x="23876" y="149479"/>
                </a:cubicBezTo>
                <a:cubicBezTo>
                  <a:pt x="20574" y="150495"/>
                  <a:pt x="14097" y="152400"/>
                  <a:pt x="4572" y="155448"/>
                </a:cubicBezTo>
                <a:cubicBezTo>
                  <a:pt x="8509" y="147447"/>
                  <a:pt x="12319" y="141732"/>
                  <a:pt x="16002" y="138303"/>
                </a:cubicBezTo>
                <a:cubicBezTo>
                  <a:pt x="19558" y="134874"/>
                  <a:pt x="25019" y="130302"/>
                  <a:pt x="32258" y="124587"/>
                </a:cubicBezTo>
                <a:cubicBezTo>
                  <a:pt x="41275" y="117602"/>
                  <a:pt x="47244" y="112649"/>
                  <a:pt x="50292" y="109601"/>
                </a:cubicBezTo>
                <a:cubicBezTo>
                  <a:pt x="53340" y="106553"/>
                  <a:pt x="56261" y="102489"/>
                  <a:pt x="59055" y="97536"/>
                </a:cubicBezTo>
                <a:cubicBezTo>
                  <a:pt x="60452" y="94742"/>
                  <a:pt x="61595" y="90424"/>
                  <a:pt x="62611" y="84836"/>
                </a:cubicBezTo>
                <a:cubicBezTo>
                  <a:pt x="63627" y="79121"/>
                  <a:pt x="64008" y="72009"/>
                  <a:pt x="64008" y="63500"/>
                </a:cubicBezTo>
                <a:cubicBezTo>
                  <a:pt x="64008" y="48514"/>
                  <a:pt x="62865" y="38354"/>
                  <a:pt x="60325" y="33274"/>
                </a:cubicBezTo>
                <a:cubicBezTo>
                  <a:pt x="59436" y="31496"/>
                  <a:pt x="58420" y="30099"/>
                  <a:pt x="57404" y="29210"/>
                </a:cubicBezTo>
                <a:cubicBezTo>
                  <a:pt x="56388" y="28194"/>
                  <a:pt x="54483" y="26924"/>
                  <a:pt x="51562" y="25273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66" name="object 366"/>
          <p:cNvSpPr/>
          <p:nvPr/>
        </p:nvSpPr>
        <p:spPr>
          <a:xfrm>
            <a:off x="4921885" y="4119118"/>
            <a:ext cx="9144" cy="29718"/>
          </a:xfrm>
          <a:custGeom>
            <a:avLst/>
            <a:gdLst/>
            <a:ahLst/>
            <a:cxnLst/>
            <a:rect l="l" t="t" r="r" b="b"/>
            <a:pathLst>
              <a:path w="9144" h="29718">
                <a:moveTo>
                  <a:pt x="4572" y="25146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67" name="object 367"/>
          <p:cNvSpPr/>
          <p:nvPr/>
        </p:nvSpPr>
        <p:spPr>
          <a:xfrm>
            <a:off x="4921892" y="4119118"/>
            <a:ext cx="82041" cy="146050"/>
          </a:xfrm>
          <a:custGeom>
            <a:avLst/>
            <a:gdLst/>
            <a:ahLst/>
            <a:cxnLst/>
            <a:rect l="l" t="t" r="r" b="b"/>
            <a:pathLst>
              <a:path w="82041" h="146050">
                <a:moveTo>
                  <a:pt x="4572" y="4572"/>
                </a:moveTo>
                <a:moveTo>
                  <a:pt x="77470" y="141478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68" name="object 368"/>
          <p:cNvSpPr/>
          <p:nvPr/>
        </p:nvSpPr>
        <p:spPr>
          <a:xfrm>
            <a:off x="6443980" y="4097909"/>
            <a:ext cx="1066038" cy="156972"/>
          </a:xfrm>
          <a:custGeom>
            <a:avLst/>
            <a:gdLst/>
            <a:ahLst/>
            <a:cxnLst/>
            <a:rect l="l" t="t" r="r" b="b"/>
            <a:pathLst>
              <a:path w="1066038" h="156972">
                <a:moveTo>
                  <a:pt x="459994" y="101854"/>
                </a:moveTo>
                <a:cubicBezTo>
                  <a:pt x="455168" y="102235"/>
                  <a:pt x="449961" y="102870"/>
                  <a:pt x="444373" y="103505"/>
                </a:cubicBezTo>
                <a:cubicBezTo>
                  <a:pt x="438785" y="104140"/>
                  <a:pt x="434467" y="105029"/>
                  <a:pt x="431673" y="105918"/>
                </a:cubicBezTo>
                <a:cubicBezTo>
                  <a:pt x="428117" y="107061"/>
                  <a:pt x="425323" y="108712"/>
                  <a:pt x="423418" y="110871"/>
                </a:cubicBezTo>
                <a:cubicBezTo>
                  <a:pt x="421513" y="112903"/>
                  <a:pt x="420624" y="115824"/>
                  <a:pt x="420624" y="119253"/>
                </a:cubicBezTo>
                <a:cubicBezTo>
                  <a:pt x="420624" y="121539"/>
                  <a:pt x="420877" y="123444"/>
                  <a:pt x="421259" y="124841"/>
                </a:cubicBezTo>
                <a:cubicBezTo>
                  <a:pt x="421639" y="126365"/>
                  <a:pt x="422656" y="127762"/>
                  <a:pt x="424180" y="129032"/>
                </a:cubicBezTo>
                <a:cubicBezTo>
                  <a:pt x="425704" y="130302"/>
                  <a:pt x="427482" y="131318"/>
                  <a:pt x="429641" y="131953"/>
                </a:cubicBezTo>
                <a:cubicBezTo>
                  <a:pt x="431800" y="132588"/>
                  <a:pt x="435101" y="132842"/>
                  <a:pt x="439547" y="132842"/>
                </a:cubicBezTo>
                <a:cubicBezTo>
                  <a:pt x="443102" y="132842"/>
                  <a:pt x="446659" y="132080"/>
                  <a:pt x="450342" y="130683"/>
                </a:cubicBezTo>
                <a:cubicBezTo>
                  <a:pt x="454025" y="129286"/>
                  <a:pt x="457200" y="127381"/>
                  <a:pt x="459994" y="124968"/>
                </a:cubicBezTo>
                <a:close/>
                <a:moveTo>
                  <a:pt x="1008761" y="61722"/>
                </a:moveTo>
                <a:cubicBezTo>
                  <a:pt x="1001902" y="61722"/>
                  <a:pt x="996314" y="63500"/>
                  <a:pt x="991870" y="67056"/>
                </a:cubicBezTo>
                <a:cubicBezTo>
                  <a:pt x="987425" y="70612"/>
                  <a:pt x="984885" y="76327"/>
                  <a:pt x="984376" y="84201"/>
                </a:cubicBezTo>
                <a:lnTo>
                  <a:pt x="1030605" y="84201"/>
                </a:lnTo>
                <a:cubicBezTo>
                  <a:pt x="1030477" y="76708"/>
                  <a:pt x="1028573" y="71120"/>
                  <a:pt x="1025144" y="67310"/>
                </a:cubicBezTo>
                <a:cubicBezTo>
                  <a:pt x="1021588" y="63627"/>
                  <a:pt x="1016126" y="61722"/>
                  <a:pt x="1008761" y="61722"/>
                </a:cubicBezTo>
                <a:close/>
                <a:moveTo>
                  <a:pt x="242188" y="61722"/>
                </a:moveTo>
                <a:cubicBezTo>
                  <a:pt x="235331" y="61722"/>
                  <a:pt x="229743" y="63500"/>
                  <a:pt x="225298" y="67056"/>
                </a:cubicBezTo>
                <a:cubicBezTo>
                  <a:pt x="220852" y="70612"/>
                  <a:pt x="218313" y="76327"/>
                  <a:pt x="217805" y="84201"/>
                </a:cubicBezTo>
                <a:lnTo>
                  <a:pt x="264033" y="84201"/>
                </a:lnTo>
                <a:cubicBezTo>
                  <a:pt x="263906" y="76708"/>
                  <a:pt x="262001" y="71120"/>
                  <a:pt x="258572" y="67310"/>
                </a:cubicBezTo>
                <a:cubicBezTo>
                  <a:pt x="255016" y="63627"/>
                  <a:pt x="249555" y="61722"/>
                  <a:pt x="242188" y="61722"/>
                </a:cubicBezTo>
                <a:close/>
                <a:moveTo>
                  <a:pt x="743204" y="42926"/>
                </a:moveTo>
                <a:lnTo>
                  <a:pt x="779018" y="42926"/>
                </a:lnTo>
                <a:lnTo>
                  <a:pt x="779018" y="154051"/>
                </a:lnTo>
                <a:lnTo>
                  <a:pt x="743204" y="154051"/>
                </a:lnTo>
                <a:close/>
                <a:moveTo>
                  <a:pt x="885189" y="39878"/>
                </a:moveTo>
                <a:cubicBezTo>
                  <a:pt x="897255" y="39878"/>
                  <a:pt x="906526" y="43307"/>
                  <a:pt x="913384" y="50292"/>
                </a:cubicBezTo>
                <a:cubicBezTo>
                  <a:pt x="920114" y="57277"/>
                  <a:pt x="923417" y="67818"/>
                  <a:pt x="923417" y="81661"/>
                </a:cubicBezTo>
                <a:lnTo>
                  <a:pt x="923417" y="154051"/>
                </a:lnTo>
                <a:lnTo>
                  <a:pt x="887730" y="154051"/>
                </a:lnTo>
                <a:lnTo>
                  <a:pt x="887730" y="98933"/>
                </a:lnTo>
                <a:cubicBezTo>
                  <a:pt x="887730" y="94488"/>
                  <a:pt x="887476" y="89916"/>
                  <a:pt x="887095" y="85471"/>
                </a:cubicBezTo>
                <a:cubicBezTo>
                  <a:pt x="886587" y="81026"/>
                  <a:pt x="885825" y="77724"/>
                  <a:pt x="884682" y="75692"/>
                </a:cubicBezTo>
                <a:cubicBezTo>
                  <a:pt x="883285" y="73279"/>
                  <a:pt x="881380" y="71374"/>
                  <a:pt x="878839" y="70358"/>
                </a:cubicBezTo>
                <a:cubicBezTo>
                  <a:pt x="876300" y="69215"/>
                  <a:pt x="872744" y="68580"/>
                  <a:pt x="868299" y="68580"/>
                </a:cubicBezTo>
                <a:cubicBezTo>
                  <a:pt x="864997" y="68580"/>
                  <a:pt x="861695" y="69215"/>
                  <a:pt x="858393" y="70231"/>
                </a:cubicBezTo>
                <a:cubicBezTo>
                  <a:pt x="855091" y="71247"/>
                  <a:pt x="851408" y="72898"/>
                  <a:pt x="847598" y="75311"/>
                </a:cubicBezTo>
                <a:lnTo>
                  <a:pt x="847598" y="154051"/>
                </a:lnTo>
                <a:lnTo>
                  <a:pt x="811784" y="154051"/>
                </a:lnTo>
                <a:lnTo>
                  <a:pt x="811784" y="42926"/>
                </a:lnTo>
                <a:lnTo>
                  <a:pt x="847598" y="42926"/>
                </a:lnTo>
                <a:lnTo>
                  <a:pt x="847598" y="55118"/>
                </a:lnTo>
                <a:cubicBezTo>
                  <a:pt x="853821" y="50165"/>
                  <a:pt x="859917" y="46482"/>
                  <a:pt x="865759" y="43815"/>
                </a:cubicBezTo>
                <a:cubicBezTo>
                  <a:pt x="871601" y="41148"/>
                  <a:pt x="878077" y="39878"/>
                  <a:pt x="885189" y="39878"/>
                </a:cubicBezTo>
                <a:close/>
                <a:moveTo>
                  <a:pt x="600201" y="39878"/>
                </a:moveTo>
                <a:cubicBezTo>
                  <a:pt x="607441" y="39878"/>
                  <a:pt x="613918" y="41402"/>
                  <a:pt x="619506" y="44704"/>
                </a:cubicBezTo>
                <a:cubicBezTo>
                  <a:pt x="625094" y="48006"/>
                  <a:pt x="629538" y="52832"/>
                  <a:pt x="632713" y="59182"/>
                </a:cubicBezTo>
                <a:cubicBezTo>
                  <a:pt x="639826" y="53086"/>
                  <a:pt x="646684" y="48387"/>
                  <a:pt x="653414" y="44958"/>
                </a:cubicBezTo>
                <a:cubicBezTo>
                  <a:pt x="660146" y="41529"/>
                  <a:pt x="666750" y="39878"/>
                  <a:pt x="673226" y="39878"/>
                </a:cubicBezTo>
                <a:cubicBezTo>
                  <a:pt x="685164" y="39878"/>
                  <a:pt x="694309" y="43434"/>
                  <a:pt x="700532" y="50673"/>
                </a:cubicBezTo>
                <a:cubicBezTo>
                  <a:pt x="706755" y="57785"/>
                  <a:pt x="709930" y="68199"/>
                  <a:pt x="709930" y="81661"/>
                </a:cubicBezTo>
                <a:lnTo>
                  <a:pt x="709930" y="154051"/>
                </a:lnTo>
                <a:lnTo>
                  <a:pt x="674116" y="154051"/>
                </a:lnTo>
                <a:lnTo>
                  <a:pt x="674116" y="98552"/>
                </a:lnTo>
                <a:cubicBezTo>
                  <a:pt x="674116" y="93091"/>
                  <a:pt x="673988" y="88392"/>
                  <a:pt x="673735" y="84709"/>
                </a:cubicBezTo>
                <a:cubicBezTo>
                  <a:pt x="673608" y="80899"/>
                  <a:pt x="672846" y="77851"/>
                  <a:pt x="671702" y="75438"/>
                </a:cubicBezTo>
                <a:cubicBezTo>
                  <a:pt x="670560" y="73025"/>
                  <a:pt x="668782" y="71374"/>
                  <a:pt x="666369" y="70231"/>
                </a:cubicBezTo>
                <a:cubicBezTo>
                  <a:pt x="663829" y="69215"/>
                  <a:pt x="660400" y="68580"/>
                  <a:pt x="656082" y="68580"/>
                </a:cubicBezTo>
                <a:cubicBezTo>
                  <a:pt x="653034" y="68580"/>
                  <a:pt x="650113" y="69088"/>
                  <a:pt x="647319" y="70104"/>
                </a:cubicBezTo>
                <a:cubicBezTo>
                  <a:pt x="644525" y="71247"/>
                  <a:pt x="640969" y="72898"/>
                  <a:pt x="636905" y="75311"/>
                </a:cubicBezTo>
                <a:lnTo>
                  <a:pt x="636905" y="154051"/>
                </a:lnTo>
                <a:lnTo>
                  <a:pt x="601218" y="154051"/>
                </a:lnTo>
                <a:lnTo>
                  <a:pt x="601218" y="98552"/>
                </a:lnTo>
                <a:cubicBezTo>
                  <a:pt x="601218" y="93091"/>
                  <a:pt x="601091" y="88519"/>
                  <a:pt x="600837" y="84709"/>
                </a:cubicBezTo>
                <a:cubicBezTo>
                  <a:pt x="600583" y="80899"/>
                  <a:pt x="599821" y="77851"/>
                  <a:pt x="598677" y="75438"/>
                </a:cubicBezTo>
                <a:cubicBezTo>
                  <a:pt x="597408" y="73025"/>
                  <a:pt x="595630" y="71374"/>
                  <a:pt x="593217" y="70231"/>
                </a:cubicBezTo>
                <a:cubicBezTo>
                  <a:pt x="590804" y="69215"/>
                  <a:pt x="587501" y="68580"/>
                  <a:pt x="583057" y="68580"/>
                </a:cubicBezTo>
                <a:cubicBezTo>
                  <a:pt x="579627" y="68580"/>
                  <a:pt x="576199" y="69342"/>
                  <a:pt x="572897" y="70739"/>
                </a:cubicBezTo>
                <a:cubicBezTo>
                  <a:pt x="569595" y="72136"/>
                  <a:pt x="566674" y="73660"/>
                  <a:pt x="564007" y="75311"/>
                </a:cubicBezTo>
                <a:lnTo>
                  <a:pt x="564007" y="154051"/>
                </a:lnTo>
                <a:lnTo>
                  <a:pt x="528320" y="154051"/>
                </a:lnTo>
                <a:lnTo>
                  <a:pt x="528320" y="42926"/>
                </a:lnTo>
                <a:lnTo>
                  <a:pt x="564007" y="42926"/>
                </a:lnTo>
                <a:lnTo>
                  <a:pt x="564007" y="55118"/>
                </a:lnTo>
                <a:cubicBezTo>
                  <a:pt x="570102" y="50292"/>
                  <a:pt x="575945" y="46609"/>
                  <a:pt x="581533" y="43942"/>
                </a:cubicBezTo>
                <a:cubicBezTo>
                  <a:pt x="587121" y="41148"/>
                  <a:pt x="593344" y="39878"/>
                  <a:pt x="600201" y="39878"/>
                </a:cubicBezTo>
                <a:close/>
                <a:moveTo>
                  <a:pt x="437896" y="39751"/>
                </a:moveTo>
                <a:cubicBezTo>
                  <a:pt x="458216" y="39751"/>
                  <a:pt x="472821" y="42799"/>
                  <a:pt x="481838" y="49022"/>
                </a:cubicBezTo>
                <a:cubicBezTo>
                  <a:pt x="490855" y="55372"/>
                  <a:pt x="495300" y="65151"/>
                  <a:pt x="495300" y="78486"/>
                </a:cubicBezTo>
                <a:lnTo>
                  <a:pt x="495300" y="154051"/>
                </a:lnTo>
                <a:lnTo>
                  <a:pt x="459994" y="154051"/>
                </a:lnTo>
                <a:lnTo>
                  <a:pt x="459994" y="142240"/>
                </a:lnTo>
                <a:cubicBezTo>
                  <a:pt x="458088" y="143764"/>
                  <a:pt x="455676" y="145415"/>
                  <a:pt x="452882" y="147447"/>
                </a:cubicBezTo>
                <a:cubicBezTo>
                  <a:pt x="450088" y="149606"/>
                  <a:pt x="447421" y="151130"/>
                  <a:pt x="444881" y="152400"/>
                </a:cubicBezTo>
                <a:cubicBezTo>
                  <a:pt x="441325" y="153924"/>
                  <a:pt x="437769" y="155067"/>
                  <a:pt x="433959" y="155829"/>
                </a:cubicBezTo>
                <a:cubicBezTo>
                  <a:pt x="430276" y="156591"/>
                  <a:pt x="426085" y="156972"/>
                  <a:pt x="421639" y="156972"/>
                </a:cubicBezTo>
                <a:cubicBezTo>
                  <a:pt x="411099" y="156972"/>
                  <a:pt x="402209" y="153797"/>
                  <a:pt x="395097" y="147193"/>
                </a:cubicBezTo>
                <a:cubicBezTo>
                  <a:pt x="387985" y="140716"/>
                  <a:pt x="384429" y="132334"/>
                  <a:pt x="384429" y="122174"/>
                </a:cubicBezTo>
                <a:cubicBezTo>
                  <a:pt x="384429" y="114046"/>
                  <a:pt x="386207" y="107442"/>
                  <a:pt x="389889" y="102235"/>
                </a:cubicBezTo>
                <a:cubicBezTo>
                  <a:pt x="393446" y="97155"/>
                  <a:pt x="398652" y="93091"/>
                  <a:pt x="405257" y="90170"/>
                </a:cubicBezTo>
                <a:cubicBezTo>
                  <a:pt x="411861" y="87122"/>
                  <a:pt x="420116" y="84963"/>
                  <a:pt x="429895" y="83820"/>
                </a:cubicBezTo>
                <a:cubicBezTo>
                  <a:pt x="439547" y="82550"/>
                  <a:pt x="449707" y="81534"/>
                  <a:pt x="460248" y="81026"/>
                </a:cubicBezTo>
                <a:lnTo>
                  <a:pt x="460248" y="80391"/>
                </a:lnTo>
                <a:cubicBezTo>
                  <a:pt x="460248" y="74295"/>
                  <a:pt x="457708" y="69977"/>
                  <a:pt x="452755" y="67691"/>
                </a:cubicBezTo>
                <a:cubicBezTo>
                  <a:pt x="447675" y="65405"/>
                  <a:pt x="440309" y="64135"/>
                  <a:pt x="430530" y="64135"/>
                </a:cubicBezTo>
                <a:cubicBezTo>
                  <a:pt x="424688" y="64135"/>
                  <a:pt x="418338" y="65278"/>
                  <a:pt x="411734" y="67310"/>
                </a:cubicBezTo>
                <a:cubicBezTo>
                  <a:pt x="405002" y="69342"/>
                  <a:pt x="400304" y="70993"/>
                  <a:pt x="397383" y="72136"/>
                </a:cubicBezTo>
                <a:lnTo>
                  <a:pt x="394081" y="72136"/>
                </a:lnTo>
                <a:lnTo>
                  <a:pt x="394081" y="45212"/>
                </a:lnTo>
                <a:cubicBezTo>
                  <a:pt x="397891" y="44323"/>
                  <a:pt x="403987" y="43053"/>
                  <a:pt x="412496" y="41783"/>
                </a:cubicBezTo>
                <a:cubicBezTo>
                  <a:pt x="421005" y="40386"/>
                  <a:pt x="429387" y="39751"/>
                  <a:pt x="437896" y="39751"/>
                </a:cubicBezTo>
                <a:close/>
                <a:moveTo>
                  <a:pt x="1011682" y="39497"/>
                </a:moveTo>
                <a:cubicBezTo>
                  <a:pt x="1029716" y="39497"/>
                  <a:pt x="1043305" y="43942"/>
                  <a:pt x="1052449" y="53086"/>
                </a:cubicBezTo>
                <a:cubicBezTo>
                  <a:pt x="1061466" y="62230"/>
                  <a:pt x="1066038" y="75438"/>
                  <a:pt x="1066038" y="92583"/>
                </a:cubicBezTo>
                <a:lnTo>
                  <a:pt x="1066038" y="105029"/>
                </a:lnTo>
                <a:lnTo>
                  <a:pt x="984504" y="105029"/>
                </a:lnTo>
                <a:cubicBezTo>
                  <a:pt x="985012" y="113792"/>
                  <a:pt x="988313" y="120396"/>
                  <a:pt x="994410" y="125095"/>
                </a:cubicBezTo>
                <a:cubicBezTo>
                  <a:pt x="1000506" y="129667"/>
                  <a:pt x="1009523" y="131953"/>
                  <a:pt x="1021461" y="131953"/>
                </a:cubicBezTo>
                <a:cubicBezTo>
                  <a:pt x="1028954" y="131953"/>
                  <a:pt x="1036193" y="130556"/>
                  <a:pt x="1043305" y="127889"/>
                </a:cubicBezTo>
                <a:cubicBezTo>
                  <a:pt x="1050417" y="125222"/>
                  <a:pt x="1055877" y="122301"/>
                  <a:pt x="1060069" y="119253"/>
                </a:cubicBezTo>
                <a:lnTo>
                  <a:pt x="1064006" y="119253"/>
                </a:lnTo>
                <a:lnTo>
                  <a:pt x="1064006" y="147828"/>
                </a:lnTo>
                <a:cubicBezTo>
                  <a:pt x="1055877" y="151003"/>
                  <a:pt x="1048385" y="153416"/>
                  <a:pt x="1041273" y="154813"/>
                </a:cubicBezTo>
                <a:cubicBezTo>
                  <a:pt x="1034034" y="156337"/>
                  <a:pt x="1026160" y="156972"/>
                  <a:pt x="1017524" y="156972"/>
                </a:cubicBezTo>
                <a:cubicBezTo>
                  <a:pt x="995299" y="156972"/>
                  <a:pt x="978154" y="152019"/>
                  <a:pt x="966343" y="141986"/>
                </a:cubicBezTo>
                <a:cubicBezTo>
                  <a:pt x="954405" y="131953"/>
                  <a:pt x="948436" y="117602"/>
                  <a:pt x="948436" y="99060"/>
                </a:cubicBezTo>
                <a:cubicBezTo>
                  <a:pt x="948436" y="80772"/>
                  <a:pt x="954151" y="66294"/>
                  <a:pt x="965326" y="55499"/>
                </a:cubicBezTo>
                <a:cubicBezTo>
                  <a:pt x="976630" y="44831"/>
                  <a:pt x="991997" y="39497"/>
                  <a:pt x="1011682" y="39497"/>
                </a:cubicBezTo>
                <a:close/>
                <a:moveTo>
                  <a:pt x="245110" y="39497"/>
                </a:moveTo>
                <a:cubicBezTo>
                  <a:pt x="263144" y="39497"/>
                  <a:pt x="276733" y="43942"/>
                  <a:pt x="285876" y="53086"/>
                </a:cubicBezTo>
                <a:cubicBezTo>
                  <a:pt x="294894" y="62230"/>
                  <a:pt x="299466" y="75438"/>
                  <a:pt x="299466" y="92583"/>
                </a:cubicBezTo>
                <a:lnTo>
                  <a:pt x="299466" y="105029"/>
                </a:lnTo>
                <a:lnTo>
                  <a:pt x="217932" y="105029"/>
                </a:lnTo>
                <a:cubicBezTo>
                  <a:pt x="218439" y="113792"/>
                  <a:pt x="221742" y="120396"/>
                  <a:pt x="227838" y="125095"/>
                </a:cubicBezTo>
                <a:cubicBezTo>
                  <a:pt x="233934" y="129667"/>
                  <a:pt x="242951" y="131953"/>
                  <a:pt x="254888" y="131953"/>
                </a:cubicBezTo>
                <a:cubicBezTo>
                  <a:pt x="262382" y="131953"/>
                  <a:pt x="269621" y="130556"/>
                  <a:pt x="276733" y="127889"/>
                </a:cubicBezTo>
                <a:cubicBezTo>
                  <a:pt x="283845" y="125222"/>
                  <a:pt x="289306" y="122301"/>
                  <a:pt x="293497" y="119253"/>
                </a:cubicBezTo>
                <a:lnTo>
                  <a:pt x="297434" y="119253"/>
                </a:lnTo>
                <a:lnTo>
                  <a:pt x="297434" y="147828"/>
                </a:lnTo>
                <a:cubicBezTo>
                  <a:pt x="289306" y="151003"/>
                  <a:pt x="281813" y="153416"/>
                  <a:pt x="274701" y="154813"/>
                </a:cubicBezTo>
                <a:cubicBezTo>
                  <a:pt x="267462" y="156337"/>
                  <a:pt x="259588" y="156972"/>
                  <a:pt x="250951" y="156972"/>
                </a:cubicBezTo>
                <a:cubicBezTo>
                  <a:pt x="228726" y="156972"/>
                  <a:pt x="211582" y="152019"/>
                  <a:pt x="199771" y="141986"/>
                </a:cubicBezTo>
                <a:cubicBezTo>
                  <a:pt x="187833" y="131953"/>
                  <a:pt x="181863" y="117602"/>
                  <a:pt x="181863" y="99060"/>
                </a:cubicBezTo>
                <a:cubicBezTo>
                  <a:pt x="181863" y="80772"/>
                  <a:pt x="187579" y="66294"/>
                  <a:pt x="198755" y="55499"/>
                </a:cubicBezTo>
                <a:cubicBezTo>
                  <a:pt x="210058" y="44831"/>
                  <a:pt x="225425" y="39497"/>
                  <a:pt x="245110" y="39497"/>
                </a:cubicBezTo>
                <a:close/>
                <a:moveTo>
                  <a:pt x="0" y="6731"/>
                </a:moveTo>
                <a:lnTo>
                  <a:pt x="44069" y="6731"/>
                </a:lnTo>
                <a:lnTo>
                  <a:pt x="77343" y="80645"/>
                </a:lnTo>
                <a:lnTo>
                  <a:pt x="110363" y="6731"/>
                </a:lnTo>
                <a:lnTo>
                  <a:pt x="154432" y="6731"/>
                </a:lnTo>
                <a:lnTo>
                  <a:pt x="154432" y="154051"/>
                </a:lnTo>
                <a:lnTo>
                  <a:pt x="116713" y="154051"/>
                </a:lnTo>
                <a:lnTo>
                  <a:pt x="116713" y="55372"/>
                </a:lnTo>
                <a:lnTo>
                  <a:pt x="89408" y="119380"/>
                </a:lnTo>
                <a:lnTo>
                  <a:pt x="63119" y="119380"/>
                </a:lnTo>
                <a:lnTo>
                  <a:pt x="35814" y="55372"/>
                </a:lnTo>
                <a:lnTo>
                  <a:pt x="35814" y="154051"/>
                </a:lnTo>
                <a:lnTo>
                  <a:pt x="0" y="154051"/>
                </a:lnTo>
                <a:close/>
                <a:moveTo>
                  <a:pt x="742314" y="0"/>
                </a:moveTo>
                <a:lnTo>
                  <a:pt x="779907" y="0"/>
                </a:lnTo>
                <a:lnTo>
                  <a:pt x="779907" y="27051"/>
                </a:lnTo>
                <a:lnTo>
                  <a:pt x="742314" y="27051"/>
                </a:lnTo>
                <a:close/>
                <a:moveTo>
                  <a:pt x="324104" y="0"/>
                </a:moveTo>
                <a:lnTo>
                  <a:pt x="359918" y="0"/>
                </a:lnTo>
                <a:lnTo>
                  <a:pt x="359918" y="154051"/>
                </a:lnTo>
                <a:lnTo>
                  <a:pt x="324104" y="15405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69" name="object 369"/>
          <p:cNvSpPr/>
          <p:nvPr/>
        </p:nvSpPr>
        <p:spPr>
          <a:xfrm>
            <a:off x="6899402" y="4195191"/>
            <a:ext cx="9144" cy="9144"/>
          </a:xfrm>
          <a:custGeom>
            <a:avLst/>
            <a:gdLst/>
            <a:ahLst/>
            <a:cxnLst/>
            <a:rect l="l" t="t" r="r" b="b"/>
            <a:pathLst>
              <a:path w="9144" h="9144"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70" name="object 370"/>
          <p:cNvSpPr/>
          <p:nvPr/>
        </p:nvSpPr>
        <p:spPr>
          <a:xfrm>
            <a:off x="6860036" y="4195191"/>
            <a:ext cx="48513" cy="40132"/>
          </a:xfrm>
          <a:custGeom>
            <a:avLst/>
            <a:gdLst/>
            <a:ahLst/>
            <a:cxnLst/>
            <a:rect l="l" t="t" r="r" b="b"/>
            <a:pathLst>
              <a:path w="48513" h="40132">
                <a:moveTo>
                  <a:pt x="43942" y="4572"/>
                </a:moveTo>
                <a:cubicBezTo>
                  <a:pt x="39116" y="4953"/>
                  <a:pt x="33909" y="5588"/>
                  <a:pt x="28321" y="6223"/>
                </a:cubicBezTo>
                <a:cubicBezTo>
                  <a:pt x="22733" y="6858"/>
                  <a:pt x="18415" y="7747"/>
                  <a:pt x="15621" y="8636"/>
                </a:cubicBezTo>
                <a:cubicBezTo>
                  <a:pt x="12065" y="9779"/>
                  <a:pt x="9271" y="11430"/>
                  <a:pt x="7366" y="13589"/>
                </a:cubicBezTo>
                <a:cubicBezTo>
                  <a:pt x="5461" y="15621"/>
                  <a:pt x="4572" y="18542"/>
                  <a:pt x="4572" y="21971"/>
                </a:cubicBezTo>
                <a:cubicBezTo>
                  <a:pt x="4572" y="24257"/>
                  <a:pt x="4825" y="26162"/>
                  <a:pt x="5207" y="27559"/>
                </a:cubicBezTo>
                <a:cubicBezTo>
                  <a:pt x="5587" y="29083"/>
                  <a:pt x="6604" y="30480"/>
                  <a:pt x="8128" y="31750"/>
                </a:cubicBezTo>
                <a:cubicBezTo>
                  <a:pt x="9652" y="33020"/>
                  <a:pt x="11430" y="34036"/>
                  <a:pt x="13589" y="34671"/>
                </a:cubicBezTo>
                <a:cubicBezTo>
                  <a:pt x="15748" y="35306"/>
                  <a:pt x="19049" y="35560"/>
                  <a:pt x="23495" y="35560"/>
                </a:cubicBezTo>
                <a:cubicBezTo>
                  <a:pt x="27050" y="35560"/>
                  <a:pt x="30607" y="34798"/>
                  <a:pt x="34290" y="33401"/>
                </a:cubicBezTo>
                <a:cubicBezTo>
                  <a:pt x="37973" y="32004"/>
                  <a:pt x="41148" y="30099"/>
                  <a:pt x="43942" y="27686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71" name="object 371"/>
          <p:cNvSpPr/>
          <p:nvPr/>
        </p:nvSpPr>
        <p:spPr>
          <a:xfrm>
            <a:off x="6899409" y="4155059"/>
            <a:ext cx="557911" cy="72390"/>
          </a:xfrm>
          <a:custGeom>
            <a:avLst/>
            <a:gdLst/>
            <a:ahLst/>
            <a:cxnLst/>
            <a:rect l="l" t="t" r="r" b="b"/>
            <a:pathLst>
              <a:path w="557911" h="72390">
                <a:moveTo>
                  <a:pt x="4572" y="67818"/>
                </a:moveTo>
                <a:moveTo>
                  <a:pt x="4572" y="44704"/>
                </a:moveTo>
                <a:moveTo>
                  <a:pt x="553339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72" name="object 372"/>
          <p:cNvSpPr/>
          <p:nvPr/>
        </p:nvSpPr>
        <p:spPr>
          <a:xfrm>
            <a:off x="7423785" y="4155064"/>
            <a:ext cx="33528" cy="31623"/>
          </a:xfrm>
          <a:custGeom>
            <a:avLst/>
            <a:gdLst/>
            <a:ahLst/>
            <a:cxnLst/>
            <a:rect l="l" t="t" r="r" b="b"/>
            <a:pathLst>
              <a:path w="33528" h="31623">
                <a:moveTo>
                  <a:pt x="28956" y="4572"/>
                </a:moveTo>
                <a:cubicBezTo>
                  <a:pt x="22097" y="4572"/>
                  <a:pt x="16509" y="6350"/>
                  <a:pt x="12065" y="9906"/>
                </a:cubicBezTo>
                <a:cubicBezTo>
                  <a:pt x="7620" y="13462"/>
                  <a:pt x="5080" y="19177"/>
                  <a:pt x="4571" y="27051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73" name="object 373"/>
          <p:cNvSpPr/>
          <p:nvPr/>
        </p:nvSpPr>
        <p:spPr>
          <a:xfrm>
            <a:off x="7423841" y="4177538"/>
            <a:ext cx="55371" cy="9144"/>
          </a:xfrm>
          <a:custGeom>
            <a:avLst/>
            <a:gdLst/>
            <a:ahLst/>
            <a:cxnLst/>
            <a:rect l="l" t="t" r="r" b="b"/>
            <a:pathLst>
              <a:path w="55371" h="9144">
                <a:moveTo>
                  <a:pt x="4571" y="4572"/>
                </a:moveTo>
                <a:lnTo>
                  <a:pt x="50800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74" name="object 374"/>
          <p:cNvSpPr/>
          <p:nvPr/>
        </p:nvSpPr>
        <p:spPr>
          <a:xfrm>
            <a:off x="6657213" y="4155059"/>
            <a:ext cx="821943" cy="49276"/>
          </a:xfrm>
          <a:custGeom>
            <a:avLst/>
            <a:gdLst/>
            <a:ahLst/>
            <a:cxnLst/>
            <a:rect l="l" t="t" r="r" b="b"/>
            <a:pathLst>
              <a:path w="821943" h="49276">
                <a:moveTo>
                  <a:pt x="817372" y="27051"/>
                </a:moveTo>
                <a:cubicBezTo>
                  <a:pt x="817244" y="19558"/>
                  <a:pt x="815340" y="13970"/>
                  <a:pt x="811911" y="10160"/>
                </a:cubicBezTo>
                <a:cubicBezTo>
                  <a:pt x="808355" y="6477"/>
                  <a:pt x="802893" y="4572"/>
                  <a:pt x="795528" y="4572"/>
                </a:cubicBezTo>
                <a:moveTo>
                  <a:pt x="246761" y="44704"/>
                </a:moveTo>
                <a:moveTo>
                  <a:pt x="28955" y="4572"/>
                </a:moveTo>
                <a:cubicBezTo>
                  <a:pt x="22098" y="4572"/>
                  <a:pt x="16510" y="6350"/>
                  <a:pt x="12065" y="9906"/>
                </a:cubicBezTo>
                <a:cubicBezTo>
                  <a:pt x="7619" y="13462"/>
                  <a:pt x="5080" y="19177"/>
                  <a:pt x="4572" y="27051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75" name="object 375"/>
          <p:cNvSpPr/>
          <p:nvPr/>
        </p:nvSpPr>
        <p:spPr>
          <a:xfrm>
            <a:off x="6657213" y="4177538"/>
            <a:ext cx="55372" cy="9144"/>
          </a:xfrm>
          <a:custGeom>
            <a:avLst/>
            <a:gdLst/>
            <a:ahLst/>
            <a:cxnLst/>
            <a:rect l="l" t="t" r="r" b="b"/>
            <a:pathLst>
              <a:path w="55372" h="9144">
                <a:moveTo>
                  <a:pt x="4572" y="4572"/>
                </a:moveTo>
                <a:lnTo>
                  <a:pt x="50800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76" name="object 376"/>
          <p:cNvSpPr/>
          <p:nvPr/>
        </p:nvSpPr>
        <p:spPr>
          <a:xfrm>
            <a:off x="6681599" y="4136263"/>
            <a:ext cx="510158" cy="68072"/>
          </a:xfrm>
          <a:custGeom>
            <a:avLst/>
            <a:gdLst/>
            <a:ahLst/>
            <a:cxnLst/>
            <a:rect l="l" t="t" r="r" b="b"/>
            <a:pathLst>
              <a:path w="510158" h="68072">
                <a:moveTo>
                  <a:pt x="26416" y="45847"/>
                </a:moveTo>
                <a:cubicBezTo>
                  <a:pt x="26289" y="38354"/>
                  <a:pt x="24384" y="32766"/>
                  <a:pt x="20955" y="28956"/>
                </a:cubicBezTo>
                <a:cubicBezTo>
                  <a:pt x="17399" y="25273"/>
                  <a:pt x="11938" y="23368"/>
                  <a:pt x="4571" y="23368"/>
                </a:cubicBezTo>
                <a:moveTo>
                  <a:pt x="222377" y="63500"/>
                </a:moveTo>
                <a:moveTo>
                  <a:pt x="505587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77" name="object 377"/>
          <p:cNvSpPr/>
          <p:nvPr/>
        </p:nvSpPr>
        <p:spPr>
          <a:xfrm>
            <a:off x="7182668" y="4136375"/>
            <a:ext cx="44957" cy="120269"/>
          </a:xfrm>
          <a:custGeom>
            <a:avLst/>
            <a:gdLst/>
            <a:ahLst/>
            <a:cxnLst/>
            <a:rect l="l" t="t" r="r" b="b"/>
            <a:pathLst>
              <a:path w="44957" h="120269">
                <a:moveTo>
                  <a:pt x="4572" y="4572"/>
                </a:moveTo>
                <a:lnTo>
                  <a:pt x="40386" y="4572"/>
                </a:lnTo>
                <a:lnTo>
                  <a:pt x="40386" y="115697"/>
                </a:lnTo>
                <a:lnTo>
                  <a:pt x="4572" y="115697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78" name="object 378"/>
          <p:cNvSpPr/>
          <p:nvPr/>
        </p:nvSpPr>
        <p:spPr>
          <a:xfrm>
            <a:off x="6899403" y="4133327"/>
            <a:ext cx="472566" cy="123317"/>
          </a:xfrm>
          <a:custGeom>
            <a:avLst/>
            <a:gdLst/>
            <a:ahLst/>
            <a:cxnLst/>
            <a:rect l="l" t="t" r="r" b="b"/>
            <a:pathLst>
              <a:path w="472566" h="123317">
                <a:moveTo>
                  <a:pt x="287782" y="118745"/>
                </a:moveTo>
                <a:moveTo>
                  <a:pt x="4572" y="66548"/>
                </a:moveTo>
                <a:moveTo>
                  <a:pt x="429767" y="4572"/>
                </a:moveTo>
                <a:cubicBezTo>
                  <a:pt x="441833" y="4572"/>
                  <a:pt x="451104" y="8001"/>
                  <a:pt x="457962" y="14986"/>
                </a:cubicBezTo>
                <a:cubicBezTo>
                  <a:pt x="464692" y="21971"/>
                  <a:pt x="467995" y="32512"/>
                  <a:pt x="467995" y="46355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79" name="object 379"/>
          <p:cNvSpPr/>
          <p:nvPr/>
        </p:nvSpPr>
        <p:spPr>
          <a:xfrm>
            <a:off x="7327138" y="4174998"/>
            <a:ext cx="44830" cy="81534"/>
          </a:xfrm>
          <a:custGeom>
            <a:avLst/>
            <a:gdLst/>
            <a:ahLst/>
            <a:cxnLst/>
            <a:rect l="l" t="t" r="r" b="b"/>
            <a:pathLst>
              <a:path w="44830" h="81534">
                <a:moveTo>
                  <a:pt x="40259" y="4572"/>
                </a:moveTo>
                <a:lnTo>
                  <a:pt x="40259" y="76962"/>
                </a:lnTo>
                <a:lnTo>
                  <a:pt x="4572" y="76962"/>
                </a:lnTo>
                <a:lnTo>
                  <a:pt x="4572" y="21844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80" name="object 380"/>
          <p:cNvSpPr/>
          <p:nvPr/>
        </p:nvSpPr>
        <p:spPr>
          <a:xfrm>
            <a:off x="7287062" y="4161921"/>
            <a:ext cx="49275" cy="39497"/>
          </a:xfrm>
          <a:custGeom>
            <a:avLst/>
            <a:gdLst/>
            <a:ahLst/>
            <a:cxnLst/>
            <a:rect l="l" t="t" r="r" b="b"/>
            <a:pathLst>
              <a:path w="49275" h="39497">
                <a:moveTo>
                  <a:pt x="44704" y="34925"/>
                </a:moveTo>
                <a:cubicBezTo>
                  <a:pt x="44704" y="30480"/>
                  <a:pt x="44450" y="25908"/>
                  <a:pt x="44069" y="21463"/>
                </a:cubicBezTo>
                <a:cubicBezTo>
                  <a:pt x="43561" y="17018"/>
                  <a:pt x="42799" y="13716"/>
                  <a:pt x="41656" y="11684"/>
                </a:cubicBezTo>
                <a:cubicBezTo>
                  <a:pt x="40259" y="9271"/>
                  <a:pt x="38354" y="7366"/>
                  <a:pt x="35813" y="6350"/>
                </a:cubicBezTo>
                <a:cubicBezTo>
                  <a:pt x="33274" y="5207"/>
                  <a:pt x="29718" y="4572"/>
                  <a:pt x="25273" y="4572"/>
                </a:cubicBezTo>
                <a:cubicBezTo>
                  <a:pt x="21971" y="4572"/>
                  <a:pt x="18669" y="5207"/>
                  <a:pt x="15367" y="6223"/>
                </a:cubicBezTo>
                <a:cubicBezTo>
                  <a:pt x="12065" y="7239"/>
                  <a:pt x="8382" y="8890"/>
                  <a:pt x="4572" y="11303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81" name="object 381"/>
          <p:cNvSpPr/>
          <p:nvPr/>
        </p:nvSpPr>
        <p:spPr>
          <a:xfrm>
            <a:off x="7251248" y="4136375"/>
            <a:ext cx="44957" cy="120269"/>
          </a:xfrm>
          <a:custGeom>
            <a:avLst/>
            <a:gdLst/>
            <a:ahLst/>
            <a:cxnLst/>
            <a:rect l="l" t="t" r="r" b="b"/>
            <a:pathLst>
              <a:path w="44957" h="120269">
                <a:moveTo>
                  <a:pt x="40386" y="36957"/>
                </a:moveTo>
                <a:lnTo>
                  <a:pt x="40386" y="115697"/>
                </a:lnTo>
                <a:lnTo>
                  <a:pt x="4572" y="115697"/>
                </a:lnTo>
                <a:lnTo>
                  <a:pt x="4572" y="4572"/>
                </a:lnTo>
                <a:lnTo>
                  <a:pt x="40386" y="4572"/>
                </a:lnTo>
                <a:lnTo>
                  <a:pt x="40386" y="16764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82" name="object 382"/>
          <p:cNvSpPr/>
          <p:nvPr/>
        </p:nvSpPr>
        <p:spPr>
          <a:xfrm>
            <a:off x="6899407" y="4133215"/>
            <a:ext cx="434339" cy="71120"/>
          </a:xfrm>
          <a:custGeom>
            <a:avLst/>
            <a:gdLst/>
            <a:ahLst/>
            <a:cxnLst/>
            <a:rect l="l" t="t" r="r" b="b"/>
            <a:pathLst>
              <a:path w="434339" h="71120">
                <a:moveTo>
                  <a:pt x="392176" y="19812"/>
                </a:moveTo>
                <a:cubicBezTo>
                  <a:pt x="398399" y="14859"/>
                  <a:pt x="404495" y="11176"/>
                  <a:pt x="410337" y="8509"/>
                </a:cubicBezTo>
                <a:cubicBezTo>
                  <a:pt x="416179" y="5842"/>
                  <a:pt x="422655" y="4572"/>
                  <a:pt x="429767" y="4572"/>
                </a:cubicBezTo>
                <a:moveTo>
                  <a:pt x="4572" y="66548"/>
                </a:moveTo>
                <a:moveTo>
                  <a:pt x="144779" y="4572"/>
                </a:moveTo>
                <a:cubicBezTo>
                  <a:pt x="152019" y="4572"/>
                  <a:pt x="158496" y="6096"/>
                  <a:pt x="164084" y="9398"/>
                </a:cubicBezTo>
                <a:cubicBezTo>
                  <a:pt x="169672" y="12700"/>
                  <a:pt x="174116" y="17526"/>
                  <a:pt x="177291" y="23876"/>
                </a:cubicBezTo>
                <a:cubicBezTo>
                  <a:pt x="184404" y="17780"/>
                  <a:pt x="191262" y="13081"/>
                  <a:pt x="197992" y="9652"/>
                </a:cubicBezTo>
                <a:cubicBezTo>
                  <a:pt x="204724" y="6223"/>
                  <a:pt x="211328" y="4572"/>
                  <a:pt x="217804" y="4572"/>
                </a:cubicBezTo>
                <a:cubicBezTo>
                  <a:pt x="229742" y="4572"/>
                  <a:pt x="238887" y="8128"/>
                  <a:pt x="245110" y="15367"/>
                </a:cubicBezTo>
                <a:cubicBezTo>
                  <a:pt x="251333" y="22479"/>
                  <a:pt x="254508" y="32893"/>
                  <a:pt x="254508" y="46355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83" name="object 383"/>
          <p:cNvSpPr/>
          <p:nvPr/>
        </p:nvSpPr>
        <p:spPr>
          <a:xfrm>
            <a:off x="7113537" y="4174998"/>
            <a:ext cx="44957" cy="81534"/>
          </a:xfrm>
          <a:custGeom>
            <a:avLst/>
            <a:gdLst/>
            <a:ahLst/>
            <a:cxnLst/>
            <a:rect l="l" t="t" r="r" b="b"/>
            <a:pathLst>
              <a:path w="44957" h="81534">
                <a:moveTo>
                  <a:pt x="40386" y="4572"/>
                </a:moveTo>
                <a:lnTo>
                  <a:pt x="40386" y="76962"/>
                </a:lnTo>
                <a:lnTo>
                  <a:pt x="4572" y="76962"/>
                </a:lnTo>
                <a:lnTo>
                  <a:pt x="4572" y="2146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84" name="object 384"/>
          <p:cNvSpPr/>
          <p:nvPr/>
        </p:nvSpPr>
        <p:spPr>
          <a:xfrm>
            <a:off x="7076317" y="4161917"/>
            <a:ext cx="46354" cy="39116"/>
          </a:xfrm>
          <a:custGeom>
            <a:avLst/>
            <a:gdLst/>
            <a:ahLst/>
            <a:cxnLst/>
            <a:rect l="l" t="t" r="r" b="b"/>
            <a:pathLst>
              <a:path w="46354" h="39116">
                <a:moveTo>
                  <a:pt x="41783" y="34544"/>
                </a:moveTo>
                <a:cubicBezTo>
                  <a:pt x="41783" y="29083"/>
                  <a:pt x="41655" y="24384"/>
                  <a:pt x="41402" y="20701"/>
                </a:cubicBezTo>
                <a:cubicBezTo>
                  <a:pt x="41275" y="16891"/>
                  <a:pt x="40513" y="13843"/>
                  <a:pt x="39369" y="11430"/>
                </a:cubicBezTo>
                <a:cubicBezTo>
                  <a:pt x="38227" y="9017"/>
                  <a:pt x="36449" y="7366"/>
                  <a:pt x="34036" y="6223"/>
                </a:cubicBezTo>
                <a:cubicBezTo>
                  <a:pt x="31496" y="5207"/>
                  <a:pt x="28067" y="4572"/>
                  <a:pt x="23749" y="4572"/>
                </a:cubicBezTo>
                <a:cubicBezTo>
                  <a:pt x="20701" y="4572"/>
                  <a:pt x="17780" y="5080"/>
                  <a:pt x="14986" y="6096"/>
                </a:cubicBezTo>
                <a:cubicBezTo>
                  <a:pt x="12192" y="7239"/>
                  <a:pt x="8636" y="8890"/>
                  <a:pt x="4572" y="11303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85" name="object 385"/>
          <p:cNvSpPr/>
          <p:nvPr/>
        </p:nvSpPr>
        <p:spPr>
          <a:xfrm>
            <a:off x="7040626" y="4168648"/>
            <a:ext cx="44830" cy="87884"/>
          </a:xfrm>
          <a:custGeom>
            <a:avLst/>
            <a:gdLst/>
            <a:ahLst/>
            <a:cxnLst/>
            <a:rect l="l" t="t" r="r" b="b"/>
            <a:pathLst>
              <a:path w="44830" h="87884">
                <a:moveTo>
                  <a:pt x="40259" y="4572"/>
                </a:moveTo>
                <a:lnTo>
                  <a:pt x="40259" y="83312"/>
                </a:lnTo>
                <a:lnTo>
                  <a:pt x="4572" y="83312"/>
                </a:lnTo>
                <a:lnTo>
                  <a:pt x="4572" y="2781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86" name="object 386"/>
          <p:cNvSpPr/>
          <p:nvPr/>
        </p:nvSpPr>
        <p:spPr>
          <a:xfrm>
            <a:off x="7003417" y="4161917"/>
            <a:ext cx="46354" cy="39116"/>
          </a:xfrm>
          <a:custGeom>
            <a:avLst/>
            <a:gdLst/>
            <a:ahLst/>
            <a:cxnLst/>
            <a:rect l="l" t="t" r="r" b="b"/>
            <a:pathLst>
              <a:path w="46354" h="39116">
                <a:moveTo>
                  <a:pt x="41783" y="34544"/>
                </a:moveTo>
                <a:cubicBezTo>
                  <a:pt x="41783" y="29083"/>
                  <a:pt x="41656" y="24511"/>
                  <a:pt x="41402" y="20701"/>
                </a:cubicBezTo>
                <a:cubicBezTo>
                  <a:pt x="41148" y="16891"/>
                  <a:pt x="40386" y="13843"/>
                  <a:pt x="39242" y="11430"/>
                </a:cubicBezTo>
                <a:cubicBezTo>
                  <a:pt x="37973" y="9017"/>
                  <a:pt x="36195" y="7366"/>
                  <a:pt x="33782" y="6223"/>
                </a:cubicBezTo>
                <a:cubicBezTo>
                  <a:pt x="31369" y="5207"/>
                  <a:pt x="28066" y="4572"/>
                  <a:pt x="23622" y="4572"/>
                </a:cubicBezTo>
                <a:cubicBezTo>
                  <a:pt x="20192" y="4572"/>
                  <a:pt x="16764" y="5334"/>
                  <a:pt x="13462" y="6731"/>
                </a:cubicBezTo>
                <a:cubicBezTo>
                  <a:pt x="10160" y="8128"/>
                  <a:pt x="7239" y="9652"/>
                  <a:pt x="4572" y="11303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87" name="object 387"/>
          <p:cNvSpPr/>
          <p:nvPr/>
        </p:nvSpPr>
        <p:spPr>
          <a:xfrm>
            <a:off x="6967784" y="4136375"/>
            <a:ext cx="44831" cy="120269"/>
          </a:xfrm>
          <a:custGeom>
            <a:avLst/>
            <a:gdLst/>
            <a:ahLst/>
            <a:cxnLst/>
            <a:rect l="l" t="t" r="r" b="b"/>
            <a:pathLst>
              <a:path w="44831" h="120269">
                <a:moveTo>
                  <a:pt x="40259" y="36957"/>
                </a:moveTo>
                <a:lnTo>
                  <a:pt x="40259" y="115697"/>
                </a:lnTo>
                <a:lnTo>
                  <a:pt x="4572" y="115697"/>
                </a:lnTo>
                <a:lnTo>
                  <a:pt x="4572" y="4572"/>
                </a:lnTo>
                <a:lnTo>
                  <a:pt x="40259" y="4572"/>
                </a:lnTo>
                <a:lnTo>
                  <a:pt x="40259" y="16764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88" name="object 388"/>
          <p:cNvSpPr/>
          <p:nvPr/>
        </p:nvSpPr>
        <p:spPr>
          <a:xfrm>
            <a:off x="6877304" y="4133088"/>
            <a:ext cx="171449" cy="71247"/>
          </a:xfrm>
          <a:custGeom>
            <a:avLst/>
            <a:gdLst/>
            <a:ahLst/>
            <a:cxnLst/>
            <a:rect l="l" t="t" r="r" b="b"/>
            <a:pathLst>
              <a:path w="171449" h="71247">
                <a:moveTo>
                  <a:pt x="130683" y="19939"/>
                </a:moveTo>
                <a:cubicBezTo>
                  <a:pt x="136778" y="15113"/>
                  <a:pt x="142621" y="11430"/>
                  <a:pt x="148209" y="8763"/>
                </a:cubicBezTo>
                <a:cubicBezTo>
                  <a:pt x="153797" y="5969"/>
                  <a:pt x="160020" y="4699"/>
                  <a:pt x="166877" y="4699"/>
                </a:cubicBezTo>
                <a:moveTo>
                  <a:pt x="26670" y="66675"/>
                </a:moveTo>
                <a:moveTo>
                  <a:pt x="4572" y="4572"/>
                </a:moveTo>
                <a:cubicBezTo>
                  <a:pt x="24892" y="4572"/>
                  <a:pt x="39497" y="7620"/>
                  <a:pt x="48514" y="13843"/>
                </a:cubicBezTo>
                <a:cubicBezTo>
                  <a:pt x="57531" y="20193"/>
                  <a:pt x="61976" y="29972"/>
                  <a:pt x="61976" y="43307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89" name="object 389"/>
          <p:cNvSpPr/>
          <p:nvPr/>
        </p:nvSpPr>
        <p:spPr>
          <a:xfrm>
            <a:off x="6899402" y="4171935"/>
            <a:ext cx="44450" cy="84709"/>
          </a:xfrm>
          <a:custGeom>
            <a:avLst/>
            <a:gdLst/>
            <a:ahLst/>
            <a:cxnLst/>
            <a:rect l="l" t="t" r="r" b="b"/>
            <a:pathLst>
              <a:path w="44450" h="84709">
                <a:moveTo>
                  <a:pt x="39878" y="4572"/>
                </a:moveTo>
                <a:lnTo>
                  <a:pt x="39878" y="80137"/>
                </a:lnTo>
                <a:lnTo>
                  <a:pt x="4572" y="80137"/>
                </a:lnTo>
                <a:lnTo>
                  <a:pt x="4572" y="68326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90" name="object 390"/>
          <p:cNvSpPr/>
          <p:nvPr/>
        </p:nvSpPr>
        <p:spPr>
          <a:xfrm>
            <a:off x="6823893" y="4174363"/>
            <a:ext cx="84963" cy="85090"/>
          </a:xfrm>
          <a:custGeom>
            <a:avLst/>
            <a:gdLst/>
            <a:ahLst/>
            <a:cxnLst/>
            <a:rect l="l" t="t" r="r" b="b"/>
            <a:pathLst>
              <a:path w="84963" h="85090">
                <a:moveTo>
                  <a:pt x="80137" y="65786"/>
                </a:moveTo>
                <a:cubicBezTo>
                  <a:pt x="78231" y="67310"/>
                  <a:pt x="75819" y="68961"/>
                  <a:pt x="73025" y="70993"/>
                </a:cubicBezTo>
                <a:cubicBezTo>
                  <a:pt x="70231" y="73152"/>
                  <a:pt x="67564" y="74676"/>
                  <a:pt x="65024" y="75946"/>
                </a:cubicBezTo>
                <a:cubicBezTo>
                  <a:pt x="61468" y="77470"/>
                  <a:pt x="57912" y="78613"/>
                  <a:pt x="54102" y="79375"/>
                </a:cubicBezTo>
                <a:cubicBezTo>
                  <a:pt x="50419" y="80137"/>
                  <a:pt x="46228" y="80518"/>
                  <a:pt x="41782" y="80518"/>
                </a:cubicBezTo>
                <a:cubicBezTo>
                  <a:pt x="31242" y="80518"/>
                  <a:pt x="22352" y="77343"/>
                  <a:pt x="15240" y="70739"/>
                </a:cubicBezTo>
                <a:cubicBezTo>
                  <a:pt x="8128" y="64262"/>
                  <a:pt x="4572" y="55880"/>
                  <a:pt x="4572" y="45720"/>
                </a:cubicBezTo>
                <a:cubicBezTo>
                  <a:pt x="4572" y="37592"/>
                  <a:pt x="6350" y="30988"/>
                  <a:pt x="10032" y="25781"/>
                </a:cubicBezTo>
                <a:cubicBezTo>
                  <a:pt x="13589" y="20701"/>
                  <a:pt x="18795" y="16637"/>
                  <a:pt x="25400" y="13716"/>
                </a:cubicBezTo>
                <a:cubicBezTo>
                  <a:pt x="32004" y="10668"/>
                  <a:pt x="40259" y="8509"/>
                  <a:pt x="50038" y="7366"/>
                </a:cubicBezTo>
                <a:cubicBezTo>
                  <a:pt x="59690" y="6096"/>
                  <a:pt x="69850" y="5080"/>
                  <a:pt x="80391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91" name="object 391"/>
          <p:cNvSpPr/>
          <p:nvPr/>
        </p:nvSpPr>
        <p:spPr>
          <a:xfrm>
            <a:off x="6899712" y="4173730"/>
            <a:ext cx="9143" cy="9779"/>
          </a:xfrm>
          <a:custGeom>
            <a:avLst/>
            <a:gdLst/>
            <a:ahLst/>
            <a:cxnLst/>
            <a:rect l="l" t="t" r="r" b="b"/>
            <a:pathLst>
              <a:path w="9143" h="9779">
                <a:moveTo>
                  <a:pt x="4572" y="5207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92" name="object 392"/>
          <p:cNvSpPr/>
          <p:nvPr/>
        </p:nvSpPr>
        <p:spPr>
          <a:xfrm>
            <a:off x="6836792" y="4157472"/>
            <a:ext cx="72009" cy="25400"/>
          </a:xfrm>
          <a:custGeom>
            <a:avLst/>
            <a:gdLst/>
            <a:ahLst/>
            <a:cxnLst/>
            <a:rect l="l" t="t" r="r" b="b"/>
            <a:pathLst>
              <a:path w="72009" h="25400">
                <a:moveTo>
                  <a:pt x="67437" y="20828"/>
                </a:moveTo>
                <a:cubicBezTo>
                  <a:pt x="67437" y="14732"/>
                  <a:pt x="64897" y="10414"/>
                  <a:pt x="59944" y="8128"/>
                </a:cubicBezTo>
                <a:cubicBezTo>
                  <a:pt x="54864" y="5842"/>
                  <a:pt x="47498" y="4572"/>
                  <a:pt x="37719" y="4572"/>
                </a:cubicBezTo>
                <a:cubicBezTo>
                  <a:pt x="31877" y="4572"/>
                  <a:pt x="25527" y="5715"/>
                  <a:pt x="18923" y="7747"/>
                </a:cubicBezTo>
                <a:cubicBezTo>
                  <a:pt x="12191" y="9779"/>
                  <a:pt x="7493" y="11430"/>
                  <a:pt x="4572" y="12573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93" name="object 393"/>
          <p:cNvSpPr/>
          <p:nvPr/>
        </p:nvSpPr>
        <p:spPr>
          <a:xfrm>
            <a:off x="6833495" y="4138549"/>
            <a:ext cx="12446" cy="36068"/>
          </a:xfrm>
          <a:custGeom>
            <a:avLst/>
            <a:gdLst/>
            <a:ahLst/>
            <a:cxnLst/>
            <a:rect l="l" t="t" r="r" b="b"/>
            <a:pathLst>
              <a:path w="12446" h="36068">
                <a:moveTo>
                  <a:pt x="7874" y="31496"/>
                </a:moveTo>
                <a:lnTo>
                  <a:pt x="4572" y="31496"/>
                </a:ln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94" name="object 394"/>
          <p:cNvSpPr/>
          <p:nvPr/>
        </p:nvSpPr>
        <p:spPr>
          <a:xfrm>
            <a:off x="6833545" y="4132834"/>
            <a:ext cx="681101" cy="71501"/>
          </a:xfrm>
          <a:custGeom>
            <a:avLst/>
            <a:gdLst/>
            <a:ahLst/>
            <a:cxnLst/>
            <a:rect l="l" t="t" r="r" b="b"/>
            <a:pathLst>
              <a:path w="681101" h="71501">
                <a:moveTo>
                  <a:pt x="4572" y="10287"/>
                </a:moveTo>
                <a:cubicBezTo>
                  <a:pt x="8382" y="9398"/>
                  <a:pt x="14478" y="8128"/>
                  <a:pt x="22987" y="6858"/>
                </a:cubicBezTo>
                <a:cubicBezTo>
                  <a:pt x="31496" y="5461"/>
                  <a:pt x="39878" y="4826"/>
                  <a:pt x="48387" y="4826"/>
                </a:cubicBezTo>
                <a:moveTo>
                  <a:pt x="70485" y="66929"/>
                </a:moveTo>
                <a:moveTo>
                  <a:pt x="622173" y="4572"/>
                </a:moveTo>
                <a:cubicBezTo>
                  <a:pt x="640207" y="4572"/>
                  <a:pt x="653796" y="9017"/>
                  <a:pt x="662940" y="18161"/>
                </a:cubicBezTo>
                <a:cubicBezTo>
                  <a:pt x="671957" y="27305"/>
                  <a:pt x="676529" y="40513"/>
                  <a:pt x="676529" y="57658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95" name="object 395"/>
          <p:cNvSpPr/>
          <p:nvPr/>
        </p:nvSpPr>
        <p:spPr>
          <a:xfrm>
            <a:off x="7423914" y="4198366"/>
            <a:ext cx="84709" cy="36068"/>
          </a:xfrm>
          <a:custGeom>
            <a:avLst/>
            <a:gdLst/>
            <a:ahLst/>
            <a:cxnLst/>
            <a:rect l="l" t="t" r="r" b="b"/>
            <a:pathLst>
              <a:path w="84709" h="36068">
                <a:moveTo>
                  <a:pt x="4572" y="4572"/>
                </a:moveTo>
                <a:cubicBezTo>
                  <a:pt x="5080" y="13335"/>
                  <a:pt x="8381" y="19939"/>
                  <a:pt x="14478" y="24638"/>
                </a:cubicBezTo>
                <a:cubicBezTo>
                  <a:pt x="20574" y="29210"/>
                  <a:pt x="29591" y="31496"/>
                  <a:pt x="41529" y="31496"/>
                </a:cubicBezTo>
                <a:cubicBezTo>
                  <a:pt x="49022" y="31496"/>
                  <a:pt x="56261" y="30099"/>
                  <a:pt x="63373" y="27432"/>
                </a:cubicBezTo>
                <a:cubicBezTo>
                  <a:pt x="70485" y="24765"/>
                  <a:pt x="75945" y="21844"/>
                  <a:pt x="80137" y="18796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96" name="object 396"/>
          <p:cNvSpPr/>
          <p:nvPr/>
        </p:nvSpPr>
        <p:spPr>
          <a:xfrm>
            <a:off x="7499477" y="4212702"/>
            <a:ext cx="13080" cy="37719"/>
          </a:xfrm>
          <a:custGeom>
            <a:avLst/>
            <a:gdLst/>
            <a:ahLst/>
            <a:cxnLst/>
            <a:rect l="l" t="t" r="r" b="b"/>
            <a:pathLst>
              <a:path w="13080" h="37719">
                <a:moveTo>
                  <a:pt x="4572" y="4572"/>
                </a:moveTo>
                <a:lnTo>
                  <a:pt x="8509" y="4572"/>
                </a:lnTo>
                <a:lnTo>
                  <a:pt x="8509" y="33147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97" name="object 397"/>
          <p:cNvSpPr/>
          <p:nvPr/>
        </p:nvSpPr>
        <p:spPr>
          <a:xfrm>
            <a:off x="6684521" y="4132946"/>
            <a:ext cx="828039" cy="126619"/>
          </a:xfrm>
          <a:custGeom>
            <a:avLst/>
            <a:gdLst/>
            <a:ahLst/>
            <a:cxnLst/>
            <a:rect l="l" t="t" r="r" b="b"/>
            <a:pathLst>
              <a:path w="828039" h="126619">
                <a:moveTo>
                  <a:pt x="823468" y="112903"/>
                </a:moveTo>
                <a:cubicBezTo>
                  <a:pt x="815339" y="116078"/>
                  <a:pt x="807847" y="118491"/>
                  <a:pt x="800735" y="119888"/>
                </a:cubicBezTo>
                <a:cubicBezTo>
                  <a:pt x="793496" y="121412"/>
                  <a:pt x="785622" y="122047"/>
                  <a:pt x="776986" y="122047"/>
                </a:cubicBezTo>
                <a:cubicBezTo>
                  <a:pt x="754761" y="122047"/>
                  <a:pt x="737616" y="117094"/>
                  <a:pt x="725805" y="107061"/>
                </a:cubicBezTo>
                <a:cubicBezTo>
                  <a:pt x="713867" y="97028"/>
                  <a:pt x="707898" y="82677"/>
                  <a:pt x="707898" y="64135"/>
                </a:cubicBezTo>
                <a:cubicBezTo>
                  <a:pt x="707898" y="45847"/>
                  <a:pt x="713613" y="31369"/>
                  <a:pt x="724788" y="20574"/>
                </a:cubicBezTo>
                <a:cubicBezTo>
                  <a:pt x="736092" y="9906"/>
                  <a:pt x="751459" y="4572"/>
                  <a:pt x="771144" y="4572"/>
                </a:cubicBezTo>
                <a:moveTo>
                  <a:pt x="219456" y="66929"/>
                </a:moveTo>
                <a:moveTo>
                  <a:pt x="4572" y="4572"/>
                </a:moveTo>
                <a:cubicBezTo>
                  <a:pt x="22606" y="4572"/>
                  <a:pt x="36195" y="9017"/>
                  <a:pt x="45338" y="18161"/>
                </a:cubicBezTo>
                <a:cubicBezTo>
                  <a:pt x="54356" y="27305"/>
                  <a:pt x="58928" y="40513"/>
                  <a:pt x="58928" y="57658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98" name="object 398"/>
          <p:cNvSpPr/>
          <p:nvPr/>
        </p:nvSpPr>
        <p:spPr>
          <a:xfrm>
            <a:off x="6657342" y="4198366"/>
            <a:ext cx="84709" cy="36068"/>
          </a:xfrm>
          <a:custGeom>
            <a:avLst/>
            <a:gdLst/>
            <a:ahLst/>
            <a:cxnLst/>
            <a:rect l="l" t="t" r="r" b="b"/>
            <a:pathLst>
              <a:path w="84709" h="36068">
                <a:moveTo>
                  <a:pt x="4572" y="4572"/>
                </a:moveTo>
                <a:cubicBezTo>
                  <a:pt x="5079" y="13335"/>
                  <a:pt x="8382" y="19939"/>
                  <a:pt x="14478" y="24638"/>
                </a:cubicBezTo>
                <a:cubicBezTo>
                  <a:pt x="20574" y="29210"/>
                  <a:pt x="29591" y="31496"/>
                  <a:pt x="41528" y="31496"/>
                </a:cubicBezTo>
                <a:cubicBezTo>
                  <a:pt x="49022" y="31496"/>
                  <a:pt x="56261" y="30099"/>
                  <a:pt x="63373" y="27432"/>
                </a:cubicBezTo>
                <a:cubicBezTo>
                  <a:pt x="70485" y="24765"/>
                  <a:pt x="75946" y="21844"/>
                  <a:pt x="80137" y="18796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99" name="object 399"/>
          <p:cNvSpPr/>
          <p:nvPr/>
        </p:nvSpPr>
        <p:spPr>
          <a:xfrm>
            <a:off x="6732905" y="4212702"/>
            <a:ext cx="13080" cy="37719"/>
          </a:xfrm>
          <a:custGeom>
            <a:avLst/>
            <a:gdLst/>
            <a:ahLst/>
            <a:cxnLst/>
            <a:rect l="l" t="t" r="r" b="b"/>
            <a:pathLst>
              <a:path w="13080" h="37719">
                <a:moveTo>
                  <a:pt x="4572" y="4572"/>
                </a:moveTo>
                <a:lnTo>
                  <a:pt x="8509" y="4572"/>
                </a:lnTo>
                <a:lnTo>
                  <a:pt x="8509" y="33147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00" name="object 400"/>
          <p:cNvSpPr/>
          <p:nvPr/>
        </p:nvSpPr>
        <p:spPr>
          <a:xfrm>
            <a:off x="6439408" y="4100068"/>
            <a:ext cx="469138" cy="159385"/>
          </a:xfrm>
          <a:custGeom>
            <a:avLst/>
            <a:gdLst/>
            <a:ahLst/>
            <a:cxnLst/>
            <a:rect l="l" t="t" r="r" b="b"/>
            <a:pathLst>
              <a:path w="469138" h="159385">
                <a:moveTo>
                  <a:pt x="302006" y="145669"/>
                </a:moveTo>
                <a:cubicBezTo>
                  <a:pt x="293878" y="148844"/>
                  <a:pt x="286385" y="151257"/>
                  <a:pt x="279273" y="152654"/>
                </a:cubicBezTo>
                <a:cubicBezTo>
                  <a:pt x="272034" y="154178"/>
                  <a:pt x="264160" y="154813"/>
                  <a:pt x="255523" y="154813"/>
                </a:cubicBezTo>
                <a:cubicBezTo>
                  <a:pt x="233298" y="154813"/>
                  <a:pt x="216154" y="149860"/>
                  <a:pt x="204343" y="139827"/>
                </a:cubicBezTo>
                <a:cubicBezTo>
                  <a:pt x="192405" y="129794"/>
                  <a:pt x="186435" y="115443"/>
                  <a:pt x="186435" y="96901"/>
                </a:cubicBezTo>
                <a:cubicBezTo>
                  <a:pt x="186435" y="78613"/>
                  <a:pt x="192151" y="64135"/>
                  <a:pt x="203327" y="53340"/>
                </a:cubicBezTo>
                <a:cubicBezTo>
                  <a:pt x="214630" y="42672"/>
                  <a:pt x="229997" y="37338"/>
                  <a:pt x="249682" y="37338"/>
                </a:cubicBezTo>
                <a:moveTo>
                  <a:pt x="464566" y="99695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01" name="object 401"/>
          <p:cNvSpPr/>
          <p:nvPr/>
        </p:nvSpPr>
        <p:spPr>
          <a:xfrm>
            <a:off x="6439449" y="4100068"/>
            <a:ext cx="53213" cy="9144"/>
          </a:xfrm>
          <a:custGeom>
            <a:avLst/>
            <a:gdLst/>
            <a:ahLst/>
            <a:cxnLst/>
            <a:rect l="l" t="t" r="r" b="b"/>
            <a:pathLst>
              <a:path w="53213" h="9144">
                <a:moveTo>
                  <a:pt x="4572" y="4572"/>
                </a:moveTo>
                <a:lnTo>
                  <a:pt x="48641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02" name="object 402"/>
          <p:cNvSpPr/>
          <p:nvPr/>
        </p:nvSpPr>
        <p:spPr>
          <a:xfrm>
            <a:off x="6483477" y="4100068"/>
            <a:ext cx="75438" cy="83058"/>
          </a:xfrm>
          <a:custGeom>
            <a:avLst/>
            <a:gdLst/>
            <a:ahLst/>
            <a:cxnLst/>
            <a:rect l="l" t="t" r="r" b="b"/>
            <a:pathLst>
              <a:path w="75438" h="83058">
                <a:moveTo>
                  <a:pt x="4572" y="4572"/>
                </a:moveTo>
                <a:lnTo>
                  <a:pt x="37846" y="78486"/>
                </a:lnTo>
                <a:lnTo>
                  <a:pt x="70866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03" name="object 403"/>
          <p:cNvSpPr/>
          <p:nvPr/>
        </p:nvSpPr>
        <p:spPr>
          <a:xfrm>
            <a:off x="6549771" y="4100068"/>
            <a:ext cx="53212" cy="156464"/>
          </a:xfrm>
          <a:custGeom>
            <a:avLst/>
            <a:gdLst/>
            <a:ahLst/>
            <a:cxnLst/>
            <a:rect l="l" t="t" r="r" b="b"/>
            <a:pathLst>
              <a:path w="53212" h="156464">
                <a:moveTo>
                  <a:pt x="4572" y="4572"/>
                </a:moveTo>
                <a:lnTo>
                  <a:pt x="48641" y="4572"/>
                </a:lnTo>
                <a:lnTo>
                  <a:pt x="48641" y="151892"/>
                </a:lnTo>
                <a:lnTo>
                  <a:pt x="10922" y="151892"/>
                </a:lnTo>
                <a:lnTo>
                  <a:pt x="10922" y="5321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04" name="object 404"/>
          <p:cNvSpPr/>
          <p:nvPr/>
        </p:nvSpPr>
        <p:spPr>
          <a:xfrm>
            <a:off x="6528820" y="4148709"/>
            <a:ext cx="36449" cy="73152"/>
          </a:xfrm>
          <a:custGeom>
            <a:avLst/>
            <a:gdLst/>
            <a:ahLst/>
            <a:cxnLst/>
            <a:rect l="l" t="t" r="r" b="b"/>
            <a:pathLst>
              <a:path w="36449" h="73152">
                <a:moveTo>
                  <a:pt x="31877" y="4572"/>
                </a:moveTo>
                <a:lnTo>
                  <a:pt x="4572" y="68580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05" name="object 405"/>
          <p:cNvSpPr/>
          <p:nvPr/>
        </p:nvSpPr>
        <p:spPr>
          <a:xfrm>
            <a:off x="6502532" y="4212717"/>
            <a:ext cx="35433" cy="9144"/>
          </a:xfrm>
          <a:custGeom>
            <a:avLst/>
            <a:gdLst/>
            <a:ahLst/>
            <a:cxnLst/>
            <a:rect l="l" t="t" r="r" b="b"/>
            <a:pathLst>
              <a:path w="35433" h="9144">
                <a:moveTo>
                  <a:pt x="30861" y="4572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06" name="object 406"/>
          <p:cNvSpPr/>
          <p:nvPr/>
        </p:nvSpPr>
        <p:spPr>
          <a:xfrm>
            <a:off x="6475228" y="4148709"/>
            <a:ext cx="36449" cy="73152"/>
          </a:xfrm>
          <a:custGeom>
            <a:avLst/>
            <a:gdLst/>
            <a:ahLst/>
            <a:cxnLst/>
            <a:rect l="l" t="t" r="r" b="b"/>
            <a:pathLst>
              <a:path w="36449" h="73152">
                <a:moveTo>
                  <a:pt x="31877" y="68580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07" name="object 407"/>
          <p:cNvSpPr/>
          <p:nvPr/>
        </p:nvSpPr>
        <p:spPr>
          <a:xfrm>
            <a:off x="6439408" y="4148821"/>
            <a:ext cx="44958" cy="107823"/>
          </a:xfrm>
          <a:custGeom>
            <a:avLst/>
            <a:gdLst/>
            <a:ahLst/>
            <a:cxnLst/>
            <a:rect l="l" t="t" r="r" b="b"/>
            <a:pathLst>
              <a:path w="44958" h="107823">
                <a:moveTo>
                  <a:pt x="40386" y="4572"/>
                </a:moveTo>
                <a:lnTo>
                  <a:pt x="40386" y="103251"/>
                </a:lnTo>
                <a:lnTo>
                  <a:pt x="4572" y="10325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08" name="object 408"/>
          <p:cNvSpPr/>
          <p:nvPr/>
        </p:nvSpPr>
        <p:spPr>
          <a:xfrm>
            <a:off x="6439408" y="4093342"/>
            <a:ext cx="751458" cy="163195"/>
          </a:xfrm>
          <a:custGeom>
            <a:avLst/>
            <a:gdLst/>
            <a:ahLst/>
            <a:cxnLst/>
            <a:rect l="l" t="t" r="r" b="b"/>
            <a:pathLst>
              <a:path w="751458" h="163195">
                <a:moveTo>
                  <a:pt x="4572" y="158623"/>
                </a:moveTo>
                <a:moveTo>
                  <a:pt x="464566" y="106426"/>
                </a:moveTo>
                <a:moveTo>
                  <a:pt x="746886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09" name="object 409"/>
          <p:cNvSpPr/>
          <p:nvPr/>
        </p:nvSpPr>
        <p:spPr>
          <a:xfrm>
            <a:off x="7181726" y="4093338"/>
            <a:ext cx="46736" cy="36195"/>
          </a:xfrm>
          <a:custGeom>
            <a:avLst/>
            <a:gdLst/>
            <a:ahLst/>
            <a:cxnLst/>
            <a:rect l="l" t="t" r="r" b="b"/>
            <a:pathLst>
              <a:path w="46736" h="36195">
                <a:moveTo>
                  <a:pt x="4571" y="4572"/>
                </a:moveTo>
                <a:lnTo>
                  <a:pt x="42164" y="4572"/>
                </a:lnTo>
                <a:lnTo>
                  <a:pt x="42164" y="31623"/>
                </a:lnTo>
                <a:lnTo>
                  <a:pt x="4571" y="3162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10" name="object 410"/>
          <p:cNvSpPr/>
          <p:nvPr/>
        </p:nvSpPr>
        <p:spPr>
          <a:xfrm>
            <a:off x="6763513" y="4093337"/>
            <a:ext cx="427354" cy="110998"/>
          </a:xfrm>
          <a:custGeom>
            <a:avLst/>
            <a:gdLst/>
            <a:ahLst/>
            <a:cxnLst/>
            <a:rect l="l" t="t" r="r" b="b"/>
            <a:pathLst>
              <a:path w="427354" h="110998">
                <a:moveTo>
                  <a:pt x="422782" y="31623"/>
                </a:moveTo>
                <a:moveTo>
                  <a:pt x="140462" y="106426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11" name="object 411"/>
          <p:cNvSpPr/>
          <p:nvPr/>
        </p:nvSpPr>
        <p:spPr>
          <a:xfrm>
            <a:off x="6763568" y="4093342"/>
            <a:ext cx="44957" cy="163195"/>
          </a:xfrm>
          <a:custGeom>
            <a:avLst/>
            <a:gdLst/>
            <a:ahLst/>
            <a:cxnLst/>
            <a:rect l="l" t="t" r="r" b="b"/>
            <a:pathLst>
              <a:path w="44957" h="163195">
                <a:moveTo>
                  <a:pt x="4572" y="4572"/>
                </a:moveTo>
                <a:lnTo>
                  <a:pt x="40386" y="4572"/>
                </a:lnTo>
                <a:lnTo>
                  <a:pt x="40386" y="158623"/>
                </a:lnTo>
                <a:lnTo>
                  <a:pt x="4572" y="15862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12" name="object 412"/>
          <p:cNvSpPr/>
          <p:nvPr/>
        </p:nvSpPr>
        <p:spPr>
          <a:xfrm>
            <a:off x="6763512" y="4195303"/>
            <a:ext cx="145034" cy="61341"/>
          </a:xfrm>
          <a:custGeom>
            <a:avLst/>
            <a:gdLst/>
            <a:ahLst/>
            <a:cxnLst/>
            <a:rect l="l" t="t" r="r" b="b"/>
            <a:pathLst>
              <a:path w="145034" h="61341">
                <a:moveTo>
                  <a:pt x="4572" y="56769"/>
                </a:moveTo>
                <a:moveTo>
                  <a:pt x="14046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13" name="object 413"/>
          <p:cNvSpPr/>
          <p:nvPr/>
        </p:nvSpPr>
        <p:spPr>
          <a:xfrm>
            <a:off x="7611364" y="4104640"/>
            <a:ext cx="351028" cy="150241"/>
          </a:xfrm>
          <a:custGeom>
            <a:avLst/>
            <a:gdLst/>
            <a:ahLst/>
            <a:cxnLst/>
            <a:rect l="l" t="t" r="r" b="b"/>
            <a:pathLst>
              <a:path w="351028" h="150241">
                <a:moveTo>
                  <a:pt x="197992" y="54991"/>
                </a:moveTo>
                <a:cubicBezTo>
                  <a:pt x="191135" y="54991"/>
                  <a:pt x="185547" y="56769"/>
                  <a:pt x="181102" y="60325"/>
                </a:cubicBezTo>
                <a:cubicBezTo>
                  <a:pt x="176657" y="63881"/>
                  <a:pt x="174117" y="69596"/>
                  <a:pt x="173609" y="77470"/>
                </a:cubicBezTo>
                <a:lnTo>
                  <a:pt x="219837" y="77470"/>
                </a:lnTo>
                <a:cubicBezTo>
                  <a:pt x="219710" y="69977"/>
                  <a:pt x="217804" y="64389"/>
                  <a:pt x="214376" y="60579"/>
                </a:cubicBezTo>
                <a:cubicBezTo>
                  <a:pt x="210820" y="56896"/>
                  <a:pt x="205359" y="54991"/>
                  <a:pt x="197992" y="54991"/>
                </a:cubicBezTo>
                <a:close/>
                <a:moveTo>
                  <a:pt x="200914" y="32766"/>
                </a:moveTo>
                <a:cubicBezTo>
                  <a:pt x="218948" y="32766"/>
                  <a:pt x="232537" y="37211"/>
                  <a:pt x="241680" y="46355"/>
                </a:cubicBezTo>
                <a:cubicBezTo>
                  <a:pt x="250698" y="55499"/>
                  <a:pt x="255270" y="68707"/>
                  <a:pt x="255270" y="85852"/>
                </a:cubicBezTo>
                <a:lnTo>
                  <a:pt x="255270" y="98298"/>
                </a:lnTo>
                <a:lnTo>
                  <a:pt x="173736" y="98298"/>
                </a:lnTo>
                <a:cubicBezTo>
                  <a:pt x="174243" y="107061"/>
                  <a:pt x="177546" y="113665"/>
                  <a:pt x="183642" y="118364"/>
                </a:cubicBezTo>
                <a:cubicBezTo>
                  <a:pt x="189738" y="122936"/>
                  <a:pt x="198754" y="125222"/>
                  <a:pt x="210692" y="125222"/>
                </a:cubicBezTo>
                <a:cubicBezTo>
                  <a:pt x="218186" y="125222"/>
                  <a:pt x="225425" y="123825"/>
                  <a:pt x="232537" y="121158"/>
                </a:cubicBezTo>
                <a:cubicBezTo>
                  <a:pt x="239649" y="118491"/>
                  <a:pt x="245110" y="115570"/>
                  <a:pt x="249301" y="112522"/>
                </a:cubicBezTo>
                <a:lnTo>
                  <a:pt x="253238" y="112522"/>
                </a:lnTo>
                <a:lnTo>
                  <a:pt x="253238" y="141097"/>
                </a:lnTo>
                <a:cubicBezTo>
                  <a:pt x="245110" y="144272"/>
                  <a:pt x="237617" y="146685"/>
                  <a:pt x="230504" y="148082"/>
                </a:cubicBezTo>
                <a:cubicBezTo>
                  <a:pt x="223266" y="149606"/>
                  <a:pt x="215392" y="150241"/>
                  <a:pt x="206755" y="150241"/>
                </a:cubicBezTo>
                <a:cubicBezTo>
                  <a:pt x="184530" y="150241"/>
                  <a:pt x="167386" y="145288"/>
                  <a:pt x="155575" y="135255"/>
                </a:cubicBezTo>
                <a:cubicBezTo>
                  <a:pt x="143637" y="125222"/>
                  <a:pt x="137667" y="110871"/>
                  <a:pt x="137667" y="92329"/>
                </a:cubicBezTo>
                <a:cubicBezTo>
                  <a:pt x="137667" y="74041"/>
                  <a:pt x="143383" y="59563"/>
                  <a:pt x="154559" y="48768"/>
                </a:cubicBezTo>
                <a:cubicBezTo>
                  <a:pt x="165862" y="38100"/>
                  <a:pt x="181229" y="32766"/>
                  <a:pt x="200914" y="32766"/>
                </a:cubicBezTo>
                <a:close/>
                <a:moveTo>
                  <a:pt x="37973" y="27432"/>
                </a:moveTo>
                <a:lnTo>
                  <a:pt x="37973" y="71501"/>
                </a:lnTo>
                <a:lnTo>
                  <a:pt x="48895" y="71501"/>
                </a:lnTo>
                <a:cubicBezTo>
                  <a:pt x="55372" y="71501"/>
                  <a:pt x="60705" y="71120"/>
                  <a:pt x="64897" y="70358"/>
                </a:cubicBezTo>
                <a:cubicBezTo>
                  <a:pt x="69088" y="69469"/>
                  <a:pt x="72517" y="67945"/>
                  <a:pt x="75438" y="65532"/>
                </a:cubicBezTo>
                <a:cubicBezTo>
                  <a:pt x="77851" y="63500"/>
                  <a:pt x="79629" y="60960"/>
                  <a:pt x="80645" y="58039"/>
                </a:cubicBezTo>
                <a:cubicBezTo>
                  <a:pt x="81788" y="55118"/>
                  <a:pt x="82296" y="51562"/>
                  <a:pt x="82296" y="47244"/>
                </a:cubicBezTo>
                <a:cubicBezTo>
                  <a:pt x="82296" y="43180"/>
                  <a:pt x="81153" y="39624"/>
                  <a:pt x="78993" y="36576"/>
                </a:cubicBezTo>
                <a:cubicBezTo>
                  <a:pt x="76708" y="33655"/>
                  <a:pt x="74167" y="31496"/>
                  <a:pt x="71120" y="30353"/>
                </a:cubicBezTo>
                <a:cubicBezTo>
                  <a:pt x="67183" y="28702"/>
                  <a:pt x="63373" y="27813"/>
                  <a:pt x="59563" y="27686"/>
                </a:cubicBezTo>
                <a:cubicBezTo>
                  <a:pt x="55753" y="27559"/>
                  <a:pt x="50800" y="27432"/>
                  <a:pt x="44577" y="27432"/>
                </a:cubicBezTo>
                <a:close/>
                <a:moveTo>
                  <a:pt x="282067" y="4445"/>
                </a:moveTo>
                <a:lnTo>
                  <a:pt x="317754" y="4445"/>
                </a:lnTo>
                <a:lnTo>
                  <a:pt x="317754" y="36195"/>
                </a:lnTo>
                <a:lnTo>
                  <a:pt x="351028" y="36195"/>
                </a:lnTo>
                <a:lnTo>
                  <a:pt x="351028" y="60325"/>
                </a:lnTo>
                <a:lnTo>
                  <a:pt x="317754" y="60325"/>
                </a:lnTo>
                <a:lnTo>
                  <a:pt x="317754" y="99822"/>
                </a:lnTo>
                <a:cubicBezTo>
                  <a:pt x="317754" y="103632"/>
                  <a:pt x="317754" y="107061"/>
                  <a:pt x="317880" y="109982"/>
                </a:cubicBezTo>
                <a:cubicBezTo>
                  <a:pt x="317880" y="112903"/>
                  <a:pt x="318389" y="115443"/>
                  <a:pt x="319404" y="117856"/>
                </a:cubicBezTo>
                <a:cubicBezTo>
                  <a:pt x="320293" y="120142"/>
                  <a:pt x="321945" y="121920"/>
                  <a:pt x="324358" y="123317"/>
                </a:cubicBezTo>
                <a:cubicBezTo>
                  <a:pt x="326643" y="124714"/>
                  <a:pt x="330073" y="125349"/>
                  <a:pt x="334517" y="125349"/>
                </a:cubicBezTo>
                <a:cubicBezTo>
                  <a:pt x="336423" y="125349"/>
                  <a:pt x="338836" y="124968"/>
                  <a:pt x="341757" y="124206"/>
                </a:cubicBezTo>
                <a:cubicBezTo>
                  <a:pt x="344804" y="123317"/>
                  <a:pt x="346837" y="122682"/>
                  <a:pt x="348107" y="121920"/>
                </a:cubicBezTo>
                <a:lnTo>
                  <a:pt x="351028" y="121920"/>
                </a:lnTo>
                <a:lnTo>
                  <a:pt x="351028" y="146304"/>
                </a:lnTo>
                <a:cubicBezTo>
                  <a:pt x="347217" y="147320"/>
                  <a:pt x="343154" y="148082"/>
                  <a:pt x="338836" y="148590"/>
                </a:cubicBezTo>
                <a:cubicBezTo>
                  <a:pt x="334517" y="149225"/>
                  <a:pt x="329311" y="149479"/>
                  <a:pt x="323088" y="149479"/>
                </a:cubicBezTo>
                <a:cubicBezTo>
                  <a:pt x="309245" y="149479"/>
                  <a:pt x="298958" y="146685"/>
                  <a:pt x="292227" y="141097"/>
                </a:cubicBezTo>
                <a:cubicBezTo>
                  <a:pt x="285368" y="135509"/>
                  <a:pt x="282067" y="125857"/>
                  <a:pt x="282067" y="112268"/>
                </a:cubicBezTo>
                <a:lnTo>
                  <a:pt x="282067" y="60325"/>
                </a:lnTo>
                <a:lnTo>
                  <a:pt x="267335" y="60325"/>
                </a:lnTo>
                <a:lnTo>
                  <a:pt x="267335" y="36195"/>
                </a:lnTo>
                <a:lnTo>
                  <a:pt x="282067" y="36195"/>
                </a:lnTo>
                <a:close/>
                <a:moveTo>
                  <a:pt x="0" y="0"/>
                </a:moveTo>
                <a:lnTo>
                  <a:pt x="62484" y="0"/>
                </a:lnTo>
                <a:cubicBezTo>
                  <a:pt x="71882" y="0"/>
                  <a:pt x="79755" y="762"/>
                  <a:pt x="86233" y="2413"/>
                </a:cubicBezTo>
                <a:cubicBezTo>
                  <a:pt x="92710" y="3937"/>
                  <a:pt x="98425" y="6350"/>
                  <a:pt x="103251" y="9652"/>
                </a:cubicBezTo>
                <a:cubicBezTo>
                  <a:pt x="109220" y="13589"/>
                  <a:pt x="113792" y="18542"/>
                  <a:pt x="116967" y="24638"/>
                </a:cubicBezTo>
                <a:cubicBezTo>
                  <a:pt x="120015" y="30607"/>
                  <a:pt x="121666" y="37973"/>
                  <a:pt x="121666" y="46482"/>
                </a:cubicBezTo>
                <a:cubicBezTo>
                  <a:pt x="121666" y="53086"/>
                  <a:pt x="120523" y="59563"/>
                  <a:pt x="118110" y="65786"/>
                </a:cubicBezTo>
                <a:cubicBezTo>
                  <a:pt x="115824" y="72136"/>
                  <a:pt x="112522" y="77343"/>
                  <a:pt x="108204" y="81661"/>
                </a:cubicBezTo>
                <a:cubicBezTo>
                  <a:pt x="102362" y="87503"/>
                  <a:pt x="95885" y="91948"/>
                  <a:pt x="88646" y="94869"/>
                </a:cubicBezTo>
                <a:cubicBezTo>
                  <a:pt x="81407" y="97790"/>
                  <a:pt x="72390" y="99314"/>
                  <a:pt x="61595" y="99314"/>
                </a:cubicBezTo>
                <a:lnTo>
                  <a:pt x="37973" y="99314"/>
                </a:lnTo>
                <a:lnTo>
                  <a:pt x="37973" y="147320"/>
                </a:lnTo>
                <a:lnTo>
                  <a:pt x="0" y="14732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14" name="object 414"/>
          <p:cNvSpPr/>
          <p:nvPr/>
        </p:nvSpPr>
        <p:spPr>
          <a:xfrm>
            <a:off x="7804841" y="4155059"/>
            <a:ext cx="9143" cy="9144"/>
          </a:xfrm>
          <a:custGeom>
            <a:avLst/>
            <a:gdLst/>
            <a:ahLst/>
            <a:cxnLst/>
            <a:rect l="l" t="t" r="r" b="b"/>
            <a:pathLst>
              <a:path w="9143" h="9144">
                <a:moveTo>
                  <a:pt x="4571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15" name="object 415"/>
          <p:cNvSpPr/>
          <p:nvPr/>
        </p:nvSpPr>
        <p:spPr>
          <a:xfrm>
            <a:off x="7780457" y="4155064"/>
            <a:ext cx="33527" cy="31623"/>
          </a:xfrm>
          <a:custGeom>
            <a:avLst/>
            <a:gdLst/>
            <a:ahLst/>
            <a:cxnLst/>
            <a:rect l="l" t="t" r="r" b="b"/>
            <a:pathLst>
              <a:path w="33527" h="31623">
                <a:moveTo>
                  <a:pt x="28955" y="4572"/>
                </a:moveTo>
                <a:cubicBezTo>
                  <a:pt x="22098" y="4572"/>
                  <a:pt x="16510" y="6350"/>
                  <a:pt x="12065" y="9906"/>
                </a:cubicBezTo>
                <a:cubicBezTo>
                  <a:pt x="7620" y="13462"/>
                  <a:pt x="5080" y="19177"/>
                  <a:pt x="4572" y="27051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16" name="object 416"/>
          <p:cNvSpPr/>
          <p:nvPr/>
        </p:nvSpPr>
        <p:spPr>
          <a:xfrm>
            <a:off x="7780401" y="4177538"/>
            <a:ext cx="55372" cy="9144"/>
          </a:xfrm>
          <a:custGeom>
            <a:avLst/>
            <a:gdLst/>
            <a:ahLst/>
            <a:cxnLst/>
            <a:rect l="l" t="t" r="r" b="b"/>
            <a:pathLst>
              <a:path w="55372" h="9144">
                <a:moveTo>
                  <a:pt x="4572" y="4572"/>
                </a:moveTo>
                <a:lnTo>
                  <a:pt x="50800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17" name="object 417"/>
          <p:cNvSpPr/>
          <p:nvPr/>
        </p:nvSpPr>
        <p:spPr>
          <a:xfrm>
            <a:off x="7804785" y="4155064"/>
            <a:ext cx="30988" cy="31623"/>
          </a:xfrm>
          <a:custGeom>
            <a:avLst/>
            <a:gdLst/>
            <a:ahLst/>
            <a:cxnLst/>
            <a:rect l="l" t="t" r="r" b="b"/>
            <a:pathLst>
              <a:path w="30988" h="31623">
                <a:moveTo>
                  <a:pt x="26416" y="27051"/>
                </a:moveTo>
                <a:cubicBezTo>
                  <a:pt x="26289" y="19558"/>
                  <a:pt x="24383" y="13970"/>
                  <a:pt x="20955" y="10160"/>
                </a:cubicBezTo>
                <a:cubicBezTo>
                  <a:pt x="17399" y="6477"/>
                  <a:pt x="11938" y="4572"/>
                  <a:pt x="4571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18" name="object 418"/>
          <p:cNvSpPr/>
          <p:nvPr/>
        </p:nvSpPr>
        <p:spPr>
          <a:xfrm>
            <a:off x="7804792" y="4132836"/>
            <a:ext cx="12065" cy="31369"/>
          </a:xfrm>
          <a:custGeom>
            <a:avLst/>
            <a:gdLst/>
            <a:ahLst/>
            <a:cxnLst/>
            <a:rect l="l" t="t" r="r" b="b"/>
            <a:pathLst>
              <a:path w="12065" h="31369">
                <a:moveTo>
                  <a:pt x="4571" y="26797"/>
                </a:moveTo>
                <a:moveTo>
                  <a:pt x="4571" y="26797"/>
                </a:moveTo>
                <a:moveTo>
                  <a:pt x="7493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19" name="object 419"/>
          <p:cNvSpPr/>
          <p:nvPr/>
        </p:nvSpPr>
        <p:spPr>
          <a:xfrm>
            <a:off x="7807762" y="4132834"/>
            <a:ext cx="63499" cy="62230"/>
          </a:xfrm>
          <a:custGeom>
            <a:avLst/>
            <a:gdLst/>
            <a:ahLst/>
            <a:cxnLst/>
            <a:rect l="l" t="t" r="r" b="b"/>
            <a:pathLst>
              <a:path w="63499" h="62230">
                <a:moveTo>
                  <a:pt x="4572" y="4572"/>
                </a:moveTo>
                <a:cubicBezTo>
                  <a:pt x="22606" y="4572"/>
                  <a:pt x="36195" y="9017"/>
                  <a:pt x="45338" y="18161"/>
                </a:cubicBezTo>
                <a:cubicBezTo>
                  <a:pt x="54356" y="27305"/>
                  <a:pt x="58928" y="40513"/>
                  <a:pt x="58928" y="57658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20" name="object 420"/>
          <p:cNvSpPr/>
          <p:nvPr/>
        </p:nvSpPr>
        <p:spPr>
          <a:xfrm>
            <a:off x="7780530" y="4198366"/>
            <a:ext cx="84709" cy="36068"/>
          </a:xfrm>
          <a:custGeom>
            <a:avLst/>
            <a:gdLst/>
            <a:ahLst/>
            <a:cxnLst/>
            <a:rect l="l" t="t" r="r" b="b"/>
            <a:pathLst>
              <a:path w="84709" h="36068">
                <a:moveTo>
                  <a:pt x="4572" y="4572"/>
                </a:moveTo>
                <a:cubicBezTo>
                  <a:pt x="5079" y="13335"/>
                  <a:pt x="8382" y="19939"/>
                  <a:pt x="14478" y="24638"/>
                </a:cubicBezTo>
                <a:cubicBezTo>
                  <a:pt x="20574" y="29210"/>
                  <a:pt x="29590" y="31496"/>
                  <a:pt x="41528" y="31496"/>
                </a:cubicBezTo>
                <a:cubicBezTo>
                  <a:pt x="49022" y="31496"/>
                  <a:pt x="56261" y="30099"/>
                  <a:pt x="63373" y="27432"/>
                </a:cubicBezTo>
                <a:cubicBezTo>
                  <a:pt x="70485" y="24765"/>
                  <a:pt x="75946" y="21844"/>
                  <a:pt x="80137" y="18796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21" name="object 421"/>
          <p:cNvSpPr/>
          <p:nvPr/>
        </p:nvSpPr>
        <p:spPr>
          <a:xfrm>
            <a:off x="7856093" y="4212702"/>
            <a:ext cx="13080" cy="37719"/>
          </a:xfrm>
          <a:custGeom>
            <a:avLst/>
            <a:gdLst/>
            <a:ahLst/>
            <a:cxnLst/>
            <a:rect l="l" t="t" r="r" b="b"/>
            <a:pathLst>
              <a:path w="13080" h="37719">
                <a:moveTo>
                  <a:pt x="4572" y="4572"/>
                </a:moveTo>
                <a:lnTo>
                  <a:pt x="8509" y="4572"/>
                </a:lnTo>
                <a:lnTo>
                  <a:pt x="8509" y="33147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22" name="object 422"/>
          <p:cNvSpPr/>
          <p:nvPr/>
        </p:nvSpPr>
        <p:spPr>
          <a:xfrm>
            <a:off x="7644765" y="4127501"/>
            <a:ext cx="224409" cy="131953"/>
          </a:xfrm>
          <a:custGeom>
            <a:avLst/>
            <a:gdLst/>
            <a:ahLst/>
            <a:cxnLst/>
            <a:rect l="l" t="t" r="r" b="b"/>
            <a:pathLst>
              <a:path w="224409" h="131953">
                <a:moveTo>
                  <a:pt x="219837" y="118237"/>
                </a:moveTo>
                <a:cubicBezTo>
                  <a:pt x="211709" y="121412"/>
                  <a:pt x="204216" y="123825"/>
                  <a:pt x="197103" y="125222"/>
                </a:cubicBezTo>
                <a:cubicBezTo>
                  <a:pt x="189865" y="126746"/>
                  <a:pt x="181991" y="127381"/>
                  <a:pt x="173354" y="127381"/>
                </a:cubicBezTo>
                <a:cubicBezTo>
                  <a:pt x="151129" y="127381"/>
                  <a:pt x="133985" y="122428"/>
                  <a:pt x="122174" y="112395"/>
                </a:cubicBezTo>
                <a:cubicBezTo>
                  <a:pt x="110236" y="102362"/>
                  <a:pt x="104266" y="88011"/>
                  <a:pt x="104266" y="69469"/>
                </a:cubicBezTo>
                <a:cubicBezTo>
                  <a:pt x="104266" y="51181"/>
                  <a:pt x="109982" y="36703"/>
                  <a:pt x="121158" y="25908"/>
                </a:cubicBezTo>
                <a:cubicBezTo>
                  <a:pt x="132461" y="15240"/>
                  <a:pt x="147828" y="9906"/>
                  <a:pt x="167513" y="9906"/>
                </a:cubicBezTo>
                <a:moveTo>
                  <a:pt x="164591" y="32131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23" name="object 423"/>
          <p:cNvSpPr/>
          <p:nvPr/>
        </p:nvSpPr>
        <p:spPr>
          <a:xfrm>
            <a:off x="7644821" y="4127503"/>
            <a:ext cx="20065" cy="53213"/>
          </a:xfrm>
          <a:custGeom>
            <a:avLst/>
            <a:gdLst/>
            <a:ahLst/>
            <a:cxnLst/>
            <a:rect l="l" t="t" r="r" b="b"/>
            <a:pathLst>
              <a:path w="20065" h="53213">
                <a:moveTo>
                  <a:pt x="4572" y="4572"/>
                </a:moveTo>
                <a:lnTo>
                  <a:pt x="4572" y="48641"/>
                </a:lnTo>
                <a:lnTo>
                  <a:pt x="15494" y="4864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24" name="object 424"/>
          <p:cNvSpPr/>
          <p:nvPr/>
        </p:nvSpPr>
        <p:spPr>
          <a:xfrm>
            <a:off x="7651376" y="4104513"/>
            <a:ext cx="246633" cy="76200"/>
          </a:xfrm>
          <a:custGeom>
            <a:avLst/>
            <a:gdLst/>
            <a:ahLst/>
            <a:cxnLst/>
            <a:rect l="l" t="t" r="r" b="b"/>
            <a:pathLst>
              <a:path w="246633" h="76200">
                <a:moveTo>
                  <a:pt x="8890" y="71628"/>
                </a:moveTo>
                <a:cubicBezTo>
                  <a:pt x="15367" y="71628"/>
                  <a:pt x="20700" y="71247"/>
                  <a:pt x="24892" y="70485"/>
                </a:cubicBezTo>
                <a:cubicBezTo>
                  <a:pt x="29083" y="69596"/>
                  <a:pt x="32512" y="68072"/>
                  <a:pt x="35433" y="65659"/>
                </a:cubicBezTo>
                <a:cubicBezTo>
                  <a:pt x="37846" y="63627"/>
                  <a:pt x="39624" y="61087"/>
                  <a:pt x="40640" y="58166"/>
                </a:cubicBezTo>
                <a:cubicBezTo>
                  <a:pt x="41783" y="55245"/>
                  <a:pt x="42291" y="51689"/>
                  <a:pt x="42291" y="47371"/>
                </a:cubicBezTo>
                <a:cubicBezTo>
                  <a:pt x="42291" y="43307"/>
                  <a:pt x="41148" y="39751"/>
                  <a:pt x="38988" y="36703"/>
                </a:cubicBezTo>
                <a:cubicBezTo>
                  <a:pt x="36703" y="33782"/>
                  <a:pt x="34162" y="31623"/>
                  <a:pt x="31115" y="30480"/>
                </a:cubicBezTo>
                <a:cubicBezTo>
                  <a:pt x="27178" y="28829"/>
                  <a:pt x="23368" y="27940"/>
                  <a:pt x="19558" y="27813"/>
                </a:cubicBezTo>
                <a:cubicBezTo>
                  <a:pt x="15748" y="27686"/>
                  <a:pt x="10795" y="27559"/>
                  <a:pt x="4572" y="27559"/>
                </a:cubicBezTo>
                <a:moveTo>
                  <a:pt x="157987" y="55118"/>
                </a:moveTo>
                <a:moveTo>
                  <a:pt x="24206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25" name="object 425"/>
          <p:cNvSpPr/>
          <p:nvPr/>
        </p:nvSpPr>
        <p:spPr>
          <a:xfrm>
            <a:off x="7888862" y="4104516"/>
            <a:ext cx="78104" cy="104521"/>
          </a:xfrm>
          <a:custGeom>
            <a:avLst/>
            <a:gdLst/>
            <a:ahLst/>
            <a:cxnLst/>
            <a:rect l="l" t="t" r="r" b="b"/>
            <a:pathLst>
              <a:path w="78104" h="104521">
                <a:moveTo>
                  <a:pt x="4572" y="4572"/>
                </a:moveTo>
                <a:lnTo>
                  <a:pt x="40259" y="4572"/>
                </a:lnTo>
                <a:lnTo>
                  <a:pt x="40259" y="36322"/>
                </a:lnTo>
                <a:lnTo>
                  <a:pt x="73533" y="36322"/>
                </a:lnTo>
                <a:lnTo>
                  <a:pt x="73533" y="60452"/>
                </a:lnTo>
                <a:lnTo>
                  <a:pt x="40259" y="60452"/>
                </a:lnTo>
                <a:lnTo>
                  <a:pt x="40259" y="99949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26" name="object 426"/>
          <p:cNvSpPr/>
          <p:nvPr/>
        </p:nvSpPr>
        <p:spPr>
          <a:xfrm>
            <a:off x="7924546" y="4200002"/>
            <a:ext cx="39496" cy="34671"/>
          </a:xfrm>
          <a:custGeom>
            <a:avLst/>
            <a:gdLst/>
            <a:ahLst/>
            <a:cxnLst/>
            <a:rect l="l" t="t" r="r" b="b"/>
            <a:pathLst>
              <a:path w="39496" h="34671">
                <a:moveTo>
                  <a:pt x="4572" y="4572"/>
                </a:moveTo>
                <a:cubicBezTo>
                  <a:pt x="4572" y="8382"/>
                  <a:pt x="4572" y="11811"/>
                  <a:pt x="4698" y="14732"/>
                </a:cubicBezTo>
                <a:cubicBezTo>
                  <a:pt x="4698" y="17653"/>
                  <a:pt x="5207" y="20193"/>
                  <a:pt x="6222" y="22606"/>
                </a:cubicBezTo>
                <a:cubicBezTo>
                  <a:pt x="7111" y="24892"/>
                  <a:pt x="8763" y="26670"/>
                  <a:pt x="11176" y="28067"/>
                </a:cubicBezTo>
                <a:cubicBezTo>
                  <a:pt x="13461" y="29464"/>
                  <a:pt x="16891" y="30099"/>
                  <a:pt x="21335" y="30099"/>
                </a:cubicBezTo>
                <a:cubicBezTo>
                  <a:pt x="23241" y="30099"/>
                  <a:pt x="25654" y="29718"/>
                  <a:pt x="28575" y="28956"/>
                </a:cubicBezTo>
                <a:cubicBezTo>
                  <a:pt x="31622" y="28067"/>
                  <a:pt x="33655" y="27432"/>
                  <a:pt x="34925" y="26670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27" name="object 427"/>
          <p:cNvSpPr/>
          <p:nvPr/>
        </p:nvSpPr>
        <p:spPr>
          <a:xfrm>
            <a:off x="7954900" y="4221988"/>
            <a:ext cx="12065" cy="33528"/>
          </a:xfrm>
          <a:custGeom>
            <a:avLst/>
            <a:gdLst/>
            <a:ahLst/>
            <a:cxnLst/>
            <a:rect l="l" t="t" r="r" b="b"/>
            <a:pathLst>
              <a:path w="12065" h="33528">
                <a:moveTo>
                  <a:pt x="4572" y="4572"/>
                </a:moveTo>
                <a:lnTo>
                  <a:pt x="7493" y="4572"/>
                </a:lnTo>
                <a:lnTo>
                  <a:pt x="7493" y="28956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28" name="object 428"/>
          <p:cNvSpPr/>
          <p:nvPr/>
        </p:nvSpPr>
        <p:spPr>
          <a:xfrm>
            <a:off x="7888862" y="4212448"/>
            <a:ext cx="78104" cy="46355"/>
          </a:xfrm>
          <a:custGeom>
            <a:avLst/>
            <a:gdLst/>
            <a:ahLst/>
            <a:cxnLst/>
            <a:rect l="l" t="t" r="r" b="b"/>
            <a:pathLst>
              <a:path w="78104" h="46355">
                <a:moveTo>
                  <a:pt x="73533" y="38608"/>
                </a:moveTo>
                <a:cubicBezTo>
                  <a:pt x="69722" y="39624"/>
                  <a:pt x="65659" y="40386"/>
                  <a:pt x="61341" y="40894"/>
                </a:cubicBezTo>
                <a:cubicBezTo>
                  <a:pt x="57022" y="41529"/>
                  <a:pt x="51816" y="41783"/>
                  <a:pt x="45593" y="41783"/>
                </a:cubicBezTo>
                <a:cubicBezTo>
                  <a:pt x="31750" y="41783"/>
                  <a:pt x="21463" y="38989"/>
                  <a:pt x="14732" y="33401"/>
                </a:cubicBezTo>
                <a:cubicBezTo>
                  <a:pt x="7873" y="27813"/>
                  <a:pt x="4572" y="18161"/>
                  <a:pt x="4572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29" name="object 429"/>
          <p:cNvSpPr/>
          <p:nvPr/>
        </p:nvSpPr>
        <p:spPr>
          <a:xfrm>
            <a:off x="7874127" y="4136267"/>
            <a:ext cx="23876" cy="85217"/>
          </a:xfrm>
          <a:custGeom>
            <a:avLst/>
            <a:gdLst/>
            <a:ahLst/>
            <a:cxnLst/>
            <a:rect l="l" t="t" r="r" b="b"/>
            <a:pathLst>
              <a:path w="23876" h="85217">
                <a:moveTo>
                  <a:pt x="19304" y="80645"/>
                </a:moveTo>
                <a:lnTo>
                  <a:pt x="19304" y="28702"/>
                </a:lnTo>
                <a:lnTo>
                  <a:pt x="4572" y="28702"/>
                </a:lnTo>
                <a:lnTo>
                  <a:pt x="4572" y="4572"/>
                </a:lnTo>
                <a:lnTo>
                  <a:pt x="19304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30" name="object 430"/>
          <p:cNvSpPr/>
          <p:nvPr/>
        </p:nvSpPr>
        <p:spPr>
          <a:xfrm>
            <a:off x="7606792" y="4100071"/>
            <a:ext cx="291210" cy="64135"/>
          </a:xfrm>
          <a:custGeom>
            <a:avLst/>
            <a:gdLst/>
            <a:ahLst/>
            <a:cxnLst/>
            <a:rect l="l" t="t" r="r" b="b"/>
            <a:pathLst>
              <a:path w="291210" h="64135">
                <a:moveTo>
                  <a:pt x="286639" y="40767"/>
                </a:moveTo>
                <a:moveTo>
                  <a:pt x="202564" y="59563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31" name="object 431"/>
          <p:cNvSpPr/>
          <p:nvPr/>
        </p:nvSpPr>
        <p:spPr>
          <a:xfrm>
            <a:off x="7606795" y="4100068"/>
            <a:ext cx="71627" cy="9144"/>
          </a:xfrm>
          <a:custGeom>
            <a:avLst/>
            <a:gdLst/>
            <a:ahLst/>
            <a:cxnLst/>
            <a:rect l="l" t="t" r="r" b="b"/>
            <a:pathLst>
              <a:path w="71627" h="9144">
                <a:moveTo>
                  <a:pt x="4572" y="4572"/>
                </a:moveTo>
                <a:lnTo>
                  <a:pt x="67056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32" name="object 432"/>
          <p:cNvSpPr/>
          <p:nvPr/>
        </p:nvSpPr>
        <p:spPr>
          <a:xfrm>
            <a:off x="7668408" y="4100068"/>
            <a:ext cx="69215" cy="108458"/>
          </a:xfrm>
          <a:custGeom>
            <a:avLst/>
            <a:gdLst/>
            <a:ahLst/>
            <a:cxnLst/>
            <a:rect l="l" t="t" r="r" b="b"/>
            <a:pathLst>
              <a:path w="69215" h="108458">
                <a:moveTo>
                  <a:pt x="5461" y="4572"/>
                </a:moveTo>
                <a:cubicBezTo>
                  <a:pt x="14859" y="4572"/>
                  <a:pt x="22732" y="5334"/>
                  <a:pt x="29210" y="6985"/>
                </a:cubicBezTo>
                <a:cubicBezTo>
                  <a:pt x="35687" y="8509"/>
                  <a:pt x="41402" y="10922"/>
                  <a:pt x="46228" y="14224"/>
                </a:cubicBezTo>
                <a:cubicBezTo>
                  <a:pt x="52197" y="18161"/>
                  <a:pt x="56769" y="23114"/>
                  <a:pt x="59944" y="29210"/>
                </a:cubicBezTo>
                <a:cubicBezTo>
                  <a:pt x="62992" y="35179"/>
                  <a:pt x="64643" y="42545"/>
                  <a:pt x="64643" y="51054"/>
                </a:cubicBezTo>
                <a:cubicBezTo>
                  <a:pt x="64643" y="57658"/>
                  <a:pt x="63500" y="64135"/>
                  <a:pt x="61087" y="70358"/>
                </a:cubicBezTo>
                <a:cubicBezTo>
                  <a:pt x="58801" y="76708"/>
                  <a:pt x="55499" y="81915"/>
                  <a:pt x="51181" y="86233"/>
                </a:cubicBezTo>
                <a:cubicBezTo>
                  <a:pt x="45339" y="92075"/>
                  <a:pt x="38862" y="96520"/>
                  <a:pt x="31623" y="99441"/>
                </a:cubicBezTo>
                <a:cubicBezTo>
                  <a:pt x="24384" y="102362"/>
                  <a:pt x="15367" y="103886"/>
                  <a:pt x="4572" y="103886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33" name="object 433"/>
          <p:cNvSpPr/>
          <p:nvPr/>
        </p:nvSpPr>
        <p:spPr>
          <a:xfrm>
            <a:off x="7606792" y="4199382"/>
            <a:ext cx="70738" cy="57150"/>
          </a:xfrm>
          <a:custGeom>
            <a:avLst/>
            <a:gdLst/>
            <a:ahLst/>
            <a:cxnLst/>
            <a:rect l="l" t="t" r="r" b="b"/>
            <a:pathLst>
              <a:path w="70738" h="57150">
                <a:moveTo>
                  <a:pt x="66167" y="4572"/>
                </a:moveTo>
                <a:lnTo>
                  <a:pt x="42545" y="4572"/>
                </a:lnTo>
                <a:lnTo>
                  <a:pt x="42545" y="52578"/>
                </a:lnTo>
                <a:lnTo>
                  <a:pt x="4572" y="52578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34" name="object 434"/>
          <p:cNvSpPr/>
          <p:nvPr/>
        </p:nvSpPr>
        <p:spPr>
          <a:xfrm>
            <a:off x="7606798" y="4155171"/>
            <a:ext cx="207136" cy="101473"/>
          </a:xfrm>
          <a:custGeom>
            <a:avLst/>
            <a:gdLst/>
            <a:ahLst/>
            <a:cxnLst/>
            <a:rect l="l" t="t" r="r" b="b"/>
            <a:pathLst>
              <a:path w="207136" h="101473">
                <a:moveTo>
                  <a:pt x="4572" y="96901"/>
                </a:moveTo>
                <a:moveTo>
                  <a:pt x="202564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35" name="object 435"/>
          <p:cNvSpPr/>
          <p:nvPr/>
        </p:nvSpPr>
        <p:spPr>
          <a:xfrm>
            <a:off x="6582720" y="4341749"/>
            <a:ext cx="1228343" cy="157480"/>
          </a:xfrm>
          <a:custGeom>
            <a:avLst/>
            <a:gdLst/>
            <a:ahLst/>
            <a:cxnLst/>
            <a:rect l="l" t="t" r="r" b="b"/>
            <a:pathLst>
              <a:path w="1228343" h="157480">
                <a:moveTo>
                  <a:pt x="1193038" y="101854"/>
                </a:moveTo>
                <a:cubicBezTo>
                  <a:pt x="1188212" y="102235"/>
                  <a:pt x="1183004" y="102870"/>
                  <a:pt x="1177417" y="103505"/>
                </a:cubicBezTo>
                <a:cubicBezTo>
                  <a:pt x="1171829" y="104140"/>
                  <a:pt x="1167511" y="105029"/>
                  <a:pt x="1164717" y="105918"/>
                </a:cubicBezTo>
                <a:cubicBezTo>
                  <a:pt x="1161161" y="107061"/>
                  <a:pt x="1158367" y="108712"/>
                  <a:pt x="1156462" y="110871"/>
                </a:cubicBezTo>
                <a:cubicBezTo>
                  <a:pt x="1154557" y="112903"/>
                  <a:pt x="1153667" y="115824"/>
                  <a:pt x="1153667" y="119253"/>
                </a:cubicBezTo>
                <a:cubicBezTo>
                  <a:pt x="1153667" y="121539"/>
                  <a:pt x="1153922" y="123444"/>
                  <a:pt x="1154303" y="124841"/>
                </a:cubicBezTo>
                <a:cubicBezTo>
                  <a:pt x="1154684" y="126365"/>
                  <a:pt x="1155700" y="127762"/>
                  <a:pt x="1157224" y="129032"/>
                </a:cubicBezTo>
                <a:cubicBezTo>
                  <a:pt x="1158748" y="130302"/>
                  <a:pt x="1160526" y="131318"/>
                  <a:pt x="1162685" y="131953"/>
                </a:cubicBezTo>
                <a:cubicBezTo>
                  <a:pt x="1164843" y="132588"/>
                  <a:pt x="1168146" y="132842"/>
                  <a:pt x="1172591" y="132842"/>
                </a:cubicBezTo>
                <a:cubicBezTo>
                  <a:pt x="1176147" y="132842"/>
                  <a:pt x="1179703" y="132080"/>
                  <a:pt x="1183386" y="130683"/>
                </a:cubicBezTo>
                <a:cubicBezTo>
                  <a:pt x="1187068" y="129286"/>
                  <a:pt x="1190243" y="127381"/>
                  <a:pt x="1193038" y="124968"/>
                </a:cubicBezTo>
                <a:close/>
                <a:moveTo>
                  <a:pt x="464820" y="65913"/>
                </a:moveTo>
                <a:cubicBezTo>
                  <a:pt x="455422" y="65913"/>
                  <a:pt x="448437" y="68834"/>
                  <a:pt x="443738" y="74676"/>
                </a:cubicBezTo>
                <a:cubicBezTo>
                  <a:pt x="439039" y="80518"/>
                  <a:pt x="436753" y="88646"/>
                  <a:pt x="436753" y="98933"/>
                </a:cubicBezTo>
                <a:cubicBezTo>
                  <a:pt x="436753" y="109855"/>
                  <a:pt x="438658" y="117729"/>
                  <a:pt x="442341" y="122682"/>
                </a:cubicBezTo>
                <a:cubicBezTo>
                  <a:pt x="446151" y="127635"/>
                  <a:pt x="452120" y="130048"/>
                  <a:pt x="460502" y="130048"/>
                </a:cubicBezTo>
                <a:cubicBezTo>
                  <a:pt x="463677" y="130048"/>
                  <a:pt x="467105" y="129540"/>
                  <a:pt x="470789" y="128270"/>
                </a:cubicBezTo>
                <a:cubicBezTo>
                  <a:pt x="474345" y="127000"/>
                  <a:pt x="477520" y="125476"/>
                  <a:pt x="480314" y="123444"/>
                </a:cubicBezTo>
                <a:lnTo>
                  <a:pt x="480314" y="68834"/>
                </a:lnTo>
                <a:cubicBezTo>
                  <a:pt x="477774" y="67818"/>
                  <a:pt x="475234" y="67056"/>
                  <a:pt x="472440" y="66548"/>
                </a:cubicBezTo>
                <a:cubicBezTo>
                  <a:pt x="469646" y="66040"/>
                  <a:pt x="467105" y="65913"/>
                  <a:pt x="464820" y="65913"/>
                </a:cubicBezTo>
                <a:close/>
                <a:moveTo>
                  <a:pt x="322072" y="64262"/>
                </a:moveTo>
                <a:cubicBezTo>
                  <a:pt x="318642" y="64262"/>
                  <a:pt x="315595" y="64770"/>
                  <a:pt x="312928" y="65659"/>
                </a:cubicBezTo>
                <a:cubicBezTo>
                  <a:pt x="310261" y="66548"/>
                  <a:pt x="307593" y="68453"/>
                  <a:pt x="305180" y="71247"/>
                </a:cubicBezTo>
                <a:cubicBezTo>
                  <a:pt x="303022" y="73787"/>
                  <a:pt x="301243" y="77343"/>
                  <a:pt x="299974" y="81788"/>
                </a:cubicBezTo>
                <a:cubicBezTo>
                  <a:pt x="298704" y="86233"/>
                  <a:pt x="298068" y="91948"/>
                  <a:pt x="298068" y="98679"/>
                </a:cubicBezTo>
                <a:cubicBezTo>
                  <a:pt x="298068" y="104775"/>
                  <a:pt x="298577" y="110109"/>
                  <a:pt x="299720" y="114554"/>
                </a:cubicBezTo>
                <a:cubicBezTo>
                  <a:pt x="300863" y="118999"/>
                  <a:pt x="302514" y="122555"/>
                  <a:pt x="304673" y="125222"/>
                </a:cubicBezTo>
                <a:cubicBezTo>
                  <a:pt x="306832" y="127762"/>
                  <a:pt x="309372" y="129667"/>
                  <a:pt x="312292" y="130937"/>
                </a:cubicBezTo>
                <a:cubicBezTo>
                  <a:pt x="315214" y="132080"/>
                  <a:pt x="318516" y="132715"/>
                  <a:pt x="322326" y="132715"/>
                </a:cubicBezTo>
                <a:cubicBezTo>
                  <a:pt x="325501" y="132715"/>
                  <a:pt x="328676" y="132080"/>
                  <a:pt x="331597" y="131064"/>
                </a:cubicBezTo>
                <a:cubicBezTo>
                  <a:pt x="334517" y="129921"/>
                  <a:pt x="337058" y="128143"/>
                  <a:pt x="339090" y="125476"/>
                </a:cubicBezTo>
                <a:cubicBezTo>
                  <a:pt x="341376" y="122682"/>
                  <a:pt x="343154" y="119253"/>
                  <a:pt x="344297" y="115316"/>
                </a:cubicBezTo>
                <a:cubicBezTo>
                  <a:pt x="345440" y="111252"/>
                  <a:pt x="345948" y="105791"/>
                  <a:pt x="345948" y="98679"/>
                </a:cubicBezTo>
                <a:cubicBezTo>
                  <a:pt x="345948" y="92202"/>
                  <a:pt x="345440" y="86741"/>
                  <a:pt x="344170" y="82296"/>
                </a:cubicBezTo>
                <a:cubicBezTo>
                  <a:pt x="343027" y="77851"/>
                  <a:pt x="341376" y="74295"/>
                  <a:pt x="339217" y="71755"/>
                </a:cubicBezTo>
                <a:cubicBezTo>
                  <a:pt x="337185" y="68961"/>
                  <a:pt x="334645" y="67056"/>
                  <a:pt x="331597" y="65913"/>
                </a:cubicBezTo>
                <a:cubicBezTo>
                  <a:pt x="328676" y="64897"/>
                  <a:pt x="325501" y="64262"/>
                  <a:pt x="322072" y="64262"/>
                </a:cubicBezTo>
                <a:close/>
                <a:moveTo>
                  <a:pt x="183388" y="64262"/>
                </a:moveTo>
                <a:cubicBezTo>
                  <a:pt x="179959" y="64262"/>
                  <a:pt x="176911" y="64770"/>
                  <a:pt x="174243" y="65659"/>
                </a:cubicBezTo>
                <a:cubicBezTo>
                  <a:pt x="171577" y="66548"/>
                  <a:pt x="168910" y="68453"/>
                  <a:pt x="166497" y="71247"/>
                </a:cubicBezTo>
                <a:cubicBezTo>
                  <a:pt x="164338" y="73787"/>
                  <a:pt x="162560" y="77343"/>
                  <a:pt x="161290" y="81788"/>
                </a:cubicBezTo>
                <a:cubicBezTo>
                  <a:pt x="160020" y="86233"/>
                  <a:pt x="159385" y="91948"/>
                  <a:pt x="159385" y="98679"/>
                </a:cubicBezTo>
                <a:cubicBezTo>
                  <a:pt x="159385" y="104775"/>
                  <a:pt x="159892" y="110109"/>
                  <a:pt x="161036" y="114554"/>
                </a:cubicBezTo>
                <a:cubicBezTo>
                  <a:pt x="162179" y="118999"/>
                  <a:pt x="163829" y="122555"/>
                  <a:pt x="165989" y="125222"/>
                </a:cubicBezTo>
                <a:cubicBezTo>
                  <a:pt x="168148" y="127762"/>
                  <a:pt x="170688" y="129667"/>
                  <a:pt x="173609" y="130937"/>
                </a:cubicBezTo>
                <a:cubicBezTo>
                  <a:pt x="176529" y="132080"/>
                  <a:pt x="179832" y="132715"/>
                  <a:pt x="183642" y="132715"/>
                </a:cubicBezTo>
                <a:cubicBezTo>
                  <a:pt x="186817" y="132715"/>
                  <a:pt x="189992" y="132080"/>
                  <a:pt x="192913" y="131064"/>
                </a:cubicBezTo>
                <a:cubicBezTo>
                  <a:pt x="195834" y="129921"/>
                  <a:pt x="198374" y="128143"/>
                  <a:pt x="200405" y="125476"/>
                </a:cubicBezTo>
                <a:cubicBezTo>
                  <a:pt x="202692" y="122682"/>
                  <a:pt x="204470" y="119253"/>
                  <a:pt x="205613" y="115316"/>
                </a:cubicBezTo>
                <a:cubicBezTo>
                  <a:pt x="206755" y="111252"/>
                  <a:pt x="207264" y="105791"/>
                  <a:pt x="207264" y="98679"/>
                </a:cubicBezTo>
                <a:cubicBezTo>
                  <a:pt x="207264" y="92202"/>
                  <a:pt x="206755" y="86741"/>
                  <a:pt x="205486" y="82296"/>
                </a:cubicBezTo>
                <a:cubicBezTo>
                  <a:pt x="204342" y="77851"/>
                  <a:pt x="202692" y="74295"/>
                  <a:pt x="200533" y="71755"/>
                </a:cubicBezTo>
                <a:cubicBezTo>
                  <a:pt x="198501" y="68961"/>
                  <a:pt x="195961" y="67056"/>
                  <a:pt x="192913" y="65913"/>
                </a:cubicBezTo>
                <a:cubicBezTo>
                  <a:pt x="189992" y="64897"/>
                  <a:pt x="186817" y="64262"/>
                  <a:pt x="183388" y="64262"/>
                </a:cubicBezTo>
                <a:close/>
                <a:moveTo>
                  <a:pt x="912367" y="42926"/>
                </a:moveTo>
                <a:lnTo>
                  <a:pt x="948182" y="42926"/>
                </a:lnTo>
                <a:lnTo>
                  <a:pt x="948182" y="154051"/>
                </a:lnTo>
                <a:lnTo>
                  <a:pt x="912367" y="154051"/>
                </a:lnTo>
                <a:close/>
                <a:moveTo>
                  <a:pt x="1054354" y="39878"/>
                </a:moveTo>
                <a:cubicBezTo>
                  <a:pt x="1066418" y="39878"/>
                  <a:pt x="1075690" y="43307"/>
                  <a:pt x="1082548" y="50292"/>
                </a:cubicBezTo>
                <a:cubicBezTo>
                  <a:pt x="1089279" y="57277"/>
                  <a:pt x="1092580" y="67818"/>
                  <a:pt x="1092580" y="81661"/>
                </a:cubicBezTo>
                <a:lnTo>
                  <a:pt x="1092580" y="154051"/>
                </a:lnTo>
                <a:lnTo>
                  <a:pt x="1056893" y="154051"/>
                </a:lnTo>
                <a:lnTo>
                  <a:pt x="1056893" y="98933"/>
                </a:lnTo>
                <a:cubicBezTo>
                  <a:pt x="1056893" y="94488"/>
                  <a:pt x="1056640" y="89916"/>
                  <a:pt x="1056259" y="85471"/>
                </a:cubicBezTo>
                <a:cubicBezTo>
                  <a:pt x="1055751" y="81026"/>
                  <a:pt x="1054989" y="77724"/>
                  <a:pt x="1053846" y="75692"/>
                </a:cubicBezTo>
                <a:cubicBezTo>
                  <a:pt x="1052449" y="73279"/>
                  <a:pt x="1050543" y="71374"/>
                  <a:pt x="1048004" y="70358"/>
                </a:cubicBezTo>
                <a:cubicBezTo>
                  <a:pt x="1045464" y="69215"/>
                  <a:pt x="1041908" y="68580"/>
                  <a:pt x="1037463" y="68580"/>
                </a:cubicBezTo>
                <a:cubicBezTo>
                  <a:pt x="1034161" y="68580"/>
                  <a:pt x="1030859" y="69215"/>
                  <a:pt x="1027557" y="70231"/>
                </a:cubicBezTo>
                <a:cubicBezTo>
                  <a:pt x="1024254" y="71247"/>
                  <a:pt x="1020572" y="72898"/>
                  <a:pt x="1016762" y="75311"/>
                </a:cubicBezTo>
                <a:lnTo>
                  <a:pt x="1016762" y="154051"/>
                </a:lnTo>
                <a:lnTo>
                  <a:pt x="980948" y="154051"/>
                </a:lnTo>
                <a:lnTo>
                  <a:pt x="980948" y="42926"/>
                </a:lnTo>
                <a:lnTo>
                  <a:pt x="1016762" y="42926"/>
                </a:lnTo>
                <a:lnTo>
                  <a:pt x="1016762" y="55118"/>
                </a:lnTo>
                <a:cubicBezTo>
                  <a:pt x="1022985" y="50165"/>
                  <a:pt x="1029080" y="46482"/>
                  <a:pt x="1034923" y="43815"/>
                </a:cubicBezTo>
                <a:cubicBezTo>
                  <a:pt x="1040765" y="41148"/>
                  <a:pt x="1047242" y="39878"/>
                  <a:pt x="1054354" y="39878"/>
                </a:cubicBezTo>
                <a:close/>
                <a:moveTo>
                  <a:pt x="1170940" y="39751"/>
                </a:moveTo>
                <a:cubicBezTo>
                  <a:pt x="1191260" y="39751"/>
                  <a:pt x="1205865" y="42799"/>
                  <a:pt x="1214882" y="49022"/>
                </a:cubicBezTo>
                <a:cubicBezTo>
                  <a:pt x="1223899" y="55372"/>
                  <a:pt x="1228343" y="65151"/>
                  <a:pt x="1228343" y="78486"/>
                </a:cubicBezTo>
                <a:lnTo>
                  <a:pt x="1228343" y="154051"/>
                </a:lnTo>
                <a:lnTo>
                  <a:pt x="1193038" y="154051"/>
                </a:lnTo>
                <a:lnTo>
                  <a:pt x="1193038" y="142240"/>
                </a:lnTo>
                <a:cubicBezTo>
                  <a:pt x="1191133" y="143764"/>
                  <a:pt x="1188720" y="145415"/>
                  <a:pt x="1185926" y="147447"/>
                </a:cubicBezTo>
                <a:cubicBezTo>
                  <a:pt x="1183132" y="149606"/>
                  <a:pt x="1180465" y="151130"/>
                  <a:pt x="1177925" y="152400"/>
                </a:cubicBezTo>
                <a:cubicBezTo>
                  <a:pt x="1174368" y="153924"/>
                  <a:pt x="1170813" y="155067"/>
                  <a:pt x="1167003" y="155829"/>
                </a:cubicBezTo>
                <a:cubicBezTo>
                  <a:pt x="1163320" y="156591"/>
                  <a:pt x="1159129" y="156972"/>
                  <a:pt x="1154684" y="156972"/>
                </a:cubicBezTo>
                <a:cubicBezTo>
                  <a:pt x="1144142" y="156972"/>
                  <a:pt x="1135253" y="153797"/>
                  <a:pt x="1128141" y="147193"/>
                </a:cubicBezTo>
                <a:cubicBezTo>
                  <a:pt x="1121029" y="140716"/>
                  <a:pt x="1117473" y="132334"/>
                  <a:pt x="1117473" y="122174"/>
                </a:cubicBezTo>
                <a:cubicBezTo>
                  <a:pt x="1117473" y="114046"/>
                  <a:pt x="1119251" y="107442"/>
                  <a:pt x="1122934" y="102235"/>
                </a:cubicBezTo>
                <a:cubicBezTo>
                  <a:pt x="1126490" y="97155"/>
                  <a:pt x="1131697" y="93091"/>
                  <a:pt x="1138301" y="90170"/>
                </a:cubicBezTo>
                <a:cubicBezTo>
                  <a:pt x="1144904" y="87122"/>
                  <a:pt x="1153160" y="84963"/>
                  <a:pt x="1162939" y="83820"/>
                </a:cubicBezTo>
                <a:cubicBezTo>
                  <a:pt x="1172591" y="82550"/>
                  <a:pt x="1182751" y="81534"/>
                  <a:pt x="1193292" y="81026"/>
                </a:cubicBezTo>
                <a:lnTo>
                  <a:pt x="1193292" y="80391"/>
                </a:lnTo>
                <a:cubicBezTo>
                  <a:pt x="1193292" y="74295"/>
                  <a:pt x="1190752" y="69977"/>
                  <a:pt x="1185799" y="67691"/>
                </a:cubicBezTo>
                <a:cubicBezTo>
                  <a:pt x="1180718" y="65405"/>
                  <a:pt x="1173353" y="64135"/>
                  <a:pt x="1163574" y="64135"/>
                </a:cubicBezTo>
                <a:cubicBezTo>
                  <a:pt x="1157732" y="64135"/>
                  <a:pt x="1151382" y="65278"/>
                  <a:pt x="1144778" y="67310"/>
                </a:cubicBezTo>
                <a:cubicBezTo>
                  <a:pt x="1138047" y="69342"/>
                  <a:pt x="1133348" y="70993"/>
                  <a:pt x="1130427" y="72136"/>
                </a:cubicBezTo>
                <a:lnTo>
                  <a:pt x="1127125" y="72136"/>
                </a:lnTo>
                <a:lnTo>
                  <a:pt x="1127125" y="45212"/>
                </a:lnTo>
                <a:cubicBezTo>
                  <a:pt x="1130935" y="44323"/>
                  <a:pt x="1137030" y="43053"/>
                  <a:pt x="1145540" y="41783"/>
                </a:cubicBezTo>
                <a:cubicBezTo>
                  <a:pt x="1154049" y="40386"/>
                  <a:pt x="1162430" y="39751"/>
                  <a:pt x="1170940" y="39751"/>
                </a:cubicBezTo>
                <a:close/>
                <a:moveTo>
                  <a:pt x="322072" y="39497"/>
                </a:moveTo>
                <a:cubicBezTo>
                  <a:pt x="341376" y="39497"/>
                  <a:pt x="356362" y="44704"/>
                  <a:pt x="367029" y="55245"/>
                </a:cubicBezTo>
                <a:cubicBezTo>
                  <a:pt x="377571" y="65786"/>
                  <a:pt x="382904" y="80264"/>
                  <a:pt x="382904" y="98552"/>
                </a:cubicBezTo>
                <a:cubicBezTo>
                  <a:pt x="382904" y="116840"/>
                  <a:pt x="377571" y="131191"/>
                  <a:pt x="366903" y="141732"/>
                </a:cubicBezTo>
                <a:cubicBezTo>
                  <a:pt x="356235" y="152273"/>
                  <a:pt x="341249" y="157480"/>
                  <a:pt x="322072" y="157480"/>
                </a:cubicBezTo>
                <a:cubicBezTo>
                  <a:pt x="302767" y="157480"/>
                  <a:pt x="287782" y="152273"/>
                  <a:pt x="277114" y="141732"/>
                </a:cubicBezTo>
                <a:cubicBezTo>
                  <a:pt x="266446" y="131191"/>
                  <a:pt x="261112" y="116840"/>
                  <a:pt x="261112" y="98552"/>
                </a:cubicBezTo>
                <a:cubicBezTo>
                  <a:pt x="261112" y="80137"/>
                  <a:pt x="266573" y="65659"/>
                  <a:pt x="277241" y="55118"/>
                </a:cubicBezTo>
                <a:cubicBezTo>
                  <a:pt x="287909" y="44704"/>
                  <a:pt x="302895" y="39497"/>
                  <a:pt x="322072" y="39497"/>
                </a:cubicBezTo>
                <a:close/>
                <a:moveTo>
                  <a:pt x="183388" y="39497"/>
                </a:moveTo>
                <a:cubicBezTo>
                  <a:pt x="202692" y="39497"/>
                  <a:pt x="217678" y="44704"/>
                  <a:pt x="228346" y="55245"/>
                </a:cubicBezTo>
                <a:cubicBezTo>
                  <a:pt x="238887" y="65786"/>
                  <a:pt x="244221" y="80264"/>
                  <a:pt x="244221" y="98552"/>
                </a:cubicBezTo>
                <a:cubicBezTo>
                  <a:pt x="244221" y="116840"/>
                  <a:pt x="238887" y="131191"/>
                  <a:pt x="228218" y="141732"/>
                </a:cubicBezTo>
                <a:cubicBezTo>
                  <a:pt x="217551" y="152273"/>
                  <a:pt x="202565" y="157480"/>
                  <a:pt x="183388" y="157480"/>
                </a:cubicBezTo>
                <a:cubicBezTo>
                  <a:pt x="164084" y="157480"/>
                  <a:pt x="149098" y="152273"/>
                  <a:pt x="138429" y="141732"/>
                </a:cubicBezTo>
                <a:cubicBezTo>
                  <a:pt x="127762" y="131191"/>
                  <a:pt x="122428" y="116840"/>
                  <a:pt x="122428" y="98552"/>
                </a:cubicBezTo>
                <a:cubicBezTo>
                  <a:pt x="122428" y="80137"/>
                  <a:pt x="127889" y="65659"/>
                  <a:pt x="138557" y="55118"/>
                </a:cubicBezTo>
                <a:cubicBezTo>
                  <a:pt x="149225" y="44704"/>
                  <a:pt x="164211" y="39497"/>
                  <a:pt x="183388" y="39497"/>
                </a:cubicBezTo>
                <a:close/>
                <a:moveTo>
                  <a:pt x="0" y="6731"/>
                </a:moveTo>
                <a:lnTo>
                  <a:pt x="105537" y="6731"/>
                </a:lnTo>
                <a:lnTo>
                  <a:pt x="105537" y="35179"/>
                </a:lnTo>
                <a:lnTo>
                  <a:pt x="37846" y="35179"/>
                </a:lnTo>
                <a:lnTo>
                  <a:pt x="37846" y="62611"/>
                </a:lnTo>
                <a:lnTo>
                  <a:pt x="100584" y="62611"/>
                </a:lnTo>
                <a:lnTo>
                  <a:pt x="100584" y="91059"/>
                </a:lnTo>
                <a:lnTo>
                  <a:pt x="37846" y="91059"/>
                </a:lnTo>
                <a:lnTo>
                  <a:pt x="37846" y="154051"/>
                </a:lnTo>
                <a:lnTo>
                  <a:pt x="0" y="154051"/>
                </a:lnTo>
                <a:close/>
                <a:moveTo>
                  <a:pt x="689991" y="3810"/>
                </a:moveTo>
                <a:cubicBezTo>
                  <a:pt x="696214" y="3810"/>
                  <a:pt x="701802" y="4191"/>
                  <a:pt x="706754" y="4826"/>
                </a:cubicBezTo>
                <a:cubicBezTo>
                  <a:pt x="711708" y="5588"/>
                  <a:pt x="716407" y="6477"/>
                  <a:pt x="720598" y="7620"/>
                </a:cubicBezTo>
                <a:cubicBezTo>
                  <a:pt x="725042" y="8763"/>
                  <a:pt x="728979" y="10160"/>
                  <a:pt x="732663" y="11811"/>
                </a:cubicBezTo>
                <a:cubicBezTo>
                  <a:pt x="736218" y="13335"/>
                  <a:pt x="739393" y="14732"/>
                  <a:pt x="742061" y="16129"/>
                </a:cubicBezTo>
                <a:lnTo>
                  <a:pt x="742061" y="51816"/>
                </a:lnTo>
                <a:lnTo>
                  <a:pt x="737742" y="51816"/>
                </a:lnTo>
                <a:cubicBezTo>
                  <a:pt x="735838" y="50292"/>
                  <a:pt x="733552" y="48387"/>
                  <a:pt x="730758" y="46228"/>
                </a:cubicBezTo>
                <a:cubicBezTo>
                  <a:pt x="727964" y="44069"/>
                  <a:pt x="724789" y="41910"/>
                  <a:pt x="721233" y="39751"/>
                </a:cubicBezTo>
                <a:cubicBezTo>
                  <a:pt x="717550" y="37719"/>
                  <a:pt x="713613" y="35941"/>
                  <a:pt x="709422" y="34417"/>
                </a:cubicBezTo>
                <a:cubicBezTo>
                  <a:pt x="705230" y="33020"/>
                  <a:pt x="700659" y="32258"/>
                  <a:pt x="695833" y="32258"/>
                </a:cubicBezTo>
                <a:cubicBezTo>
                  <a:pt x="690499" y="32258"/>
                  <a:pt x="685418" y="33147"/>
                  <a:pt x="680592" y="34798"/>
                </a:cubicBezTo>
                <a:cubicBezTo>
                  <a:pt x="675767" y="36449"/>
                  <a:pt x="671322" y="39243"/>
                  <a:pt x="667258" y="43180"/>
                </a:cubicBezTo>
                <a:cubicBezTo>
                  <a:pt x="663321" y="46863"/>
                  <a:pt x="660146" y="51943"/>
                  <a:pt x="657733" y="58039"/>
                </a:cubicBezTo>
                <a:cubicBezTo>
                  <a:pt x="655447" y="64262"/>
                  <a:pt x="654177" y="71755"/>
                  <a:pt x="654177" y="80645"/>
                </a:cubicBezTo>
                <a:cubicBezTo>
                  <a:pt x="654177" y="89789"/>
                  <a:pt x="655447" y="97536"/>
                  <a:pt x="658114" y="103759"/>
                </a:cubicBezTo>
                <a:cubicBezTo>
                  <a:pt x="660654" y="109855"/>
                  <a:pt x="663955" y="114808"/>
                  <a:pt x="667892" y="118364"/>
                </a:cubicBezTo>
                <a:cubicBezTo>
                  <a:pt x="671957" y="121920"/>
                  <a:pt x="676402" y="124587"/>
                  <a:pt x="681354" y="126111"/>
                </a:cubicBezTo>
                <a:cubicBezTo>
                  <a:pt x="686308" y="127635"/>
                  <a:pt x="691261" y="128397"/>
                  <a:pt x="696087" y="128397"/>
                </a:cubicBezTo>
                <a:cubicBezTo>
                  <a:pt x="700659" y="128397"/>
                  <a:pt x="705230" y="127762"/>
                  <a:pt x="709803" y="126365"/>
                </a:cubicBezTo>
                <a:cubicBezTo>
                  <a:pt x="714248" y="124968"/>
                  <a:pt x="718439" y="123063"/>
                  <a:pt x="722249" y="120777"/>
                </a:cubicBezTo>
                <a:cubicBezTo>
                  <a:pt x="725551" y="118872"/>
                  <a:pt x="728472" y="116840"/>
                  <a:pt x="731266" y="114681"/>
                </a:cubicBezTo>
                <a:cubicBezTo>
                  <a:pt x="734060" y="112395"/>
                  <a:pt x="736346" y="110617"/>
                  <a:pt x="738124" y="108966"/>
                </a:cubicBezTo>
                <a:lnTo>
                  <a:pt x="742061" y="108966"/>
                </a:lnTo>
                <a:lnTo>
                  <a:pt x="742061" y="144272"/>
                </a:lnTo>
                <a:cubicBezTo>
                  <a:pt x="738378" y="145923"/>
                  <a:pt x="734822" y="147447"/>
                  <a:pt x="731520" y="148844"/>
                </a:cubicBezTo>
                <a:cubicBezTo>
                  <a:pt x="728091" y="150368"/>
                  <a:pt x="724535" y="151638"/>
                  <a:pt x="720852" y="152654"/>
                </a:cubicBezTo>
                <a:cubicBezTo>
                  <a:pt x="716026" y="154051"/>
                  <a:pt x="711580" y="155067"/>
                  <a:pt x="707390" y="155829"/>
                </a:cubicBezTo>
                <a:cubicBezTo>
                  <a:pt x="703072" y="156591"/>
                  <a:pt x="697357" y="156972"/>
                  <a:pt x="689864" y="156972"/>
                </a:cubicBezTo>
                <a:cubicBezTo>
                  <a:pt x="678942" y="156972"/>
                  <a:pt x="668782" y="155321"/>
                  <a:pt x="659638" y="152019"/>
                </a:cubicBezTo>
                <a:cubicBezTo>
                  <a:pt x="650367" y="148844"/>
                  <a:pt x="642366" y="144018"/>
                  <a:pt x="635635" y="137668"/>
                </a:cubicBezTo>
                <a:cubicBezTo>
                  <a:pt x="629030" y="131191"/>
                  <a:pt x="623824" y="123190"/>
                  <a:pt x="620141" y="113665"/>
                </a:cubicBezTo>
                <a:cubicBezTo>
                  <a:pt x="616585" y="104140"/>
                  <a:pt x="614679" y="93091"/>
                  <a:pt x="614679" y="80518"/>
                </a:cubicBezTo>
                <a:cubicBezTo>
                  <a:pt x="614679" y="68834"/>
                  <a:pt x="616458" y="58293"/>
                  <a:pt x="619887" y="48768"/>
                </a:cubicBezTo>
                <a:cubicBezTo>
                  <a:pt x="623442" y="39243"/>
                  <a:pt x="628523" y="31115"/>
                  <a:pt x="635127" y="24257"/>
                </a:cubicBezTo>
                <a:cubicBezTo>
                  <a:pt x="641604" y="17780"/>
                  <a:pt x="649478" y="12700"/>
                  <a:pt x="659003" y="9144"/>
                </a:cubicBezTo>
                <a:cubicBezTo>
                  <a:pt x="668401" y="5588"/>
                  <a:pt x="678815" y="3810"/>
                  <a:pt x="689991" y="3810"/>
                </a:cubicBezTo>
                <a:close/>
                <a:moveTo>
                  <a:pt x="911479" y="0"/>
                </a:moveTo>
                <a:lnTo>
                  <a:pt x="949071" y="0"/>
                </a:lnTo>
                <a:lnTo>
                  <a:pt x="949071" y="27051"/>
                </a:lnTo>
                <a:lnTo>
                  <a:pt x="911479" y="27051"/>
                </a:lnTo>
                <a:close/>
                <a:moveTo>
                  <a:pt x="767588" y="0"/>
                </a:moveTo>
                <a:lnTo>
                  <a:pt x="803402" y="0"/>
                </a:lnTo>
                <a:lnTo>
                  <a:pt x="803402" y="55118"/>
                </a:lnTo>
                <a:cubicBezTo>
                  <a:pt x="809625" y="50165"/>
                  <a:pt x="815721" y="46482"/>
                  <a:pt x="821563" y="43815"/>
                </a:cubicBezTo>
                <a:cubicBezTo>
                  <a:pt x="827404" y="41148"/>
                  <a:pt x="833882" y="39878"/>
                  <a:pt x="840993" y="39878"/>
                </a:cubicBezTo>
                <a:cubicBezTo>
                  <a:pt x="853059" y="39878"/>
                  <a:pt x="862329" y="43307"/>
                  <a:pt x="869188" y="50292"/>
                </a:cubicBezTo>
                <a:cubicBezTo>
                  <a:pt x="875918" y="57277"/>
                  <a:pt x="879221" y="67818"/>
                  <a:pt x="879221" y="81661"/>
                </a:cubicBezTo>
                <a:lnTo>
                  <a:pt x="879221" y="154051"/>
                </a:lnTo>
                <a:lnTo>
                  <a:pt x="843534" y="154051"/>
                </a:lnTo>
                <a:lnTo>
                  <a:pt x="843534" y="98933"/>
                </a:lnTo>
                <a:cubicBezTo>
                  <a:pt x="843534" y="94488"/>
                  <a:pt x="843279" y="89916"/>
                  <a:pt x="842899" y="85471"/>
                </a:cubicBezTo>
                <a:cubicBezTo>
                  <a:pt x="842391" y="81026"/>
                  <a:pt x="841629" y="77724"/>
                  <a:pt x="840486" y="75692"/>
                </a:cubicBezTo>
                <a:cubicBezTo>
                  <a:pt x="839089" y="73279"/>
                  <a:pt x="837184" y="71374"/>
                  <a:pt x="834643" y="70358"/>
                </a:cubicBezTo>
                <a:cubicBezTo>
                  <a:pt x="832104" y="69215"/>
                  <a:pt x="828548" y="68580"/>
                  <a:pt x="824103" y="68580"/>
                </a:cubicBezTo>
                <a:cubicBezTo>
                  <a:pt x="820801" y="68580"/>
                  <a:pt x="817499" y="69215"/>
                  <a:pt x="814197" y="70231"/>
                </a:cubicBezTo>
                <a:cubicBezTo>
                  <a:pt x="810895" y="71247"/>
                  <a:pt x="807212" y="72898"/>
                  <a:pt x="803402" y="75311"/>
                </a:cubicBezTo>
                <a:lnTo>
                  <a:pt x="803402" y="154051"/>
                </a:lnTo>
                <a:lnTo>
                  <a:pt x="767588" y="154051"/>
                </a:lnTo>
                <a:close/>
                <a:moveTo>
                  <a:pt x="480314" y="0"/>
                </a:moveTo>
                <a:lnTo>
                  <a:pt x="516001" y="0"/>
                </a:lnTo>
                <a:lnTo>
                  <a:pt x="516001" y="154051"/>
                </a:lnTo>
                <a:lnTo>
                  <a:pt x="480314" y="154051"/>
                </a:lnTo>
                <a:lnTo>
                  <a:pt x="480314" y="142494"/>
                </a:lnTo>
                <a:cubicBezTo>
                  <a:pt x="474217" y="147447"/>
                  <a:pt x="468503" y="151130"/>
                  <a:pt x="463168" y="153543"/>
                </a:cubicBezTo>
                <a:cubicBezTo>
                  <a:pt x="457835" y="155956"/>
                  <a:pt x="451612" y="157099"/>
                  <a:pt x="444627" y="157099"/>
                </a:cubicBezTo>
                <a:cubicBezTo>
                  <a:pt x="431165" y="157099"/>
                  <a:pt x="420370" y="151892"/>
                  <a:pt x="412242" y="141478"/>
                </a:cubicBezTo>
                <a:cubicBezTo>
                  <a:pt x="404114" y="131064"/>
                  <a:pt x="400050" y="116967"/>
                  <a:pt x="400050" y="99314"/>
                </a:cubicBezTo>
                <a:cubicBezTo>
                  <a:pt x="400050" y="89916"/>
                  <a:pt x="401447" y="81534"/>
                  <a:pt x="404114" y="74168"/>
                </a:cubicBezTo>
                <a:cubicBezTo>
                  <a:pt x="406908" y="66929"/>
                  <a:pt x="410591" y="60706"/>
                  <a:pt x="415417" y="55499"/>
                </a:cubicBezTo>
                <a:cubicBezTo>
                  <a:pt x="419862" y="50546"/>
                  <a:pt x="425323" y="46736"/>
                  <a:pt x="431673" y="43942"/>
                </a:cubicBezTo>
                <a:cubicBezTo>
                  <a:pt x="438023" y="41148"/>
                  <a:pt x="444500" y="39878"/>
                  <a:pt x="450850" y="39878"/>
                </a:cubicBezTo>
                <a:cubicBezTo>
                  <a:pt x="457454" y="39878"/>
                  <a:pt x="462915" y="40513"/>
                  <a:pt x="467233" y="41910"/>
                </a:cubicBezTo>
                <a:cubicBezTo>
                  <a:pt x="471424" y="43434"/>
                  <a:pt x="475868" y="45212"/>
                  <a:pt x="480314" y="47371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36" name="object 436"/>
          <p:cNvSpPr/>
          <p:nvPr/>
        </p:nvSpPr>
        <p:spPr>
          <a:xfrm>
            <a:off x="7771186" y="4439031"/>
            <a:ext cx="9143" cy="9144"/>
          </a:xfrm>
          <a:custGeom>
            <a:avLst/>
            <a:gdLst/>
            <a:ahLst/>
            <a:cxnLst/>
            <a:rect l="l" t="t" r="r" b="b"/>
            <a:pathLst>
              <a:path w="9143" h="9144"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37" name="object 437"/>
          <p:cNvSpPr/>
          <p:nvPr/>
        </p:nvSpPr>
        <p:spPr>
          <a:xfrm>
            <a:off x="7731760" y="4439031"/>
            <a:ext cx="48514" cy="40132"/>
          </a:xfrm>
          <a:custGeom>
            <a:avLst/>
            <a:gdLst/>
            <a:ahLst/>
            <a:cxnLst/>
            <a:rect l="l" t="t" r="r" b="b"/>
            <a:pathLst>
              <a:path w="48514" h="40132">
                <a:moveTo>
                  <a:pt x="43942" y="4572"/>
                </a:moveTo>
                <a:cubicBezTo>
                  <a:pt x="39116" y="4953"/>
                  <a:pt x="33908" y="5588"/>
                  <a:pt x="28321" y="6223"/>
                </a:cubicBezTo>
                <a:cubicBezTo>
                  <a:pt x="22733" y="6858"/>
                  <a:pt x="18415" y="7747"/>
                  <a:pt x="15621" y="8636"/>
                </a:cubicBezTo>
                <a:cubicBezTo>
                  <a:pt x="12065" y="9779"/>
                  <a:pt x="9271" y="11430"/>
                  <a:pt x="7366" y="13589"/>
                </a:cubicBezTo>
                <a:cubicBezTo>
                  <a:pt x="5461" y="15621"/>
                  <a:pt x="4571" y="18542"/>
                  <a:pt x="4571" y="21971"/>
                </a:cubicBezTo>
                <a:cubicBezTo>
                  <a:pt x="4571" y="24257"/>
                  <a:pt x="4826" y="26162"/>
                  <a:pt x="5207" y="27559"/>
                </a:cubicBezTo>
                <a:cubicBezTo>
                  <a:pt x="5588" y="29083"/>
                  <a:pt x="6604" y="30480"/>
                  <a:pt x="8128" y="31750"/>
                </a:cubicBezTo>
                <a:cubicBezTo>
                  <a:pt x="9652" y="33020"/>
                  <a:pt x="11430" y="34036"/>
                  <a:pt x="13589" y="34671"/>
                </a:cubicBezTo>
                <a:cubicBezTo>
                  <a:pt x="15747" y="35306"/>
                  <a:pt x="19050" y="35560"/>
                  <a:pt x="23495" y="35560"/>
                </a:cubicBezTo>
                <a:cubicBezTo>
                  <a:pt x="27051" y="35560"/>
                  <a:pt x="30607" y="34798"/>
                  <a:pt x="34290" y="33401"/>
                </a:cubicBezTo>
                <a:cubicBezTo>
                  <a:pt x="37972" y="32004"/>
                  <a:pt x="41147" y="30099"/>
                  <a:pt x="43942" y="27686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38" name="object 438"/>
          <p:cNvSpPr/>
          <p:nvPr/>
        </p:nvSpPr>
        <p:spPr>
          <a:xfrm>
            <a:off x="7042912" y="4403202"/>
            <a:ext cx="737362" cy="68199"/>
          </a:xfrm>
          <a:custGeom>
            <a:avLst/>
            <a:gdLst/>
            <a:ahLst/>
            <a:cxnLst/>
            <a:rect l="l" t="t" r="r" b="b"/>
            <a:pathLst>
              <a:path w="737362" h="68199">
                <a:moveTo>
                  <a:pt x="732790" y="63627"/>
                </a:moveTo>
                <a:moveTo>
                  <a:pt x="732790" y="40513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39" name="object 439"/>
          <p:cNvSpPr/>
          <p:nvPr/>
        </p:nvSpPr>
        <p:spPr>
          <a:xfrm>
            <a:off x="7014845" y="4403202"/>
            <a:ext cx="52704" cy="73279"/>
          </a:xfrm>
          <a:custGeom>
            <a:avLst/>
            <a:gdLst/>
            <a:ahLst/>
            <a:cxnLst/>
            <a:rect l="l" t="t" r="r" b="b"/>
            <a:pathLst>
              <a:path w="52704" h="73279">
                <a:moveTo>
                  <a:pt x="32639" y="4572"/>
                </a:moveTo>
                <a:cubicBezTo>
                  <a:pt x="23241" y="4572"/>
                  <a:pt x="16256" y="7493"/>
                  <a:pt x="11557" y="13335"/>
                </a:cubicBezTo>
                <a:cubicBezTo>
                  <a:pt x="6858" y="19177"/>
                  <a:pt x="4572" y="27305"/>
                  <a:pt x="4572" y="37592"/>
                </a:cubicBezTo>
                <a:cubicBezTo>
                  <a:pt x="4572" y="48514"/>
                  <a:pt x="6477" y="56388"/>
                  <a:pt x="10160" y="61341"/>
                </a:cubicBezTo>
                <a:cubicBezTo>
                  <a:pt x="13970" y="66294"/>
                  <a:pt x="19939" y="68707"/>
                  <a:pt x="28321" y="68707"/>
                </a:cubicBezTo>
                <a:cubicBezTo>
                  <a:pt x="31496" y="68707"/>
                  <a:pt x="34924" y="68199"/>
                  <a:pt x="38608" y="66929"/>
                </a:cubicBezTo>
                <a:cubicBezTo>
                  <a:pt x="42164" y="65659"/>
                  <a:pt x="45339" y="64135"/>
                  <a:pt x="48133" y="62103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40" name="object 440"/>
          <p:cNvSpPr/>
          <p:nvPr/>
        </p:nvSpPr>
        <p:spPr>
          <a:xfrm>
            <a:off x="7058462" y="4406011"/>
            <a:ext cx="9143" cy="63754"/>
          </a:xfrm>
          <a:custGeom>
            <a:avLst/>
            <a:gdLst/>
            <a:ahLst/>
            <a:cxnLst/>
            <a:rect l="l" t="t" r="r" b="b"/>
            <a:pathLst>
              <a:path w="9143" h="63754">
                <a:moveTo>
                  <a:pt x="4572" y="59182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41" name="object 441"/>
          <p:cNvSpPr/>
          <p:nvPr/>
        </p:nvSpPr>
        <p:spPr>
          <a:xfrm>
            <a:off x="6737533" y="4380215"/>
            <a:ext cx="1042797" cy="98933"/>
          </a:xfrm>
          <a:custGeom>
            <a:avLst/>
            <a:gdLst/>
            <a:ahLst/>
            <a:cxnLst/>
            <a:rect l="l" t="t" r="r" b="b"/>
            <a:pathLst>
              <a:path w="1042797" h="98933">
                <a:moveTo>
                  <a:pt x="325501" y="30480"/>
                </a:moveTo>
                <a:cubicBezTo>
                  <a:pt x="322961" y="29464"/>
                  <a:pt x="320421" y="28702"/>
                  <a:pt x="317627" y="28194"/>
                </a:cubicBezTo>
                <a:cubicBezTo>
                  <a:pt x="314833" y="27686"/>
                  <a:pt x="312292" y="27559"/>
                  <a:pt x="310007" y="27559"/>
                </a:cubicBezTo>
                <a:moveTo>
                  <a:pt x="1038225" y="63500"/>
                </a:moveTo>
                <a:moveTo>
                  <a:pt x="167259" y="25908"/>
                </a:moveTo>
                <a:cubicBezTo>
                  <a:pt x="163829" y="25908"/>
                  <a:pt x="160782" y="26416"/>
                  <a:pt x="158115" y="27305"/>
                </a:cubicBezTo>
                <a:cubicBezTo>
                  <a:pt x="155448" y="28194"/>
                  <a:pt x="152780" y="30099"/>
                  <a:pt x="150367" y="32893"/>
                </a:cubicBezTo>
                <a:cubicBezTo>
                  <a:pt x="148209" y="35433"/>
                  <a:pt x="146430" y="38989"/>
                  <a:pt x="145161" y="43434"/>
                </a:cubicBezTo>
                <a:cubicBezTo>
                  <a:pt x="143891" y="47879"/>
                  <a:pt x="143255" y="53594"/>
                  <a:pt x="143255" y="60325"/>
                </a:cubicBezTo>
                <a:cubicBezTo>
                  <a:pt x="143255" y="66421"/>
                  <a:pt x="143764" y="71755"/>
                  <a:pt x="144907" y="76200"/>
                </a:cubicBezTo>
                <a:cubicBezTo>
                  <a:pt x="146050" y="80645"/>
                  <a:pt x="147701" y="84201"/>
                  <a:pt x="149860" y="86868"/>
                </a:cubicBezTo>
                <a:cubicBezTo>
                  <a:pt x="152019" y="89408"/>
                  <a:pt x="154559" y="91313"/>
                  <a:pt x="157479" y="92583"/>
                </a:cubicBezTo>
                <a:cubicBezTo>
                  <a:pt x="160401" y="93726"/>
                  <a:pt x="163703" y="94361"/>
                  <a:pt x="167513" y="94361"/>
                </a:cubicBezTo>
                <a:cubicBezTo>
                  <a:pt x="170688" y="94361"/>
                  <a:pt x="173863" y="93726"/>
                  <a:pt x="176784" y="92710"/>
                </a:cubicBezTo>
                <a:cubicBezTo>
                  <a:pt x="179704" y="91567"/>
                  <a:pt x="182245" y="89789"/>
                  <a:pt x="184277" y="87122"/>
                </a:cubicBezTo>
                <a:cubicBezTo>
                  <a:pt x="186563" y="84328"/>
                  <a:pt x="188341" y="80899"/>
                  <a:pt x="189484" y="76962"/>
                </a:cubicBezTo>
                <a:cubicBezTo>
                  <a:pt x="190627" y="72898"/>
                  <a:pt x="191135" y="67437"/>
                  <a:pt x="191135" y="60325"/>
                </a:cubicBezTo>
                <a:cubicBezTo>
                  <a:pt x="191135" y="53848"/>
                  <a:pt x="190627" y="48387"/>
                  <a:pt x="189357" y="43942"/>
                </a:cubicBezTo>
                <a:cubicBezTo>
                  <a:pt x="188214" y="39497"/>
                  <a:pt x="186563" y="35941"/>
                  <a:pt x="184404" y="33401"/>
                </a:cubicBezTo>
                <a:cubicBezTo>
                  <a:pt x="182372" y="30607"/>
                  <a:pt x="179832" y="28702"/>
                  <a:pt x="176784" y="27559"/>
                </a:cubicBezTo>
                <a:cubicBezTo>
                  <a:pt x="173863" y="26543"/>
                  <a:pt x="170688" y="25908"/>
                  <a:pt x="167259" y="25908"/>
                </a:cubicBezTo>
                <a:moveTo>
                  <a:pt x="1038225" y="63500"/>
                </a:moveTo>
                <a:moveTo>
                  <a:pt x="28575" y="25908"/>
                </a:moveTo>
                <a:cubicBezTo>
                  <a:pt x="25146" y="25908"/>
                  <a:pt x="22098" y="26416"/>
                  <a:pt x="19430" y="27305"/>
                </a:cubicBezTo>
                <a:cubicBezTo>
                  <a:pt x="16764" y="28194"/>
                  <a:pt x="14097" y="30099"/>
                  <a:pt x="11684" y="32893"/>
                </a:cubicBezTo>
                <a:cubicBezTo>
                  <a:pt x="9525" y="35433"/>
                  <a:pt x="7747" y="38989"/>
                  <a:pt x="6477" y="43434"/>
                </a:cubicBezTo>
                <a:cubicBezTo>
                  <a:pt x="5207" y="47879"/>
                  <a:pt x="4572" y="53594"/>
                  <a:pt x="4572" y="60325"/>
                </a:cubicBezTo>
                <a:cubicBezTo>
                  <a:pt x="4572" y="66421"/>
                  <a:pt x="5079" y="71755"/>
                  <a:pt x="6223" y="76200"/>
                </a:cubicBezTo>
                <a:cubicBezTo>
                  <a:pt x="7366" y="80645"/>
                  <a:pt x="9016" y="84201"/>
                  <a:pt x="11176" y="86868"/>
                </a:cubicBezTo>
                <a:cubicBezTo>
                  <a:pt x="13335" y="89408"/>
                  <a:pt x="15875" y="91313"/>
                  <a:pt x="18796" y="92583"/>
                </a:cubicBezTo>
                <a:cubicBezTo>
                  <a:pt x="21716" y="93726"/>
                  <a:pt x="25019" y="94361"/>
                  <a:pt x="28829" y="94361"/>
                </a:cubicBezTo>
                <a:cubicBezTo>
                  <a:pt x="32004" y="94361"/>
                  <a:pt x="35179" y="93726"/>
                  <a:pt x="38100" y="92710"/>
                </a:cubicBezTo>
                <a:cubicBezTo>
                  <a:pt x="41021" y="91567"/>
                  <a:pt x="43561" y="89789"/>
                  <a:pt x="45592" y="87122"/>
                </a:cubicBezTo>
                <a:cubicBezTo>
                  <a:pt x="47879" y="84328"/>
                  <a:pt x="49657" y="80899"/>
                  <a:pt x="50800" y="76962"/>
                </a:cubicBezTo>
                <a:cubicBezTo>
                  <a:pt x="51942" y="72898"/>
                  <a:pt x="52451" y="67437"/>
                  <a:pt x="52451" y="60325"/>
                </a:cubicBezTo>
                <a:cubicBezTo>
                  <a:pt x="52451" y="53848"/>
                  <a:pt x="51942" y="48387"/>
                  <a:pt x="50673" y="43942"/>
                </a:cubicBezTo>
                <a:cubicBezTo>
                  <a:pt x="49529" y="39497"/>
                  <a:pt x="47879" y="35941"/>
                  <a:pt x="45720" y="33401"/>
                </a:cubicBezTo>
                <a:cubicBezTo>
                  <a:pt x="43688" y="30607"/>
                  <a:pt x="41148" y="28702"/>
                  <a:pt x="38100" y="27559"/>
                </a:cubicBezTo>
                <a:cubicBezTo>
                  <a:pt x="35179" y="26543"/>
                  <a:pt x="32004" y="25908"/>
                  <a:pt x="28575" y="25908"/>
                </a:cubicBezTo>
                <a:moveTo>
                  <a:pt x="1038225" y="63500"/>
                </a:moveTo>
                <a:moveTo>
                  <a:pt x="757554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42" name="object 442"/>
          <p:cNvSpPr/>
          <p:nvPr/>
        </p:nvSpPr>
        <p:spPr>
          <a:xfrm>
            <a:off x="7490505" y="4380215"/>
            <a:ext cx="44957" cy="120269"/>
          </a:xfrm>
          <a:custGeom>
            <a:avLst/>
            <a:gdLst/>
            <a:ahLst/>
            <a:cxnLst/>
            <a:rect l="l" t="t" r="r" b="b"/>
            <a:pathLst>
              <a:path w="44957" h="120269">
                <a:moveTo>
                  <a:pt x="4571" y="4572"/>
                </a:moveTo>
                <a:lnTo>
                  <a:pt x="40386" y="4572"/>
                </a:lnTo>
                <a:lnTo>
                  <a:pt x="40386" y="115697"/>
                </a:lnTo>
                <a:lnTo>
                  <a:pt x="4571" y="115697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43" name="object 443"/>
          <p:cNvSpPr/>
          <p:nvPr/>
        </p:nvSpPr>
        <p:spPr>
          <a:xfrm>
            <a:off x="7490460" y="4377167"/>
            <a:ext cx="289814" cy="123317"/>
          </a:xfrm>
          <a:custGeom>
            <a:avLst/>
            <a:gdLst/>
            <a:ahLst/>
            <a:cxnLst/>
            <a:rect l="l" t="t" r="r" b="b"/>
            <a:pathLst>
              <a:path w="289814" h="123317">
                <a:moveTo>
                  <a:pt x="4571" y="118745"/>
                </a:moveTo>
                <a:moveTo>
                  <a:pt x="285242" y="66548"/>
                </a:moveTo>
                <a:moveTo>
                  <a:pt x="146558" y="4572"/>
                </a:moveTo>
                <a:cubicBezTo>
                  <a:pt x="158622" y="4572"/>
                  <a:pt x="167894" y="8001"/>
                  <a:pt x="174752" y="14986"/>
                </a:cubicBezTo>
                <a:cubicBezTo>
                  <a:pt x="181483" y="21971"/>
                  <a:pt x="184784" y="32512"/>
                  <a:pt x="184784" y="46355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44" name="object 444"/>
          <p:cNvSpPr/>
          <p:nvPr/>
        </p:nvSpPr>
        <p:spPr>
          <a:xfrm>
            <a:off x="7634986" y="4418838"/>
            <a:ext cx="44830" cy="81534"/>
          </a:xfrm>
          <a:custGeom>
            <a:avLst/>
            <a:gdLst/>
            <a:ahLst/>
            <a:cxnLst/>
            <a:rect l="l" t="t" r="r" b="b"/>
            <a:pathLst>
              <a:path w="44830" h="81534">
                <a:moveTo>
                  <a:pt x="40258" y="4572"/>
                </a:moveTo>
                <a:lnTo>
                  <a:pt x="40258" y="76962"/>
                </a:lnTo>
                <a:lnTo>
                  <a:pt x="4571" y="76962"/>
                </a:lnTo>
                <a:lnTo>
                  <a:pt x="4571" y="21844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45" name="object 445"/>
          <p:cNvSpPr/>
          <p:nvPr/>
        </p:nvSpPr>
        <p:spPr>
          <a:xfrm>
            <a:off x="7594910" y="4405869"/>
            <a:ext cx="49275" cy="39497"/>
          </a:xfrm>
          <a:custGeom>
            <a:avLst/>
            <a:gdLst/>
            <a:ahLst/>
            <a:cxnLst/>
            <a:rect l="l" t="t" r="r" b="b"/>
            <a:pathLst>
              <a:path w="49275" h="39497">
                <a:moveTo>
                  <a:pt x="44703" y="34925"/>
                </a:moveTo>
                <a:cubicBezTo>
                  <a:pt x="44703" y="30480"/>
                  <a:pt x="44450" y="25908"/>
                  <a:pt x="44069" y="21463"/>
                </a:cubicBezTo>
                <a:cubicBezTo>
                  <a:pt x="43561" y="17018"/>
                  <a:pt x="42799" y="13716"/>
                  <a:pt x="41656" y="11684"/>
                </a:cubicBezTo>
                <a:cubicBezTo>
                  <a:pt x="40259" y="9271"/>
                  <a:pt x="38353" y="7366"/>
                  <a:pt x="35814" y="6350"/>
                </a:cubicBezTo>
                <a:cubicBezTo>
                  <a:pt x="33274" y="5207"/>
                  <a:pt x="29718" y="4572"/>
                  <a:pt x="25273" y="4572"/>
                </a:cubicBezTo>
                <a:cubicBezTo>
                  <a:pt x="21971" y="4572"/>
                  <a:pt x="18669" y="5207"/>
                  <a:pt x="15367" y="6223"/>
                </a:cubicBezTo>
                <a:cubicBezTo>
                  <a:pt x="12064" y="7239"/>
                  <a:pt x="8382" y="8890"/>
                  <a:pt x="4572" y="11303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46" name="object 446"/>
          <p:cNvSpPr/>
          <p:nvPr/>
        </p:nvSpPr>
        <p:spPr>
          <a:xfrm>
            <a:off x="7559043" y="4380215"/>
            <a:ext cx="44958" cy="120269"/>
          </a:xfrm>
          <a:custGeom>
            <a:avLst/>
            <a:gdLst/>
            <a:ahLst/>
            <a:cxnLst/>
            <a:rect l="l" t="t" r="r" b="b"/>
            <a:pathLst>
              <a:path w="44958" h="120269">
                <a:moveTo>
                  <a:pt x="40386" y="36957"/>
                </a:moveTo>
                <a:lnTo>
                  <a:pt x="40386" y="115697"/>
                </a:lnTo>
                <a:lnTo>
                  <a:pt x="4572" y="115697"/>
                </a:lnTo>
                <a:lnTo>
                  <a:pt x="4572" y="4572"/>
                </a:lnTo>
                <a:lnTo>
                  <a:pt x="40386" y="4572"/>
                </a:lnTo>
                <a:lnTo>
                  <a:pt x="40386" y="16764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47" name="object 447"/>
          <p:cNvSpPr/>
          <p:nvPr/>
        </p:nvSpPr>
        <p:spPr>
          <a:xfrm>
            <a:off x="7594910" y="4377040"/>
            <a:ext cx="220725" cy="71247"/>
          </a:xfrm>
          <a:custGeom>
            <a:avLst/>
            <a:gdLst/>
            <a:ahLst/>
            <a:cxnLst/>
            <a:rect l="l" t="t" r="r" b="b"/>
            <a:pathLst>
              <a:path w="220725" h="71247">
                <a:moveTo>
                  <a:pt x="4572" y="19939"/>
                </a:moveTo>
                <a:cubicBezTo>
                  <a:pt x="10795" y="14986"/>
                  <a:pt x="16890" y="11303"/>
                  <a:pt x="22733" y="8636"/>
                </a:cubicBezTo>
                <a:cubicBezTo>
                  <a:pt x="28575" y="5969"/>
                  <a:pt x="35052" y="4699"/>
                  <a:pt x="42164" y="4699"/>
                </a:cubicBezTo>
                <a:moveTo>
                  <a:pt x="180848" y="66675"/>
                </a:moveTo>
                <a:moveTo>
                  <a:pt x="158750" y="4572"/>
                </a:moveTo>
                <a:cubicBezTo>
                  <a:pt x="179070" y="4572"/>
                  <a:pt x="193675" y="7620"/>
                  <a:pt x="202692" y="13843"/>
                </a:cubicBezTo>
                <a:cubicBezTo>
                  <a:pt x="211709" y="20193"/>
                  <a:pt x="216153" y="29972"/>
                  <a:pt x="216153" y="43307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48" name="object 448"/>
          <p:cNvSpPr/>
          <p:nvPr/>
        </p:nvSpPr>
        <p:spPr>
          <a:xfrm>
            <a:off x="7771186" y="4415775"/>
            <a:ext cx="44449" cy="84709"/>
          </a:xfrm>
          <a:custGeom>
            <a:avLst/>
            <a:gdLst/>
            <a:ahLst/>
            <a:cxnLst/>
            <a:rect l="l" t="t" r="r" b="b"/>
            <a:pathLst>
              <a:path w="44449" h="84709">
                <a:moveTo>
                  <a:pt x="39877" y="4572"/>
                </a:moveTo>
                <a:lnTo>
                  <a:pt x="39877" y="80137"/>
                </a:lnTo>
                <a:lnTo>
                  <a:pt x="4572" y="80137"/>
                </a:lnTo>
                <a:lnTo>
                  <a:pt x="4572" y="68326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49" name="object 449"/>
          <p:cNvSpPr/>
          <p:nvPr/>
        </p:nvSpPr>
        <p:spPr>
          <a:xfrm>
            <a:off x="7695621" y="4418203"/>
            <a:ext cx="84963" cy="85090"/>
          </a:xfrm>
          <a:custGeom>
            <a:avLst/>
            <a:gdLst/>
            <a:ahLst/>
            <a:cxnLst/>
            <a:rect l="l" t="t" r="r" b="b"/>
            <a:pathLst>
              <a:path w="84963" h="85090">
                <a:moveTo>
                  <a:pt x="80137" y="65786"/>
                </a:moveTo>
                <a:cubicBezTo>
                  <a:pt x="78232" y="67310"/>
                  <a:pt x="75819" y="68961"/>
                  <a:pt x="73025" y="70993"/>
                </a:cubicBezTo>
                <a:cubicBezTo>
                  <a:pt x="70231" y="73152"/>
                  <a:pt x="67564" y="74676"/>
                  <a:pt x="65024" y="75946"/>
                </a:cubicBezTo>
                <a:cubicBezTo>
                  <a:pt x="61467" y="77470"/>
                  <a:pt x="57912" y="78613"/>
                  <a:pt x="54102" y="79375"/>
                </a:cubicBezTo>
                <a:cubicBezTo>
                  <a:pt x="50419" y="80137"/>
                  <a:pt x="46228" y="80518"/>
                  <a:pt x="41783" y="80518"/>
                </a:cubicBezTo>
                <a:cubicBezTo>
                  <a:pt x="31241" y="80518"/>
                  <a:pt x="22352" y="77343"/>
                  <a:pt x="15240" y="70739"/>
                </a:cubicBezTo>
                <a:cubicBezTo>
                  <a:pt x="8128" y="64262"/>
                  <a:pt x="4572" y="55880"/>
                  <a:pt x="4572" y="45720"/>
                </a:cubicBezTo>
                <a:cubicBezTo>
                  <a:pt x="4572" y="37592"/>
                  <a:pt x="6350" y="30988"/>
                  <a:pt x="10033" y="25781"/>
                </a:cubicBezTo>
                <a:cubicBezTo>
                  <a:pt x="13589" y="20701"/>
                  <a:pt x="18796" y="16637"/>
                  <a:pt x="25400" y="13716"/>
                </a:cubicBezTo>
                <a:cubicBezTo>
                  <a:pt x="32003" y="10668"/>
                  <a:pt x="40259" y="8509"/>
                  <a:pt x="50038" y="7366"/>
                </a:cubicBezTo>
                <a:cubicBezTo>
                  <a:pt x="59690" y="6096"/>
                  <a:pt x="69850" y="5080"/>
                  <a:pt x="80391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50" name="object 450"/>
          <p:cNvSpPr/>
          <p:nvPr/>
        </p:nvSpPr>
        <p:spPr>
          <a:xfrm>
            <a:off x="7771440" y="4417680"/>
            <a:ext cx="9143" cy="9779"/>
          </a:xfrm>
          <a:custGeom>
            <a:avLst/>
            <a:gdLst/>
            <a:ahLst/>
            <a:cxnLst/>
            <a:rect l="l" t="t" r="r" b="b"/>
            <a:pathLst>
              <a:path w="9143" h="9779">
                <a:moveTo>
                  <a:pt x="4572" y="5207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51" name="object 451"/>
          <p:cNvSpPr/>
          <p:nvPr/>
        </p:nvSpPr>
        <p:spPr>
          <a:xfrm>
            <a:off x="7708519" y="4401312"/>
            <a:ext cx="72008" cy="25400"/>
          </a:xfrm>
          <a:custGeom>
            <a:avLst/>
            <a:gdLst/>
            <a:ahLst/>
            <a:cxnLst/>
            <a:rect l="l" t="t" r="r" b="b"/>
            <a:pathLst>
              <a:path w="72008" h="25400">
                <a:moveTo>
                  <a:pt x="67437" y="20828"/>
                </a:moveTo>
                <a:cubicBezTo>
                  <a:pt x="67437" y="14732"/>
                  <a:pt x="64897" y="10414"/>
                  <a:pt x="59944" y="8128"/>
                </a:cubicBezTo>
                <a:cubicBezTo>
                  <a:pt x="54863" y="5842"/>
                  <a:pt x="47498" y="4572"/>
                  <a:pt x="37719" y="4572"/>
                </a:cubicBezTo>
                <a:cubicBezTo>
                  <a:pt x="31877" y="4572"/>
                  <a:pt x="25527" y="5715"/>
                  <a:pt x="18923" y="7747"/>
                </a:cubicBezTo>
                <a:cubicBezTo>
                  <a:pt x="12192" y="9779"/>
                  <a:pt x="7493" y="11430"/>
                  <a:pt x="4572" y="12573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52" name="object 452"/>
          <p:cNvSpPr/>
          <p:nvPr/>
        </p:nvSpPr>
        <p:spPr>
          <a:xfrm>
            <a:off x="7705218" y="4382389"/>
            <a:ext cx="12445" cy="36068"/>
          </a:xfrm>
          <a:custGeom>
            <a:avLst/>
            <a:gdLst/>
            <a:ahLst/>
            <a:cxnLst/>
            <a:rect l="l" t="t" r="r" b="b"/>
            <a:pathLst>
              <a:path w="12445" h="36068">
                <a:moveTo>
                  <a:pt x="7874" y="31496"/>
                </a:moveTo>
                <a:lnTo>
                  <a:pt x="4572" y="31496"/>
                </a:ln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53" name="object 453"/>
          <p:cNvSpPr/>
          <p:nvPr/>
        </p:nvSpPr>
        <p:spPr>
          <a:xfrm>
            <a:off x="6578148" y="4344020"/>
            <a:ext cx="1202181" cy="159893"/>
          </a:xfrm>
          <a:custGeom>
            <a:avLst/>
            <a:gdLst/>
            <a:ahLst/>
            <a:cxnLst/>
            <a:rect l="l" t="t" r="r" b="b"/>
            <a:pathLst>
              <a:path w="1202181" h="159893">
                <a:moveTo>
                  <a:pt x="1131697" y="43053"/>
                </a:moveTo>
                <a:cubicBezTo>
                  <a:pt x="1135507" y="42164"/>
                  <a:pt x="1141602" y="40894"/>
                  <a:pt x="1150112" y="39624"/>
                </a:cubicBezTo>
                <a:cubicBezTo>
                  <a:pt x="1158621" y="38227"/>
                  <a:pt x="1167002" y="37592"/>
                  <a:pt x="1175512" y="37592"/>
                </a:cubicBezTo>
                <a:moveTo>
                  <a:pt x="1197610" y="99695"/>
                </a:moveTo>
                <a:moveTo>
                  <a:pt x="326644" y="37338"/>
                </a:moveTo>
                <a:cubicBezTo>
                  <a:pt x="345948" y="37338"/>
                  <a:pt x="360934" y="42545"/>
                  <a:pt x="371601" y="53086"/>
                </a:cubicBezTo>
                <a:cubicBezTo>
                  <a:pt x="382143" y="63627"/>
                  <a:pt x="387476" y="78105"/>
                  <a:pt x="387476" y="96393"/>
                </a:cubicBezTo>
                <a:cubicBezTo>
                  <a:pt x="387476" y="114681"/>
                  <a:pt x="382143" y="129032"/>
                  <a:pt x="371475" y="139573"/>
                </a:cubicBezTo>
                <a:cubicBezTo>
                  <a:pt x="360807" y="150114"/>
                  <a:pt x="345821" y="155321"/>
                  <a:pt x="326644" y="155321"/>
                </a:cubicBezTo>
                <a:cubicBezTo>
                  <a:pt x="307339" y="155321"/>
                  <a:pt x="292354" y="150114"/>
                  <a:pt x="281686" y="139573"/>
                </a:cubicBezTo>
                <a:cubicBezTo>
                  <a:pt x="271018" y="129032"/>
                  <a:pt x="265684" y="114681"/>
                  <a:pt x="265684" y="96393"/>
                </a:cubicBezTo>
                <a:cubicBezTo>
                  <a:pt x="265684" y="77978"/>
                  <a:pt x="271145" y="63500"/>
                  <a:pt x="281813" y="52959"/>
                </a:cubicBezTo>
                <a:cubicBezTo>
                  <a:pt x="292481" y="42545"/>
                  <a:pt x="307467" y="37338"/>
                  <a:pt x="326644" y="37338"/>
                </a:cubicBezTo>
                <a:moveTo>
                  <a:pt x="1197610" y="99695"/>
                </a:moveTo>
                <a:moveTo>
                  <a:pt x="187960" y="37338"/>
                </a:moveTo>
                <a:cubicBezTo>
                  <a:pt x="207264" y="37338"/>
                  <a:pt x="222250" y="42545"/>
                  <a:pt x="232918" y="53086"/>
                </a:cubicBezTo>
                <a:cubicBezTo>
                  <a:pt x="243459" y="63627"/>
                  <a:pt x="248793" y="78105"/>
                  <a:pt x="248793" y="96393"/>
                </a:cubicBezTo>
                <a:cubicBezTo>
                  <a:pt x="248793" y="114681"/>
                  <a:pt x="243459" y="129032"/>
                  <a:pt x="232790" y="139573"/>
                </a:cubicBezTo>
                <a:cubicBezTo>
                  <a:pt x="222123" y="150114"/>
                  <a:pt x="207137" y="155321"/>
                  <a:pt x="187960" y="155321"/>
                </a:cubicBezTo>
                <a:cubicBezTo>
                  <a:pt x="168656" y="155321"/>
                  <a:pt x="153670" y="150114"/>
                  <a:pt x="143001" y="139573"/>
                </a:cubicBezTo>
                <a:cubicBezTo>
                  <a:pt x="132334" y="129032"/>
                  <a:pt x="127000" y="114681"/>
                  <a:pt x="127000" y="96393"/>
                </a:cubicBezTo>
                <a:cubicBezTo>
                  <a:pt x="127000" y="77978"/>
                  <a:pt x="132461" y="63500"/>
                  <a:pt x="143129" y="52959"/>
                </a:cubicBezTo>
                <a:cubicBezTo>
                  <a:pt x="153797" y="42545"/>
                  <a:pt x="168783" y="37338"/>
                  <a:pt x="187960" y="37338"/>
                </a:cubicBezTo>
                <a:moveTo>
                  <a:pt x="1197610" y="99695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54" name="object 454"/>
          <p:cNvSpPr/>
          <p:nvPr/>
        </p:nvSpPr>
        <p:spPr>
          <a:xfrm>
            <a:off x="6578092" y="4343908"/>
            <a:ext cx="114680" cy="156464"/>
          </a:xfrm>
          <a:custGeom>
            <a:avLst/>
            <a:gdLst/>
            <a:ahLst/>
            <a:cxnLst/>
            <a:rect l="l" t="t" r="r" b="b"/>
            <a:pathLst>
              <a:path w="114680" h="156464">
                <a:moveTo>
                  <a:pt x="4572" y="4572"/>
                </a:moveTo>
                <a:lnTo>
                  <a:pt x="110109" y="4572"/>
                </a:lnTo>
                <a:lnTo>
                  <a:pt x="110109" y="33020"/>
                </a:lnTo>
                <a:lnTo>
                  <a:pt x="42418" y="33020"/>
                </a:lnTo>
                <a:lnTo>
                  <a:pt x="42418" y="60452"/>
                </a:lnTo>
                <a:lnTo>
                  <a:pt x="105156" y="60452"/>
                </a:lnTo>
                <a:lnTo>
                  <a:pt x="105156" y="88900"/>
                </a:lnTo>
                <a:lnTo>
                  <a:pt x="42418" y="88900"/>
                </a:lnTo>
                <a:lnTo>
                  <a:pt x="42418" y="151892"/>
                </a:lnTo>
                <a:lnTo>
                  <a:pt x="4572" y="15189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55" name="object 455"/>
          <p:cNvSpPr/>
          <p:nvPr/>
        </p:nvSpPr>
        <p:spPr>
          <a:xfrm>
            <a:off x="6578148" y="4341099"/>
            <a:ext cx="1202181" cy="159385"/>
          </a:xfrm>
          <a:custGeom>
            <a:avLst/>
            <a:gdLst/>
            <a:ahLst/>
            <a:cxnLst/>
            <a:rect l="l" t="t" r="r" b="b"/>
            <a:pathLst>
              <a:path w="1202181" h="159385">
                <a:moveTo>
                  <a:pt x="4572" y="154813"/>
                </a:moveTo>
                <a:moveTo>
                  <a:pt x="1197610" y="102616"/>
                </a:moveTo>
                <a:moveTo>
                  <a:pt x="694563" y="4572"/>
                </a:moveTo>
                <a:cubicBezTo>
                  <a:pt x="700786" y="4572"/>
                  <a:pt x="706374" y="4953"/>
                  <a:pt x="711326" y="5588"/>
                </a:cubicBezTo>
                <a:cubicBezTo>
                  <a:pt x="716280" y="6350"/>
                  <a:pt x="720979" y="7239"/>
                  <a:pt x="725170" y="8382"/>
                </a:cubicBezTo>
                <a:cubicBezTo>
                  <a:pt x="729614" y="9525"/>
                  <a:pt x="733551" y="10922"/>
                  <a:pt x="737235" y="12573"/>
                </a:cubicBezTo>
                <a:cubicBezTo>
                  <a:pt x="740790" y="14097"/>
                  <a:pt x="743965" y="15494"/>
                  <a:pt x="746633" y="16891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56" name="object 456"/>
          <p:cNvSpPr/>
          <p:nvPr/>
        </p:nvSpPr>
        <p:spPr>
          <a:xfrm>
            <a:off x="7315835" y="4353418"/>
            <a:ext cx="13462" cy="44831"/>
          </a:xfrm>
          <a:custGeom>
            <a:avLst/>
            <a:gdLst/>
            <a:ahLst/>
            <a:cxnLst/>
            <a:rect l="l" t="t" r="r" b="b"/>
            <a:pathLst>
              <a:path w="13462" h="44831">
                <a:moveTo>
                  <a:pt x="8890" y="4572"/>
                </a:moveTo>
                <a:lnTo>
                  <a:pt x="8890" y="40259"/>
                </a:lnTo>
                <a:lnTo>
                  <a:pt x="4571" y="40259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57" name="object 457"/>
          <p:cNvSpPr/>
          <p:nvPr/>
        </p:nvSpPr>
        <p:spPr>
          <a:xfrm>
            <a:off x="7232269" y="4369547"/>
            <a:ext cx="93090" cy="105283"/>
          </a:xfrm>
          <a:custGeom>
            <a:avLst/>
            <a:gdLst/>
            <a:ahLst/>
            <a:cxnLst/>
            <a:rect l="l" t="t" r="r" b="b"/>
            <a:pathLst>
              <a:path w="93090" h="105283">
                <a:moveTo>
                  <a:pt x="88137" y="24130"/>
                </a:moveTo>
                <a:cubicBezTo>
                  <a:pt x="86233" y="22606"/>
                  <a:pt x="83947" y="20701"/>
                  <a:pt x="81153" y="18542"/>
                </a:cubicBezTo>
                <a:cubicBezTo>
                  <a:pt x="78359" y="16383"/>
                  <a:pt x="75184" y="14224"/>
                  <a:pt x="71628" y="12065"/>
                </a:cubicBezTo>
                <a:cubicBezTo>
                  <a:pt x="67945" y="10033"/>
                  <a:pt x="64008" y="8255"/>
                  <a:pt x="59817" y="6731"/>
                </a:cubicBezTo>
                <a:cubicBezTo>
                  <a:pt x="55625" y="5334"/>
                  <a:pt x="51054" y="4572"/>
                  <a:pt x="46228" y="4572"/>
                </a:cubicBezTo>
                <a:cubicBezTo>
                  <a:pt x="40894" y="4572"/>
                  <a:pt x="35813" y="5461"/>
                  <a:pt x="30987" y="7112"/>
                </a:cubicBezTo>
                <a:cubicBezTo>
                  <a:pt x="26162" y="8763"/>
                  <a:pt x="21717" y="11557"/>
                  <a:pt x="17653" y="15494"/>
                </a:cubicBezTo>
                <a:cubicBezTo>
                  <a:pt x="13716" y="19177"/>
                  <a:pt x="10541" y="24257"/>
                  <a:pt x="8128" y="30353"/>
                </a:cubicBezTo>
                <a:cubicBezTo>
                  <a:pt x="5842" y="36576"/>
                  <a:pt x="4572" y="44069"/>
                  <a:pt x="4572" y="52959"/>
                </a:cubicBezTo>
                <a:cubicBezTo>
                  <a:pt x="4572" y="62103"/>
                  <a:pt x="5842" y="69850"/>
                  <a:pt x="8509" y="76073"/>
                </a:cubicBezTo>
                <a:cubicBezTo>
                  <a:pt x="11049" y="82169"/>
                  <a:pt x="14350" y="87122"/>
                  <a:pt x="18287" y="90678"/>
                </a:cubicBezTo>
                <a:cubicBezTo>
                  <a:pt x="22352" y="94234"/>
                  <a:pt x="26797" y="96901"/>
                  <a:pt x="31749" y="98425"/>
                </a:cubicBezTo>
                <a:cubicBezTo>
                  <a:pt x="36703" y="99949"/>
                  <a:pt x="41656" y="100711"/>
                  <a:pt x="46482" y="100711"/>
                </a:cubicBezTo>
                <a:cubicBezTo>
                  <a:pt x="51054" y="100711"/>
                  <a:pt x="55625" y="100076"/>
                  <a:pt x="60198" y="98679"/>
                </a:cubicBezTo>
                <a:cubicBezTo>
                  <a:pt x="64643" y="97282"/>
                  <a:pt x="68834" y="95377"/>
                  <a:pt x="72644" y="93091"/>
                </a:cubicBezTo>
                <a:cubicBezTo>
                  <a:pt x="75946" y="91186"/>
                  <a:pt x="78867" y="89154"/>
                  <a:pt x="81661" y="86995"/>
                </a:cubicBezTo>
                <a:cubicBezTo>
                  <a:pt x="84455" y="84709"/>
                  <a:pt x="86741" y="82931"/>
                  <a:pt x="88519" y="81280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58" name="object 458"/>
          <p:cNvSpPr/>
          <p:nvPr/>
        </p:nvSpPr>
        <p:spPr>
          <a:xfrm>
            <a:off x="7316272" y="4446143"/>
            <a:ext cx="13081" cy="44450"/>
          </a:xfrm>
          <a:custGeom>
            <a:avLst/>
            <a:gdLst/>
            <a:ahLst/>
            <a:cxnLst/>
            <a:rect l="l" t="t" r="r" b="b"/>
            <a:pathLst>
              <a:path w="13081" h="44450">
                <a:moveTo>
                  <a:pt x="4572" y="4572"/>
                </a:moveTo>
                <a:lnTo>
                  <a:pt x="8509" y="4572"/>
                </a:lnTo>
                <a:lnTo>
                  <a:pt x="8509" y="39878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59" name="object 459"/>
          <p:cNvSpPr/>
          <p:nvPr/>
        </p:nvSpPr>
        <p:spPr>
          <a:xfrm>
            <a:off x="7192772" y="4337177"/>
            <a:ext cx="587502" cy="166116"/>
          </a:xfrm>
          <a:custGeom>
            <a:avLst/>
            <a:gdLst/>
            <a:ahLst/>
            <a:cxnLst/>
            <a:rect l="l" t="t" r="r" b="b"/>
            <a:pathLst>
              <a:path w="587502" h="166116">
                <a:moveTo>
                  <a:pt x="131953" y="148844"/>
                </a:moveTo>
                <a:cubicBezTo>
                  <a:pt x="128270" y="150495"/>
                  <a:pt x="124714" y="152019"/>
                  <a:pt x="121412" y="153416"/>
                </a:cubicBezTo>
                <a:cubicBezTo>
                  <a:pt x="117983" y="154940"/>
                  <a:pt x="114427" y="156210"/>
                  <a:pt x="110744" y="157226"/>
                </a:cubicBezTo>
                <a:cubicBezTo>
                  <a:pt x="105918" y="158623"/>
                  <a:pt x="101472" y="159639"/>
                  <a:pt x="97282" y="160401"/>
                </a:cubicBezTo>
                <a:cubicBezTo>
                  <a:pt x="92964" y="161163"/>
                  <a:pt x="87249" y="161544"/>
                  <a:pt x="79756" y="161544"/>
                </a:cubicBezTo>
                <a:cubicBezTo>
                  <a:pt x="68834" y="161544"/>
                  <a:pt x="58674" y="159893"/>
                  <a:pt x="49530" y="156591"/>
                </a:cubicBezTo>
                <a:cubicBezTo>
                  <a:pt x="40259" y="153416"/>
                  <a:pt x="32258" y="148590"/>
                  <a:pt x="25527" y="142240"/>
                </a:cubicBezTo>
                <a:cubicBezTo>
                  <a:pt x="18922" y="135763"/>
                  <a:pt x="13716" y="127762"/>
                  <a:pt x="10033" y="118237"/>
                </a:cubicBezTo>
                <a:cubicBezTo>
                  <a:pt x="6477" y="108712"/>
                  <a:pt x="4571" y="97663"/>
                  <a:pt x="4571" y="85090"/>
                </a:cubicBezTo>
                <a:cubicBezTo>
                  <a:pt x="4571" y="73406"/>
                  <a:pt x="6350" y="62865"/>
                  <a:pt x="9779" y="53340"/>
                </a:cubicBezTo>
                <a:cubicBezTo>
                  <a:pt x="13334" y="43815"/>
                  <a:pt x="18415" y="35687"/>
                  <a:pt x="25019" y="28829"/>
                </a:cubicBezTo>
                <a:cubicBezTo>
                  <a:pt x="31496" y="22352"/>
                  <a:pt x="39370" y="17272"/>
                  <a:pt x="48895" y="13716"/>
                </a:cubicBezTo>
                <a:cubicBezTo>
                  <a:pt x="58293" y="10160"/>
                  <a:pt x="68707" y="8382"/>
                  <a:pt x="79883" y="8382"/>
                </a:cubicBezTo>
                <a:moveTo>
                  <a:pt x="582930" y="106426"/>
                </a:moveTo>
                <a:moveTo>
                  <a:pt x="301371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60" name="object 460"/>
          <p:cNvSpPr/>
          <p:nvPr/>
        </p:nvSpPr>
        <p:spPr>
          <a:xfrm>
            <a:off x="7489571" y="4337289"/>
            <a:ext cx="46735" cy="36195"/>
          </a:xfrm>
          <a:custGeom>
            <a:avLst/>
            <a:gdLst/>
            <a:ahLst/>
            <a:cxnLst/>
            <a:rect l="l" t="t" r="r" b="b"/>
            <a:pathLst>
              <a:path w="46735" h="36195">
                <a:moveTo>
                  <a:pt x="4572" y="4572"/>
                </a:moveTo>
                <a:lnTo>
                  <a:pt x="42164" y="4572"/>
                </a:lnTo>
                <a:lnTo>
                  <a:pt x="42164" y="31623"/>
                </a:lnTo>
                <a:lnTo>
                  <a:pt x="4572" y="3162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61" name="object 461"/>
          <p:cNvSpPr/>
          <p:nvPr/>
        </p:nvSpPr>
        <p:spPr>
          <a:xfrm>
            <a:off x="7345736" y="4337177"/>
            <a:ext cx="434593" cy="110998"/>
          </a:xfrm>
          <a:custGeom>
            <a:avLst/>
            <a:gdLst/>
            <a:ahLst/>
            <a:cxnLst/>
            <a:rect l="l" t="t" r="r" b="b"/>
            <a:pathLst>
              <a:path w="434593" h="110998">
                <a:moveTo>
                  <a:pt x="148463" y="31623"/>
                </a:moveTo>
                <a:moveTo>
                  <a:pt x="430022" y="106426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62" name="object 462"/>
          <p:cNvSpPr/>
          <p:nvPr/>
        </p:nvSpPr>
        <p:spPr>
          <a:xfrm>
            <a:off x="7345736" y="4337177"/>
            <a:ext cx="44957" cy="64262"/>
          </a:xfrm>
          <a:custGeom>
            <a:avLst/>
            <a:gdLst/>
            <a:ahLst/>
            <a:cxnLst/>
            <a:rect l="l" t="t" r="r" b="b"/>
            <a:pathLst>
              <a:path w="44957" h="64262">
                <a:moveTo>
                  <a:pt x="4572" y="4572"/>
                </a:moveTo>
                <a:lnTo>
                  <a:pt x="40386" y="4572"/>
                </a:lnTo>
                <a:lnTo>
                  <a:pt x="40386" y="59690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63" name="object 463"/>
          <p:cNvSpPr/>
          <p:nvPr/>
        </p:nvSpPr>
        <p:spPr>
          <a:xfrm>
            <a:off x="7381494" y="4377167"/>
            <a:ext cx="84962" cy="50927"/>
          </a:xfrm>
          <a:custGeom>
            <a:avLst/>
            <a:gdLst/>
            <a:ahLst/>
            <a:cxnLst/>
            <a:rect l="l" t="t" r="r" b="b"/>
            <a:pathLst>
              <a:path w="84962" h="50927">
                <a:moveTo>
                  <a:pt x="4572" y="19812"/>
                </a:moveTo>
                <a:cubicBezTo>
                  <a:pt x="10795" y="14859"/>
                  <a:pt x="16891" y="11176"/>
                  <a:pt x="22733" y="8509"/>
                </a:cubicBezTo>
                <a:cubicBezTo>
                  <a:pt x="28574" y="5842"/>
                  <a:pt x="35052" y="4572"/>
                  <a:pt x="42163" y="4572"/>
                </a:cubicBezTo>
                <a:cubicBezTo>
                  <a:pt x="54229" y="4572"/>
                  <a:pt x="63499" y="8001"/>
                  <a:pt x="70358" y="14986"/>
                </a:cubicBezTo>
                <a:cubicBezTo>
                  <a:pt x="77088" y="21971"/>
                  <a:pt x="80391" y="32512"/>
                  <a:pt x="80391" y="46355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64" name="object 464"/>
          <p:cNvSpPr/>
          <p:nvPr/>
        </p:nvSpPr>
        <p:spPr>
          <a:xfrm>
            <a:off x="7421626" y="4418838"/>
            <a:ext cx="44830" cy="81534"/>
          </a:xfrm>
          <a:custGeom>
            <a:avLst/>
            <a:gdLst/>
            <a:ahLst/>
            <a:cxnLst/>
            <a:rect l="l" t="t" r="r" b="b"/>
            <a:pathLst>
              <a:path w="44830" h="81534">
                <a:moveTo>
                  <a:pt x="40259" y="4572"/>
                </a:moveTo>
                <a:lnTo>
                  <a:pt x="40259" y="76962"/>
                </a:lnTo>
                <a:lnTo>
                  <a:pt x="4572" y="76962"/>
                </a:lnTo>
                <a:lnTo>
                  <a:pt x="4572" y="21844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65" name="object 465"/>
          <p:cNvSpPr/>
          <p:nvPr/>
        </p:nvSpPr>
        <p:spPr>
          <a:xfrm>
            <a:off x="7381550" y="4405869"/>
            <a:ext cx="49275" cy="39497"/>
          </a:xfrm>
          <a:custGeom>
            <a:avLst/>
            <a:gdLst/>
            <a:ahLst/>
            <a:cxnLst/>
            <a:rect l="l" t="t" r="r" b="b"/>
            <a:pathLst>
              <a:path w="49275" h="39497">
                <a:moveTo>
                  <a:pt x="44704" y="34925"/>
                </a:moveTo>
                <a:cubicBezTo>
                  <a:pt x="44704" y="30480"/>
                  <a:pt x="44449" y="25908"/>
                  <a:pt x="44069" y="21463"/>
                </a:cubicBezTo>
                <a:cubicBezTo>
                  <a:pt x="43561" y="17018"/>
                  <a:pt x="42799" y="13716"/>
                  <a:pt x="41656" y="11684"/>
                </a:cubicBezTo>
                <a:cubicBezTo>
                  <a:pt x="40259" y="9271"/>
                  <a:pt x="38354" y="7366"/>
                  <a:pt x="35813" y="6350"/>
                </a:cubicBezTo>
                <a:cubicBezTo>
                  <a:pt x="33274" y="5207"/>
                  <a:pt x="29718" y="4572"/>
                  <a:pt x="25273" y="4572"/>
                </a:cubicBezTo>
                <a:cubicBezTo>
                  <a:pt x="21971" y="4572"/>
                  <a:pt x="18669" y="5207"/>
                  <a:pt x="15367" y="6223"/>
                </a:cubicBezTo>
                <a:cubicBezTo>
                  <a:pt x="12065" y="7239"/>
                  <a:pt x="8382" y="8890"/>
                  <a:pt x="4572" y="11303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66" name="object 466"/>
          <p:cNvSpPr/>
          <p:nvPr/>
        </p:nvSpPr>
        <p:spPr>
          <a:xfrm>
            <a:off x="7345736" y="4412488"/>
            <a:ext cx="44957" cy="87884"/>
          </a:xfrm>
          <a:custGeom>
            <a:avLst/>
            <a:gdLst/>
            <a:ahLst/>
            <a:cxnLst/>
            <a:rect l="l" t="t" r="r" b="b"/>
            <a:pathLst>
              <a:path w="44957" h="87884">
                <a:moveTo>
                  <a:pt x="40386" y="4572"/>
                </a:moveTo>
                <a:lnTo>
                  <a:pt x="40386" y="83312"/>
                </a:lnTo>
                <a:lnTo>
                  <a:pt x="4572" y="8331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67" name="object 467"/>
          <p:cNvSpPr/>
          <p:nvPr/>
        </p:nvSpPr>
        <p:spPr>
          <a:xfrm>
            <a:off x="7058462" y="4337289"/>
            <a:ext cx="721867" cy="163195"/>
          </a:xfrm>
          <a:custGeom>
            <a:avLst/>
            <a:gdLst/>
            <a:ahLst/>
            <a:cxnLst/>
            <a:rect l="l" t="t" r="r" b="b"/>
            <a:pathLst>
              <a:path w="721867" h="163195">
                <a:moveTo>
                  <a:pt x="291846" y="158623"/>
                </a:moveTo>
                <a:moveTo>
                  <a:pt x="717296" y="106426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68" name="object 468"/>
          <p:cNvSpPr/>
          <p:nvPr/>
        </p:nvSpPr>
        <p:spPr>
          <a:xfrm>
            <a:off x="7058406" y="4337289"/>
            <a:ext cx="44830" cy="163195"/>
          </a:xfrm>
          <a:custGeom>
            <a:avLst/>
            <a:gdLst/>
            <a:ahLst/>
            <a:cxnLst/>
            <a:rect l="l" t="t" r="r" b="b"/>
            <a:pathLst>
              <a:path w="44830" h="163195">
                <a:moveTo>
                  <a:pt x="4572" y="4572"/>
                </a:moveTo>
                <a:lnTo>
                  <a:pt x="40259" y="4572"/>
                </a:lnTo>
                <a:lnTo>
                  <a:pt x="40259" y="158623"/>
                </a:lnTo>
                <a:lnTo>
                  <a:pt x="4572" y="158623"/>
                </a:lnTo>
                <a:lnTo>
                  <a:pt x="4572" y="147066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69" name="object 469"/>
          <p:cNvSpPr/>
          <p:nvPr/>
        </p:nvSpPr>
        <p:spPr>
          <a:xfrm>
            <a:off x="6978198" y="4377167"/>
            <a:ext cx="802131" cy="126365"/>
          </a:xfrm>
          <a:custGeom>
            <a:avLst/>
            <a:gdLst/>
            <a:ahLst/>
            <a:cxnLst/>
            <a:rect l="l" t="t" r="r" b="b"/>
            <a:pathLst>
              <a:path w="802131" h="126365">
                <a:moveTo>
                  <a:pt x="84836" y="107188"/>
                </a:moveTo>
                <a:cubicBezTo>
                  <a:pt x="78739" y="112141"/>
                  <a:pt x="73025" y="115824"/>
                  <a:pt x="67690" y="118237"/>
                </a:cubicBezTo>
                <a:cubicBezTo>
                  <a:pt x="62357" y="120650"/>
                  <a:pt x="56134" y="121793"/>
                  <a:pt x="49149" y="121793"/>
                </a:cubicBezTo>
                <a:cubicBezTo>
                  <a:pt x="35687" y="121793"/>
                  <a:pt x="24892" y="116586"/>
                  <a:pt x="16764" y="106172"/>
                </a:cubicBezTo>
                <a:cubicBezTo>
                  <a:pt x="8636" y="95758"/>
                  <a:pt x="4572" y="81661"/>
                  <a:pt x="4572" y="64008"/>
                </a:cubicBezTo>
                <a:cubicBezTo>
                  <a:pt x="4572" y="54610"/>
                  <a:pt x="5969" y="46228"/>
                  <a:pt x="8636" y="38862"/>
                </a:cubicBezTo>
                <a:cubicBezTo>
                  <a:pt x="11430" y="31623"/>
                  <a:pt x="15113" y="25400"/>
                  <a:pt x="19939" y="20193"/>
                </a:cubicBezTo>
                <a:cubicBezTo>
                  <a:pt x="24384" y="15240"/>
                  <a:pt x="29845" y="11430"/>
                  <a:pt x="36195" y="8636"/>
                </a:cubicBezTo>
                <a:cubicBezTo>
                  <a:pt x="42545" y="5842"/>
                  <a:pt x="49022" y="4572"/>
                  <a:pt x="55372" y="4572"/>
                </a:cubicBezTo>
                <a:cubicBezTo>
                  <a:pt x="61976" y="4572"/>
                  <a:pt x="67437" y="5207"/>
                  <a:pt x="71755" y="6604"/>
                </a:cubicBezTo>
                <a:cubicBezTo>
                  <a:pt x="75946" y="8128"/>
                  <a:pt x="80390" y="9906"/>
                  <a:pt x="84836" y="12065"/>
                </a:cubicBezTo>
                <a:moveTo>
                  <a:pt x="797560" y="66548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70" name="object 470"/>
          <p:cNvSpPr/>
          <p:nvPr/>
        </p:nvSpPr>
        <p:spPr>
          <a:xfrm>
            <a:off x="4647311" y="4771872"/>
            <a:ext cx="1163396" cy="461670"/>
          </a:xfrm>
          <a:custGeom>
            <a:avLst/>
            <a:gdLst/>
            <a:ahLst/>
            <a:cxnLst/>
            <a:rect l="l" t="t" r="r" b="b"/>
            <a:pathLst>
              <a:path w="1163396" h="461670">
                <a:moveTo>
                  <a:pt x="0" y="0"/>
                </a:moveTo>
                <a:lnTo>
                  <a:pt x="0" y="461671"/>
                </a:lnTo>
                <a:lnTo>
                  <a:pt x="1163396" y="461671"/>
                </a:lnTo>
                <a:lnTo>
                  <a:pt x="1163396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71" name="object 471"/>
          <p:cNvSpPr/>
          <p:nvPr/>
        </p:nvSpPr>
        <p:spPr>
          <a:xfrm>
            <a:off x="4642552" y="4767222"/>
            <a:ext cx="1172921" cy="471195"/>
          </a:xfrm>
          <a:custGeom>
            <a:avLst/>
            <a:gdLst/>
            <a:ahLst/>
            <a:cxnLst/>
            <a:rect l="l" t="t" r="r" b="b"/>
            <a:pathLst>
              <a:path w="1172921" h="471195">
                <a:moveTo>
                  <a:pt x="4763" y="4762"/>
                </a:moveTo>
                <a:lnTo>
                  <a:pt x="4763" y="466433"/>
                </a:lnTo>
                <a:lnTo>
                  <a:pt x="1168159" y="466433"/>
                </a:lnTo>
                <a:lnTo>
                  <a:pt x="1168159" y="4762"/>
                </a:lnTo>
                <a:lnTo>
                  <a:pt x="4763" y="4762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72" name="object 472"/>
          <p:cNvSpPr/>
          <p:nvPr/>
        </p:nvSpPr>
        <p:spPr>
          <a:xfrm>
            <a:off x="4891158" y="4890501"/>
            <a:ext cx="682117" cy="210185"/>
          </a:xfrm>
          <a:custGeom>
            <a:avLst/>
            <a:gdLst/>
            <a:ahLst/>
            <a:cxnLst/>
            <a:rect l="l" t="t" r="r" b="b"/>
            <a:pathLst>
              <a:path w="682117" h="210185">
                <a:moveTo>
                  <a:pt x="136652" y="137033"/>
                </a:moveTo>
                <a:cubicBezTo>
                  <a:pt x="139954" y="136906"/>
                  <a:pt x="142494" y="138049"/>
                  <a:pt x="144399" y="140589"/>
                </a:cubicBezTo>
                <a:cubicBezTo>
                  <a:pt x="146431" y="143129"/>
                  <a:pt x="147320" y="146304"/>
                  <a:pt x="147320" y="149860"/>
                </a:cubicBezTo>
                <a:cubicBezTo>
                  <a:pt x="147320" y="156845"/>
                  <a:pt x="145542" y="164719"/>
                  <a:pt x="141859" y="173482"/>
                </a:cubicBezTo>
                <a:cubicBezTo>
                  <a:pt x="138049" y="182118"/>
                  <a:pt x="133604" y="189230"/>
                  <a:pt x="128397" y="194564"/>
                </a:cubicBezTo>
                <a:cubicBezTo>
                  <a:pt x="123825" y="199136"/>
                  <a:pt x="118237" y="202946"/>
                  <a:pt x="111506" y="205867"/>
                </a:cubicBezTo>
                <a:cubicBezTo>
                  <a:pt x="104775" y="208661"/>
                  <a:pt x="98425" y="210185"/>
                  <a:pt x="92329" y="210185"/>
                </a:cubicBezTo>
                <a:cubicBezTo>
                  <a:pt x="85090" y="210185"/>
                  <a:pt x="77597" y="209042"/>
                  <a:pt x="69850" y="206629"/>
                </a:cubicBezTo>
                <a:lnTo>
                  <a:pt x="48768" y="200406"/>
                </a:lnTo>
                <a:cubicBezTo>
                  <a:pt x="39370" y="197739"/>
                  <a:pt x="33274" y="196342"/>
                  <a:pt x="30480" y="196342"/>
                </a:cubicBezTo>
                <a:cubicBezTo>
                  <a:pt x="26924" y="196342"/>
                  <a:pt x="23114" y="198120"/>
                  <a:pt x="18923" y="201803"/>
                </a:cubicBezTo>
                <a:cubicBezTo>
                  <a:pt x="15367" y="204851"/>
                  <a:pt x="12319" y="206248"/>
                  <a:pt x="10033" y="206248"/>
                </a:cubicBezTo>
                <a:cubicBezTo>
                  <a:pt x="6858" y="206248"/>
                  <a:pt x="4318" y="205232"/>
                  <a:pt x="2667" y="203200"/>
                </a:cubicBezTo>
                <a:cubicBezTo>
                  <a:pt x="889" y="201168"/>
                  <a:pt x="0" y="198374"/>
                  <a:pt x="0" y="194818"/>
                </a:cubicBezTo>
                <a:cubicBezTo>
                  <a:pt x="0" y="189103"/>
                  <a:pt x="1270" y="183388"/>
                  <a:pt x="3937" y="177673"/>
                </a:cubicBezTo>
                <a:cubicBezTo>
                  <a:pt x="6477" y="171831"/>
                  <a:pt x="10033" y="166751"/>
                  <a:pt x="14478" y="162433"/>
                </a:cubicBezTo>
                <a:cubicBezTo>
                  <a:pt x="24003" y="153162"/>
                  <a:pt x="36703" y="148590"/>
                  <a:pt x="52832" y="148590"/>
                </a:cubicBezTo>
                <a:cubicBezTo>
                  <a:pt x="59944" y="148590"/>
                  <a:pt x="69596" y="149733"/>
                  <a:pt x="82042" y="152019"/>
                </a:cubicBezTo>
                <a:cubicBezTo>
                  <a:pt x="99314" y="155321"/>
                  <a:pt x="110617" y="156845"/>
                  <a:pt x="115951" y="156845"/>
                </a:cubicBezTo>
                <a:cubicBezTo>
                  <a:pt x="119761" y="156845"/>
                  <a:pt x="122682" y="155829"/>
                  <a:pt x="124587" y="153797"/>
                </a:cubicBezTo>
                <a:cubicBezTo>
                  <a:pt x="124714" y="153670"/>
                  <a:pt x="125095" y="153035"/>
                  <a:pt x="125349" y="152273"/>
                </a:cubicBezTo>
                <a:cubicBezTo>
                  <a:pt x="125730" y="151384"/>
                  <a:pt x="126238" y="149479"/>
                  <a:pt x="126873" y="146685"/>
                </a:cubicBezTo>
                <a:cubicBezTo>
                  <a:pt x="128270" y="140462"/>
                  <a:pt x="131572" y="137287"/>
                  <a:pt x="136652" y="137033"/>
                </a:cubicBezTo>
                <a:close/>
                <a:moveTo>
                  <a:pt x="56896" y="508"/>
                </a:moveTo>
                <a:lnTo>
                  <a:pt x="56896" y="21336"/>
                </a:lnTo>
                <a:cubicBezTo>
                  <a:pt x="52959" y="22225"/>
                  <a:pt x="50419" y="22987"/>
                  <a:pt x="49403" y="23622"/>
                </a:cubicBezTo>
                <a:lnTo>
                  <a:pt x="48260" y="24130"/>
                </a:lnTo>
                <a:cubicBezTo>
                  <a:pt x="48006" y="24257"/>
                  <a:pt x="47879" y="24130"/>
                  <a:pt x="47879" y="23876"/>
                </a:cubicBezTo>
                <a:cubicBezTo>
                  <a:pt x="48006" y="24638"/>
                  <a:pt x="49022" y="25654"/>
                  <a:pt x="50800" y="26797"/>
                </a:cubicBezTo>
                <a:cubicBezTo>
                  <a:pt x="55372" y="29972"/>
                  <a:pt x="58801" y="33528"/>
                  <a:pt x="60960" y="37465"/>
                </a:cubicBezTo>
                <a:cubicBezTo>
                  <a:pt x="63119" y="41402"/>
                  <a:pt x="64135" y="46101"/>
                  <a:pt x="64135" y="51435"/>
                </a:cubicBezTo>
                <a:cubicBezTo>
                  <a:pt x="64135" y="59690"/>
                  <a:pt x="61087" y="66802"/>
                  <a:pt x="54864" y="72644"/>
                </a:cubicBezTo>
                <a:cubicBezTo>
                  <a:pt x="48768" y="78613"/>
                  <a:pt x="41402" y="81534"/>
                  <a:pt x="32893" y="81534"/>
                </a:cubicBezTo>
                <a:cubicBezTo>
                  <a:pt x="23749" y="81534"/>
                  <a:pt x="16256" y="78486"/>
                  <a:pt x="10033" y="72136"/>
                </a:cubicBezTo>
                <a:cubicBezTo>
                  <a:pt x="3937" y="65913"/>
                  <a:pt x="889" y="58166"/>
                  <a:pt x="889" y="48895"/>
                </a:cubicBezTo>
                <a:cubicBezTo>
                  <a:pt x="889" y="40259"/>
                  <a:pt x="3556" y="32258"/>
                  <a:pt x="8636" y="24892"/>
                </a:cubicBezTo>
                <a:cubicBezTo>
                  <a:pt x="13716" y="17526"/>
                  <a:pt x="20701" y="11811"/>
                  <a:pt x="29464" y="7493"/>
                </a:cubicBezTo>
                <a:cubicBezTo>
                  <a:pt x="34925" y="4953"/>
                  <a:pt x="44069" y="2540"/>
                  <a:pt x="56896" y="508"/>
                </a:cubicBezTo>
                <a:close/>
                <a:moveTo>
                  <a:pt x="606298" y="127"/>
                </a:moveTo>
                <a:cubicBezTo>
                  <a:pt x="624586" y="762"/>
                  <a:pt x="638683" y="3683"/>
                  <a:pt x="648208" y="8636"/>
                </a:cubicBezTo>
                <a:cubicBezTo>
                  <a:pt x="657098" y="13208"/>
                  <a:pt x="663956" y="19558"/>
                  <a:pt x="668909" y="27813"/>
                </a:cubicBezTo>
                <a:cubicBezTo>
                  <a:pt x="673862" y="35941"/>
                  <a:pt x="676402" y="45085"/>
                  <a:pt x="676402" y="54991"/>
                </a:cubicBezTo>
                <a:cubicBezTo>
                  <a:pt x="676402" y="70358"/>
                  <a:pt x="671322" y="81788"/>
                  <a:pt x="661035" y="89281"/>
                </a:cubicBezTo>
                <a:cubicBezTo>
                  <a:pt x="656844" y="93726"/>
                  <a:pt x="652653" y="96901"/>
                  <a:pt x="648589" y="98933"/>
                </a:cubicBezTo>
                <a:cubicBezTo>
                  <a:pt x="644525" y="100838"/>
                  <a:pt x="639953" y="101727"/>
                  <a:pt x="634746" y="101854"/>
                </a:cubicBezTo>
                <a:cubicBezTo>
                  <a:pt x="640080" y="101981"/>
                  <a:pt x="644906" y="102997"/>
                  <a:pt x="649097" y="104902"/>
                </a:cubicBezTo>
                <a:cubicBezTo>
                  <a:pt x="653288" y="106680"/>
                  <a:pt x="657225" y="109093"/>
                  <a:pt x="660908" y="111887"/>
                </a:cubicBezTo>
                <a:cubicBezTo>
                  <a:pt x="667766" y="116967"/>
                  <a:pt x="672973" y="123317"/>
                  <a:pt x="676656" y="130937"/>
                </a:cubicBezTo>
                <a:cubicBezTo>
                  <a:pt x="680339" y="138557"/>
                  <a:pt x="682117" y="146939"/>
                  <a:pt x="682117" y="155956"/>
                </a:cubicBezTo>
                <a:cubicBezTo>
                  <a:pt x="682117" y="172339"/>
                  <a:pt x="676275" y="185547"/>
                  <a:pt x="664591" y="195453"/>
                </a:cubicBezTo>
                <a:cubicBezTo>
                  <a:pt x="661035" y="198374"/>
                  <a:pt x="657352" y="200787"/>
                  <a:pt x="653669" y="202438"/>
                </a:cubicBezTo>
                <a:cubicBezTo>
                  <a:pt x="649859" y="204216"/>
                  <a:pt x="645160" y="205613"/>
                  <a:pt x="639445" y="206883"/>
                </a:cubicBezTo>
                <a:cubicBezTo>
                  <a:pt x="631571" y="208534"/>
                  <a:pt x="622681" y="209550"/>
                  <a:pt x="612648" y="209931"/>
                </a:cubicBezTo>
                <a:lnTo>
                  <a:pt x="607314" y="210058"/>
                </a:lnTo>
                <a:lnTo>
                  <a:pt x="607314" y="189738"/>
                </a:lnTo>
                <a:cubicBezTo>
                  <a:pt x="610489" y="188849"/>
                  <a:pt x="612394" y="188087"/>
                  <a:pt x="613156" y="187579"/>
                </a:cubicBezTo>
                <a:cubicBezTo>
                  <a:pt x="613918" y="186944"/>
                  <a:pt x="614807" y="185420"/>
                  <a:pt x="615823" y="183007"/>
                </a:cubicBezTo>
                <a:cubicBezTo>
                  <a:pt x="616458" y="181483"/>
                  <a:pt x="616839" y="179070"/>
                  <a:pt x="616839" y="175641"/>
                </a:cubicBezTo>
                <a:lnTo>
                  <a:pt x="616839" y="125730"/>
                </a:lnTo>
                <a:cubicBezTo>
                  <a:pt x="616839" y="125222"/>
                  <a:pt x="616585" y="123952"/>
                  <a:pt x="615950" y="121920"/>
                </a:cubicBezTo>
                <a:cubicBezTo>
                  <a:pt x="615315" y="119888"/>
                  <a:pt x="614807" y="118364"/>
                  <a:pt x="614426" y="117348"/>
                </a:cubicBezTo>
                <a:cubicBezTo>
                  <a:pt x="613791" y="116205"/>
                  <a:pt x="613029" y="115189"/>
                  <a:pt x="612267" y="114554"/>
                </a:cubicBezTo>
                <a:cubicBezTo>
                  <a:pt x="611505" y="113919"/>
                  <a:pt x="609473" y="113030"/>
                  <a:pt x="606298" y="111760"/>
                </a:cubicBezTo>
                <a:lnTo>
                  <a:pt x="606298" y="92329"/>
                </a:lnTo>
                <a:cubicBezTo>
                  <a:pt x="609473" y="91059"/>
                  <a:pt x="611505" y="90043"/>
                  <a:pt x="612267" y="89281"/>
                </a:cubicBezTo>
                <a:cubicBezTo>
                  <a:pt x="613156" y="88519"/>
                  <a:pt x="613791" y="87503"/>
                  <a:pt x="614299" y="86106"/>
                </a:cubicBezTo>
                <a:cubicBezTo>
                  <a:pt x="614680" y="85090"/>
                  <a:pt x="615188" y="83439"/>
                  <a:pt x="615823" y="81153"/>
                </a:cubicBezTo>
                <a:cubicBezTo>
                  <a:pt x="616458" y="78867"/>
                  <a:pt x="616839" y="77724"/>
                  <a:pt x="616839" y="77724"/>
                </a:cubicBezTo>
                <a:lnTo>
                  <a:pt x="616839" y="37465"/>
                </a:lnTo>
                <a:cubicBezTo>
                  <a:pt x="616839" y="36830"/>
                  <a:pt x="616585" y="35560"/>
                  <a:pt x="616204" y="33655"/>
                </a:cubicBezTo>
                <a:lnTo>
                  <a:pt x="614426" y="25146"/>
                </a:lnTo>
                <a:cubicBezTo>
                  <a:pt x="613791" y="23495"/>
                  <a:pt x="611124" y="21463"/>
                  <a:pt x="606298" y="19050"/>
                </a:cubicBezTo>
                <a:close/>
                <a:moveTo>
                  <a:pt x="602234" y="127"/>
                </a:moveTo>
                <a:lnTo>
                  <a:pt x="602234" y="18923"/>
                </a:lnTo>
                <a:cubicBezTo>
                  <a:pt x="597662" y="21336"/>
                  <a:pt x="594995" y="23495"/>
                  <a:pt x="594106" y="25400"/>
                </a:cubicBezTo>
                <a:cubicBezTo>
                  <a:pt x="593217" y="27305"/>
                  <a:pt x="592709" y="31369"/>
                  <a:pt x="592709" y="37465"/>
                </a:cubicBezTo>
                <a:lnTo>
                  <a:pt x="592709" y="77724"/>
                </a:lnTo>
                <a:cubicBezTo>
                  <a:pt x="592709" y="80645"/>
                  <a:pt x="593217" y="83312"/>
                  <a:pt x="594106" y="85598"/>
                </a:cubicBezTo>
                <a:cubicBezTo>
                  <a:pt x="594868" y="87249"/>
                  <a:pt x="595630" y="88519"/>
                  <a:pt x="596519" y="89408"/>
                </a:cubicBezTo>
                <a:cubicBezTo>
                  <a:pt x="597281" y="90170"/>
                  <a:pt x="599186" y="91186"/>
                  <a:pt x="602234" y="92456"/>
                </a:cubicBezTo>
                <a:lnTo>
                  <a:pt x="602234" y="111760"/>
                </a:lnTo>
                <a:cubicBezTo>
                  <a:pt x="598170" y="113284"/>
                  <a:pt x="595503" y="115062"/>
                  <a:pt x="594360" y="116967"/>
                </a:cubicBezTo>
                <a:cubicBezTo>
                  <a:pt x="593217" y="118872"/>
                  <a:pt x="592709" y="121793"/>
                  <a:pt x="592709" y="125730"/>
                </a:cubicBezTo>
                <a:lnTo>
                  <a:pt x="592709" y="175641"/>
                </a:lnTo>
                <a:cubicBezTo>
                  <a:pt x="592709" y="179197"/>
                  <a:pt x="593090" y="181610"/>
                  <a:pt x="593725" y="183007"/>
                </a:cubicBezTo>
                <a:cubicBezTo>
                  <a:pt x="594741" y="185420"/>
                  <a:pt x="595503" y="186944"/>
                  <a:pt x="596265" y="187579"/>
                </a:cubicBezTo>
                <a:cubicBezTo>
                  <a:pt x="597027" y="188214"/>
                  <a:pt x="598932" y="188849"/>
                  <a:pt x="602234" y="189738"/>
                </a:cubicBezTo>
                <a:lnTo>
                  <a:pt x="602234" y="210058"/>
                </a:lnTo>
                <a:lnTo>
                  <a:pt x="596011" y="209931"/>
                </a:lnTo>
                <a:cubicBezTo>
                  <a:pt x="587248" y="209931"/>
                  <a:pt x="578231" y="208915"/>
                  <a:pt x="569214" y="206883"/>
                </a:cubicBezTo>
                <a:cubicBezTo>
                  <a:pt x="563499" y="205486"/>
                  <a:pt x="558800" y="204089"/>
                  <a:pt x="555117" y="202311"/>
                </a:cubicBezTo>
                <a:cubicBezTo>
                  <a:pt x="551307" y="200660"/>
                  <a:pt x="547878" y="198501"/>
                  <a:pt x="544703" y="195834"/>
                </a:cubicBezTo>
                <a:cubicBezTo>
                  <a:pt x="532638" y="185801"/>
                  <a:pt x="526669" y="172466"/>
                  <a:pt x="526669" y="155956"/>
                </a:cubicBezTo>
                <a:cubicBezTo>
                  <a:pt x="526669" y="146812"/>
                  <a:pt x="528447" y="138430"/>
                  <a:pt x="532130" y="130810"/>
                </a:cubicBezTo>
                <a:cubicBezTo>
                  <a:pt x="535813" y="123190"/>
                  <a:pt x="541020" y="116840"/>
                  <a:pt x="547751" y="111887"/>
                </a:cubicBezTo>
                <a:cubicBezTo>
                  <a:pt x="551561" y="108966"/>
                  <a:pt x="555498" y="106680"/>
                  <a:pt x="559689" y="104775"/>
                </a:cubicBezTo>
                <a:cubicBezTo>
                  <a:pt x="563753" y="102997"/>
                  <a:pt x="568579" y="101981"/>
                  <a:pt x="574040" y="101854"/>
                </a:cubicBezTo>
                <a:cubicBezTo>
                  <a:pt x="568833" y="101854"/>
                  <a:pt x="564134" y="100838"/>
                  <a:pt x="560070" y="98933"/>
                </a:cubicBezTo>
                <a:cubicBezTo>
                  <a:pt x="556006" y="97028"/>
                  <a:pt x="551815" y="93853"/>
                  <a:pt x="547624" y="89535"/>
                </a:cubicBezTo>
                <a:cubicBezTo>
                  <a:pt x="537464" y="81915"/>
                  <a:pt x="532257" y="70358"/>
                  <a:pt x="532257" y="54991"/>
                </a:cubicBezTo>
                <a:cubicBezTo>
                  <a:pt x="532257" y="44958"/>
                  <a:pt x="534797" y="35941"/>
                  <a:pt x="539750" y="27686"/>
                </a:cubicBezTo>
                <a:cubicBezTo>
                  <a:pt x="544703" y="19558"/>
                  <a:pt x="551434" y="13208"/>
                  <a:pt x="560197" y="8636"/>
                </a:cubicBezTo>
                <a:cubicBezTo>
                  <a:pt x="569849" y="3683"/>
                  <a:pt x="583819" y="762"/>
                  <a:pt x="602234" y="127"/>
                </a:cubicBezTo>
                <a:close/>
                <a:moveTo>
                  <a:pt x="431800" y="127"/>
                </a:moveTo>
                <a:cubicBezTo>
                  <a:pt x="444627" y="1397"/>
                  <a:pt x="455168" y="4445"/>
                  <a:pt x="463423" y="9144"/>
                </a:cubicBezTo>
                <a:cubicBezTo>
                  <a:pt x="471805" y="13970"/>
                  <a:pt x="479679" y="21336"/>
                  <a:pt x="487172" y="31242"/>
                </a:cubicBezTo>
                <a:cubicBezTo>
                  <a:pt x="494411" y="39751"/>
                  <a:pt x="499999" y="50419"/>
                  <a:pt x="504063" y="63373"/>
                </a:cubicBezTo>
                <a:cubicBezTo>
                  <a:pt x="508000" y="76200"/>
                  <a:pt x="510032" y="90043"/>
                  <a:pt x="510032" y="105029"/>
                </a:cubicBezTo>
                <a:cubicBezTo>
                  <a:pt x="510032" y="120015"/>
                  <a:pt x="508000" y="133985"/>
                  <a:pt x="504063" y="146939"/>
                </a:cubicBezTo>
                <a:cubicBezTo>
                  <a:pt x="499999" y="159766"/>
                  <a:pt x="494411" y="170434"/>
                  <a:pt x="487172" y="178943"/>
                </a:cubicBezTo>
                <a:cubicBezTo>
                  <a:pt x="479679" y="188976"/>
                  <a:pt x="471805" y="196342"/>
                  <a:pt x="463423" y="201041"/>
                </a:cubicBezTo>
                <a:cubicBezTo>
                  <a:pt x="455168" y="205740"/>
                  <a:pt x="444627" y="208788"/>
                  <a:pt x="431800" y="210058"/>
                </a:cubicBezTo>
                <a:lnTo>
                  <a:pt x="431800" y="189865"/>
                </a:lnTo>
                <a:cubicBezTo>
                  <a:pt x="435483" y="188595"/>
                  <a:pt x="437896" y="187706"/>
                  <a:pt x="438658" y="187198"/>
                </a:cubicBezTo>
                <a:cubicBezTo>
                  <a:pt x="439547" y="186690"/>
                  <a:pt x="441071" y="185547"/>
                  <a:pt x="442976" y="183896"/>
                </a:cubicBezTo>
                <a:cubicBezTo>
                  <a:pt x="444119" y="181610"/>
                  <a:pt x="444627" y="177419"/>
                  <a:pt x="444627" y="171196"/>
                </a:cubicBezTo>
                <a:lnTo>
                  <a:pt x="444627" y="38989"/>
                </a:lnTo>
                <a:cubicBezTo>
                  <a:pt x="444627" y="32893"/>
                  <a:pt x="443484" y="28321"/>
                  <a:pt x="441071" y="25146"/>
                </a:cubicBezTo>
                <a:cubicBezTo>
                  <a:pt x="440436" y="24257"/>
                  <a:pt x="439547" y="23495"/>
                  <a:pt x="438658" y="22987"/>
                </a:cubicBezTo>
                <a:cubicBezTo>
                  <a:pt x="437896" y="22479"/>
                  <a:pt x="435483" y="21590"/>
                  <a:pt x="431800" y="20447"/>
                </a:cubicBezTo>
                <a:close/>
                <a:moveTo>
                  <a:pt x="426593" y="127"/>
                </a:moveTo>
                <a:lnTo>
                  <a:pt x="426593" y="20320"/>
                </a:lnTo>
                <a:cubicBezTo>
                  <a:pt x="422656" y="21590"/>
                  <a:pt x="420370" y="22479"/>
                  <a:pt x="419481" y="22987"/>
                </a:cubicBezTo>
                <a:cubicBezTo>
                  <a:pt x="418592" y="23495"/>
                  <a:pt x="417195" y="24638"/>
                  <a:pt x="415163" y="26289"/>
                </a:cubicBezTo>
                <a:cubicBezTo>
                  <a:pt x="414147" y="28575"/>
                  <a:pt x="413639" y="32766"/>
                  <a:pt x="413639" y="38989"/>
                </a:cubicBezTo>
                <a:lnTo>
                  <a:pt x="413639" y="171196"/>
                </a:lnTo>
                <a:cubicBezTo>
                  <a:pt x="413639" y="177419"/>
                  <a:pt x="414782" y="181991"/>
                  <a:pt x="417068" y="185039"/>
                </a:cubicBezTo>
                <a:cubicBezTo>
                  <a:pt x="417830" y="186055"/>
                  <a:pt x="418592" y="186817"/>
                  <a:pt x="419481" y="187325"/>
                </a:cubicBezTo>
                <a:cubicBezTo>
                  <a:pt x="420370" y="187833"/>
                  <a:pt x="422656" y="188595"/>
                  <a:pt x="426593" y="189865"/>
                </a:cubicBezTo>
                <a:lnTo>
                  <a:pt x="426593" y="210058"/>
                </a:lnTo>
                <a:cubicBezTo>
                  <a:pt x="413639" y="208788"/>
                  <a:pt x="402971" y="205740"/>
                  <a:pt x="394716" y="201041"/>
                </a:cubicBezTo>
                <a:cubicBezTo>
                  <a:pt x="386461" y="196342"/>
                  <a:pt x="378587" y="189103"/>
                  <a:pt x="371094" y="179324"/>
                </a:cubicBezTo>
                <a:cubicBezTo>
                  <a:pt x="363855" y="170561"/>
                  <a:pt x="358140" y="159893"/>
                  <a:pt x="354203" y="147066"/>
                </a:cubicBezTo>
                <a:cubicBezTo>
                  <a:pt x="350266" y="134239"/>
                  <a:pt x="348234" y="120142"/>
                  <a:pt x="348234" y="105029"/>
                </a:cubicBezTo>
                <a:cubicBezTo>
                  <a:pt x="348234" y="89916"/>
                  <a:pt x="350266" y="76073"/>
                  <a:pt x="354203" y="63246"/>
                </a:cubicBezTo>
                <a:cubicBezTo>
                  <a:pt x="358140" y="50419"/>
                  <a:pt x="363855" y="39624"/>
                  <a:pt x="371094" y="30988"/>
                </a:cubicBezTo>
                <a:cubicBezTo>
                  <a:pt x="378587" y="21209"/>
                  <a:pt x="386461" y="13843"/>
                  <a:pt x="394716" y="9144"/>
                </a:cubicBezTo>
                <a:cubicBezTo>
                  <a:pt x="402971" y="4445"/>
                  <a:pt x="413639" y="1397"/>
                  <a:pt x="426593" y="127"/>
                </a:cubicBezTo>
                <a:close/>
                <a:moveTo>
                  <a:pt x="255016" y="127"/>
                </a:moveTo>
                <a:cubicBezTo>
                  <a:pt x="267843" y="1397"/>
                  <a:pt x="278384" y="4445"/>
                  <a:pt x="286639" y="9144"/>
                </a:cubicBezTo>
                <a:cubicBezTo>
                  <a:pt x="295021" y="13970"/>
                  <a:pt x="302895" y="21336"/>
                  <a:pt x="310388" y="31242"/>
                </a:cubicBezTo>
                <a:cubicBezTo>
                  <a:pt x="317627" y="39751"/>
                  <a:pt x="323215" y="50419"/>
                  <a:pt x="327279" y="63373"/>
                </a:cubicBezTo>
                <a:cubicBezTo>
                  <a:pt x="331216" y="76200"/>
                  <a:pt x="333248" y="90043"/>
                  <a:pt x="333248" y="105029"/>
                </a:cubicBezTo>
                <a:cubicBezTo>
                  <a:pt x="333248" y="120015"/>
                  <a:pt x="331216" y="133985"/>
                  <a:pt x="327279" y="146939"/>
                </a:cubicBezTo>
                <a:cubicBezTo>
                  <a:pt x="323215" y="159766"/>
                  <a:pt x="317627" y="170434"/>
                  <a:pt x="310388" y="178943"/>
                </a:cubicBezTo>
                <a:cubicBezTo>
                  <a:pt x="302895" y="188976"/>
                  <a:pt x="295021" y="196342"/>
                  <a:pt x="286639" y="201041"/>
                </a:cubicBezTo>
                <a:cubicBezTo>
                  <a:pt x="278384" y="205740"/>
                  <a:pt x="267843" y="208788"/>
                  <a:pt x="255016" y="210058"/>
                </a:cubicBezTo>
                <a:lnTo>
                  <a:pt x="255016" y="189865"/>
                </a:lnTo>
                <a:cubicBezTo>
                  <a:pt x="258699" y="188595"/>
                  <a:pt x="261112" y="187706"/>
                  <a:pt x="261874" y="187198"/>
                </a:cubicBezTo>
                <a:cubicBezTo>
                  <a:pt x="262763" y="186690"/>
                  <a:pt x="264287" y="185547"/>
                  <a:pt x="266192" y="183896"/>
                </a:cubicBezTo>
                <a:cubicBezTo>
                  <a:pt x="267335" y="181610"/>
                  <a:pt x="267843" y="177419"/>
                  <a:pt x="267843" y="171196"/>
                </a:cubicBezTo>
                <a:lnTo>
                  <a:pt x="267843" y="38989"/>
                </a:lnTo>
                <a:cubicBezTo>
                  <a:pt x="267843" y="32893"/>
                  <a:pt x="266700" y="28321"/>
                  <a:pt x="264287" y="25146"/>
                </a:cubicBezTo>
                <a:cubicBezTo>
                  <a:pt x="263652" y="24257"/>
                  <a:pt x="262763" y="23495"/>
                  <a:pt x="261874" y="22987"/>
                </a:cubicBezTo>
                <a:cubicBezTo>
                  <a:pt x="261112" y="22479"/>
                  <a:pt x="258699" y="21590"/>
                  <a:pt x="255016" y="20447"/>
                </a:cubicBezTo>
                <a:close/>
                <a:moveTo>
                  <a:pt x="249809" y="127"/>
                </a:moveTo>
                <a:lnTo>
                  <a:pt x="249809" y="20320"/>
                </a:lnTo>
                <a:cubicBezTo>
                  <a:pt x="245872" y="21590"/>
                  <a:pt x="243586" y="22479"/>
                  <a:pt x="242697" y="22987"/>
                </a:cubicBezTo>
                <a:cubicBezTo>
                  <a:pt x="241808" y="23495"/>
                  <a:pt x="240411" y="24638"/>
                  <a:pt x="238379" y="26289"/>
                </a:cubicBezTo>
                <a:cubicBezTo>
                  <a:pt x="237363" y="28575"/>
                  <a:pt x="236855" y="32766"/>
                  <a:pt x="236855" y="38989"/>
                </a:cubicBezTo>
                <a:lnTo>
                  <a:pt x="236855" y="171196"/>
                </a:lnTo>
                <a:cubicBezTo>
                  <a:pt x="236855" y="177419"/>
                  <a:pt x="237998" y="181991"/>
                  <a:pt x="240284" y="185039"/>
                </a:cubicBezTo>
                <a:cubicBezTo>
                  <a:pt x="241046" y="186055"/>
                  <a:pt x="241808" y="186817"/>
                  <a:pt x="242697" y="187325"/>
                </a:cubicBezTo>
                <a:cubicBezTo>
                  <a:pt x="243586" y="187833"/>
                  <a:pt x="245872" y="188595"/>
                  <a:pt x="249809" y="189865"/>
                </a:cubicBezTo>
                <a:lnTo>
                  <a:pt x="249809" y="210058"/>
                </a:lnTo>
                <a:cubicBezTo>
                  <a:pt x="236855" y="208788"/>
                  <a:pt x="226187" y="205740"/>
                  <a:pt x="217932" y="201041"/>
                </a:cubicBezTo>
                <a:cubicBezTo>
                  <a:pt x="209677" y="196342"/>
                  <a:pt x="201803" y="189103"/>
                  <a:pt x="194310" y="179324"/>
                </a:cubicBezTo>
                <a:cubicBezTo>
                  <a:pt x="187071" y="170561"/>
                  <a:pt x="181356" y="159893"/>
                  <a:pt x="177419" y="147066"/>
                </a:cubicBezTo>
                <a:cubicBezTo>
                  <a:pt x="173482" y="134239"/>
                  <a:pt x="171450" y="120142"/>
                  <a:pt x="171450" y="105029"/>
                </a:cubicBezTo>
                <a:cubicBezTo>
                  <a:pt x="171450" y="89916"/>
                  <a:pt x="173482" y="76073"/>
                  <a:pt x="177419" y="63246"/>
                </a:cubicBezTo>
                <a:cubicBezTo>
                  <a:pt x="181356" y="50419"/>
                  <a:pt x="187071" y="39624"/>
                  <a:pt x="194310" y="30988"/>
                </a:cubicBezTo>
                <a:cubicBezTo>
                  <a:pt x="201803" y="21209"/>
                  <a:pt x="209677" y="13843"/>
                  <a:pt x="217932" y="9144"/>
                </a:cubicBezTo>
                <a:cubicBezTo>
                  <a:pt x="226187" y="4445"/>
                  <a:pt x="236855" y="1397"/>
                  <a:pt x="249809" y="127"/>
                </a:cubicBezTo>
                <a:close/>
                <a:moveTo>
                  <a:pt x="73787" y="0"/>
                </a:moveTo>
                <a:cubicBezTo>
                  <a:pt x="82169" y="0"/>
                  <a:pt x="91059" y="1778"/>
                  <a:pt x="100711" y="5207"/>
                </a:cubicBezTo>
                <a:cubicBezTo>
                  <a:pt x="110236" y="8763"/>
                  <a:pt x="118237" y="13589"/>
                  <a:pt x="124714" y="19939"/>
                </a:cubicBezTo>
                <a:cubicBezTo>
                  <a:pt x="135636" y="30480"/>
                  <a:pt x="141097" y="43942"/>
                  <a:pt x="141097" y="59944"/>
                </a:cubicBezTo>
                <a:cubicBezTo>
                  <a:pt x="141097" y="73660"/>
                  <a:pt x="137033" y="85852"/>
                  <a:pt x="128905" y="96520"/>
                </a:cubicBezTo>
                <a:cubicBezTo>
                  <a:pt x="120777" y="107188"/>
                  <a:pt x="109347" y="115570"/>
                  <a:pt x="94615" y="121539"/>
                </a:cubicBezTo>
                <a:lnTo>
                  <a:pt x="75565" y="129159"/>
                </a:lnTo>
                <a:cubicBezTo>
                  <a:pt x="70231" y="131318"/>
                  <a:pt x="62230" y="135255"/>
                  <a:pt x="51435" y="140970"/>
                </a:cubicBezTo>
                <a:lnTo>
                  <a:pt x="47371" y="143510"/>
                </a:lnTo>
                <a:cubicBezTo>
                  <a:pt x="43307" y="143510"/>
                  <a:pt x="39497" y="143891"/>
                  <a:pt x="36068" y="144907"/>
                </a:cubicBezTo>
                <a:cubicBezTo>
                  <a:pt x="32639" y="145923"/>
                  <a:pt x="26289" y="147828"/>
                  <a:pt x="16764" y="150876"/>
                </a:cubicBezTo>
                <a:cubicBezTo>
                  <a:pt x="20701" y="142875"/>
                  <a:pt x="24511" y="137160"/>
                  <a:pt x="28194" y="133731"/>
                </a:cubicBezTo>
                <a:cubicBezTo>
                  <a:pt x="31750" y="130302"/>
                  <a:pt x="37211" y="125730"/>
                  <a:pt x="44450" y="120015"/>
                </a:cubicBezTo>
                <a:cubicBezTo>
                  <a:pt x="53340" y="113030"/>
                  <a:pt x="59436" y="108077"/>
                  <a:pt x="62484" y="105029"/>
                </a:cubicBezTo>
                <a:cubicBezTo>
                  <a:pt x="65532" y="101981"/>
                  <a:pt x="68453" y="97917"/>
                  <a:pt x="71247" y="92964"/>
                </a:cubicBezTo>
                <a:cubicBezTo>
                  <a:pt x="72517" y="90170"/>
                  <a:pt x="73787" y="85852"/>
                  <a:pt x="74676" y="80264"/>
                </a:cubicBezTo>
                <a:cubicBezTo>
                  <a:pt x="75692" y="74549"/>
                  <a:pt x="76200" y="67437"/>
                  <a:pt x="76200" y="58928"/>
                </a:cubicBezTo>
                <a:cubicBezTo>
                  <a:pt x="76200" y="43942"/>
                  <a:pt x="74930" y="33782"/>
                  <a:pt x="72390" y="28702"/>
                </a:cubicBezTo>
                <a:cubicBezTo>
                  <a:pt x="71501" y="26924"/>
                  <a:pt x="70612" y="25527"/>
                  <a:pt x="69596" y="24638"/>
                </a:cubicBezTo>
                <a:cubicBezTo>
                  <a:pt x="68580" y="23622"/>
                  <a:pt x="66675" y="22352"/>
                  <a:pt x="63754" y="20701"/>
                </a:cubicBezTo>
                <a:lnTo>
                  <a:pt x="63754" y="127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73" name="object 473"/>
          <p:cNvSpPr/>
          <p:nvPr/>
        </p:nvSpPr>
        <p:spPr>
          <a:xfrm>
            <a:off x="5023236" y="5022850"/>
            <a:ext cx="9143" cy="9144"/>
          </a:xfrm>
          <a:custGeom>
            <a:avLst/>
            <a:gdLst/>
            <a:ahLst/>
            <a:cxnLst/>
            <a:rect l="l" t="t" r="r" b="b"/>
            <a:pathLst>
              <a:path w="9143" h="9144"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74" name="object 474"/>
          <p:cNvSpPr/>
          <p:nvPr/>
        </p:nvSpPr>
        <p:spPr>
          <a:xfrm>
            <a:off x="4886582" y="5022835"/>
            <a:ext cx="156464" cy="82423"/>
          </a:xfrm>
          <a:custGeom>
            <a:avLst/>
            <a:gdLst/>
            <a:ahLst/>
            <a:cxnLst/>
            <a:rect l="l" t="t" r="r" b="b"/>
            <a:pathLst>
              <a:path w="156464" h="82423">
                <a:moveTo>
                  <a:pt x="141224" y="4699"/>
                </a:moveTo>
                <a:cubicBezTo>
                  <a:pt x="144526" y="4572"/>
                  <a:pt x="147066" y="5715"/>
                  <a:pt x="148971" y="8255"/>
                </a:cubicBezTo>
                <a:cubicBezTo>
                  <a:pt x="151003" y="10795"/>
                  <a:pt x="151892" y="13970"/>
                  <a:pt x="151892" y="17526"/>
                </a:cubicBezTo>
                <a:cubicBezTo>
                  <a:pt x="151892" y="24511"/>
                  <a:pt x="150114" y="32385"/>
                  <a:pt x="146431" y="41148"/>
                </a:cubicBezTo>
                <a:cubicBezTo>
                  <a:pt x="142621" y="49784"/>
                  <a:pt x="138176" y="56896"/>
                  <a:pt x="132969" y="62230"/>
                </a:cubicBezTo>
                <a:cubicBezTo>
                  <a:pt x="128397" y="66802"/>
                  <a:pt x="122809" y="70612"/>
                  <a:pt x="116078" y="73533"/>
                </a:cubicBezTo>
                <a:cubicBezTo>
                  <a:pt x="109347" y="76327"/>
                  <a:pt x="102997" y="77851"/>
                  <a:pt x="96901" y="77851"/>
                </a:cubicBezTo>
                <a:cubicBezTo>
                  <a:pt x="89662" y="77851"/>
                  <a:pt x="82169" y="76708"/>
                  <a:pt x="74422" y="74295"/>
                </a:cubicBezTo>
                <a:lnTo>
                  <a:pt x="53340" y="68072"/>
                </a:lnTo>
                <a:cubicBezTo>
                  <a:pt x="43942" y="65405"/>
                  <a:pt x="37846" y="64008"/>
                  <a:pt x="35052" y="64008"/>
                </a:cubicBezTo>
                <a:cubicBezTo>
                  <a:pt x="31496" y="64008"/>
                  <a:pt x="27686" y="65786"/>
                  <a:pt x="23495" y="69469"/>
                </a:cubicBezTo>
                <a:cubicBezTo>
                  <a:pt x="19939" y="72517"/>
                  <a:pt x="16891" y="73914"/>
                  <a:pt x="14605" y="73914"/>
                </a:cubicBezTo>
                <a:cubicBezTo>
                  <a:pt x="11430" y="73914"/>
                  <a:pt x="8890" y="72898"/>
                  <a:pt x="7239" y="70866"/>
                </a:cubicBezTo>
                <a:cubicBezTo>
                  <a:pt x="5461" y="68834"/>
                  <a:pt x="4572" y="66040"/>
                  <a:pt x="4572" y="62484"/>
                </a:cubicBezTo>
                <a:cubicBezTo>
                  <a:pt x="4572" y="56769"/>
                  <a:pt x="5842" y="51054"/>
                  <a:pt x="8509" y="45339"/>
                </a:cubicBezTo>
                <a:cubicBezTo>
                  <a:pt x="11049" y="39497"/>
                  <a:pt x="14605" y="34417"/>
                  <a:pt x="19050" y="30099"/>
                </a:cubicBezTo>
                <a:cubicBezTo>
                  <a:pt x="28575" y="20828"/>
                  <a:pt x="41275" y="16256"/>
                  <a:pt x="57404" y="16256"/>
                </a:cubicBezTo>
                <a:cubicBezTo>
                  <a:pt x="64516" y="16256"/>
                  <a:pt x="74168" y="17399"/>
                  <a:pt x="86614" y="19685"/>
                </a:cubicBezTo>
                <a:cubicBezTo>
                  <a:pt x="103886" y="22987"/>
                  <a:pt x="115189" y="24511"/>
                  <a:pt x="120523" y="24511"/>
                </a:cubicBezTo>
                <a:cubicBezTo>
                  <a:pt x="124333" y="24511"/>
                  <a:pt x="127254" y="23495"/>
                  <a:pt x="129159" y="21463"/>
                </a:cubicBezTo>
                <a:cubicBezTo>
                  <a:pt x="129286" y="21336"/>
                  <a:pt x="129667" y="20701"/>
                  <a:pt x="129921" y="19939"/>
                </a:cubicBezTo>
                <a:cubicBezTo>
                  <a:pt x="130302" y="19050"/>
                  <a:pt x="130810" y="17145"/>
                  <a:pt x="131445" y="14351"/>
                </a:cubicBezTo>
                <a:cubicBezTo>
                  <a:pt x="132842" y="8128"/>
                  <a:pt x="136144" y="4953"/>
                  <a:pt x="141224" y="4699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75" name="object 475"/>
          <p:cNvSpPr/>
          <p:nvPr/>
        </p:nvSpPr>
        <p:spPr>
          <a:xfrm>
            <a:off x="4943475" y="4886437"/>
            <a:ext cx="88900" cy="145669"/>
          </a:xfrm>
          <a:custGeom>
            <a:avLst/>
            <a:gdLst/>
            <a:ahLst/>
            <a:cxnLst/>
            <a:rect l="l" t="t" r="r" b="b"/>
            <a:pathLst>
              <a:path w="88900" h="145669">
                <a:moveTo>
                  <a:pt x="84328" y="141097"/>
                </a:moveTo>
                <a:moveTo>
                  <a:pt x="84328" y="141097"/>
                </a:moveTo>
                <a:moveTo>
                  <a:pt x="4572" y="4572"/>
                </a:moveTo>
                <a:lnTo>
                  <a:pt x="4572" y="25400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76" name="object 476"/>
          <p:cNvSpPr/>
          <p:nvPr/>
        </p:nvSpPr>
        <p:spPr>
          <a:xfrm>
            <a:off x="4935982" y="4907153"/>
            <a:ext cx="16636" cy="11430"/>
          </a:xfrm>
          <a:custGeom>
            <a:avLst/>
            <a:gdLst/>
            <a:ahLst/>
            <a:cxnLst/>
            <a:rect l="l" t="t" r="r" b="b"/>
            <a:pathLst>
              <a:path w="16636" h="11430">
                <a:moveTo>
                  <a:pt x="12065" y="4572"/>
                </a:moveTo>
                <a:cubicBezTo>
                  <a:pt x="8128" y="5461"/>
                  <a:pt x="5588" y="6223"/>
                  <a:pt x="4572" y="6858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77" name="object 477"/>
          <p:cNvSpPr/>
          <p:nvPr/>
        </p:nvSpPr>
        <p:spPr>
          <a:xfrm>
            <a:off x="4934843" y="4909439"/>
            <a:ext cx="10286" cy="9652"/>
          </a:xfrm>
          <a:custGeom>
            <a:avLst/>
            <a:gdLst/>
            <a:ahLst/>
            <a:cxnLst/>
            <a:rect l="l" t="t" r="r" b="b"/>
            <a:pathLst>
              <a:path w="10286" h="9652">
                <a:moveTo>
                  <a:pt x="5715" y="4572"/>
                </a:moveTo>
                <a:lnTo>
                  <a:pt x="4572" y="5080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78" name="object 478"/>
          <p:cNvSpPr/>
          <p:nvPr/>
        </p:nvSpPr>
        <p:spPr>
          <a:xfrm>
            <a:off x="4887475" y="4885944"/>
            <a:ext cx="690371" cy="218948"/>
          </a:xfrm>
          <a:custGeom>
            <a:avLst/>
            <a:gdLst/>
            <a:ahLst/>
            <a:cxnLst/>
            <a:rect l="l" t="t" r="r" b="b"/>
            <a:pathLst>
              <a:path w="690371" h="218948">
                <a:moveTo>
                  <a:pt x="51943" y="28575"/>
                </a:moveTo>
                <a:cubicBezTo>
                  <a:pt x="51689" y="28702"/>
                  <a:pt x="51562" y="28575"/>
                  <a:pt x="51562" y="28321"/>
                </a:cubicBezTo>
                <a:cubicBezTo>
                  <a:pt x="51689" y="29083"/>
                  <a:pt x="52705" y="30099"/>
                  <a:pt x="54483" y="31242"/>
                </a:cubicBezTo>
                <a:cubicBezTo>
                  <a:pt x="59055" y="34417"/>
                  <a:pt x="62484" y="37973"/>
                  <a:pt x="64643" y="41910"/>
                </a:cubicBezTo>
                <a:cubicBezTo>
                  <a:pt x="66802" y="45847"/>
                  <a:pt x="67818" y="50546"/>
                  <a:pt x="67818" y="55880"/>
                </a:cubicBezTo>
                <a:cubicBezTo>
                  <a:pt x="67818" y="64135"/>
                  <a:pt x="64770" y="71247"/>
                  <a:pt x="58547" y="77089"/>
                </a:cubicBezTo>
                <a:cubicBezTo>
                  <a:pt x="52451" y="83058"/>
                  <a:pt x="45085" y="85979"/>
                  <a:pt x="36576" y="85979"/>
                </a:cubicBezTo>
                <a:cubicBezTo>
                  <a:pt x="27432" y="85979"/>
                  <a:pt x="19939" y="82931"/>
                  <a:pt x="13716" y="76581"/>
                </a:cubicBezTo>
                <a:cubicBezTo>
                  <a:pt x="7620" y="70358"/>
                  <a:pt x="4572" y="62611"/>
                  <a:pt x="4572" y="53340"/>
                </a:cubicBezTo>
                <a:cubicBezTo>
                  <a:pt x="4572" y="44704"/>
                  <a:pt x="7239" y="36703"/>
                  <a:pt x="12319" y="29337"/>
                </a:cubicBezTo>
                <a:cubicBezTo>
                  <a:pt x="17399" y="21971"/>
                  <a:pt x="24384" y="16256"/>
                  <a:pt x="33147" y="11938"/>
                </a:cubicBezTo>
                <a:cubicBezTo>
                  <a:pt x="38608" y="9398"/>
                  <a:pt x="47752" y="6985"/>
                  <a:pt x="60579" y="4953"/>
                </a:cubicBezTo>
                <a:moveTo>
                  <a:pt x="140335" y="141478"/>
                </a:moveTo>
                <a:moveTo>
                  <a:pt x="609981" y="4572"/>
                </a:moveTo>
                <a:cubicBezTo>
                  <a:pt x="628269" y="5207"/>
                  <a:pt x="642366" y="8128"/>
                  <a:pt x="651891" y="13081"/>
                </a:cubicBezTo>
                <a:cubicBezTo>
                  <a:pt x="660781" y="17653"/>
                  <a:pt x="667639" y="24003"/>
                  <a:pt x="672592" y="32258"/>
                </a:cubicBezTo>
                <a:cubicBezTo>
                  <a:pt x="677545" y="40386"/>
                  <a:pt x="680085" y="49530"/>
                  <a:pt x="680085" y="59436"/>
                </a:cubicBezTo>
                <a:cubicBezTo>
                  <a:pt x="680085" y="74803"/>
                  <a:pt x="675005" y="86233"/>
                  <a:pt x="664718" y="93726"/>
                </a:cubicBezTo>
                <a:cubicBezTo>
                  <a:pt x="660527" y="98171"/>
                  <a:pt x="656336" y="101346"/>
                  <a:pt x="652272" y="103378"/>
                </a:cubicBezTo>
                <a:cubicBezTo>
                  <a:pt x="648208" y="105283"/>
                  <a:pt x="643636" y="106172"/>
                  <a:pt x="638429" y="106299"/>
                </a:cubicBezTo>
                <a:cubicBezTo>
                  <a:pt x="643763" y="106426"/>
                  <a:pt x="648589" y="107442"/>
                  <a:pt x="652780" y="109347"/>
                </a:cubicBezTo>
                <a:cubicBezTo>
                  <a:pt x="656971" y="111125"/>
                  <a:pt x="660908" y="113538"/>
                  <a:pt x="664591" y="116332"/>
                </a:cubicBezTo>
                <a:cubicBezTo>
                  <a:pt x="671449" y="121412"/>
                  <a:pt x="676656" y="127762"/>
                  <a:pt x="680339" y="135382"/>
                </a:cubicBezTo>
                <a:cubicBezTo>
                  <a:pt x="684022" y="143002"/>
                  <a:pt x="685800" y="151384"/>
                  <a:pt x="685800" y="160401"/>
                </a:cubicBezTo>
                <a:cubicBezTo>
                  <a:pt x="685800" y="176784"/>
                  <a:pt x="679958" y="189992"/>
                  <a:pt x="668274" y="199898"/>
                </a:cubicBezTo>
                <a:cubicBezTo>
                  <a:pt x="664718" y="202819"/>
                  <a:pt x="661035" y="205232"/>
                  <a:pt x="657352" y="206883"/>
                </a:cubicBezTo>
                <a:cubicBezTo>
                  <a:pt x="653542" y="208661"/>
                  <a:pt x="648843" y="210058"/>
                  <a:pt x="643128" y="211328"/>
                </a:cubicBezTo>
                <a:cubicBezTo>
                  <a:pt x="635254" y="212979"/>
                  <a:pt x="626364" y="213995"/>
                  <a:pt x="616331" y="214376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79" name="object 479"/>
          <p:cNvSpPr/>
          <p:nvPr/>
        </p:nvSpPr>
        <p:spPr>
          <a:xfrm>
            <a:off x="5493949" y="5075555"/>
            <a:ext cx="14477" cy="29464"/>
          </a:xfrm>
          <a:custGeom>
            <a:avLst/>
            <a:gdLst/>
            <a:ahLst/>
            <a:cxnLst/>
            <a:rect l="l" t="t" r="r" b="b"/>
            <a:pathLst>
              <a:path w="14477" h="29464">
                <a:moveTo>
                  <a:pt x="9906" y="24765"/>
                </a:moveTo>
                <a:lnTo>
                  <a:pt x="4572" y="24892"/>
                </a:ln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80" name="object 480"/>
          <p:cNvSpPr/>
          <p:nvPr/>
        </p:nvSpPr>
        <p:spPr>
          <a:xfrm>
            <a:off x="5493893" y="5061570"/>
            <a:ext cx="18668" cy="23241"/>
          </a:xfrm>
          <a:custGeom>
            <a:avLst/>
            <a:gdLst/>
            <a:ahLst/>
            <a:cxnLst/>
            <a:rect l="l" t="t" r="r" b="b"/>
            <a:pathLst>
              <a:path w="18668" h="23241">
                <a:moveTo>
                  <a:pt x="4572" y="18669"/>
                </a:moveTo>
                <a:cubicBezTo>
                  <a:pt x="7747" y="17780"/>
                  <a:pt x="9652" y="17018"/>
                  <a:pt x="10414" y="16510"/>
                </a:cubicBezTo>
                <a:cubicBezTo>
                  <a:pt x="11176" y="15875"/>
                  <a:pt x="12065" y="14351"/>
                  <a:pt x="13081" y="11938"/>
                </a:cubicBezTo>
                <a:cubicBezTo>
                  <a:pt x="13716" y="10414"/>
                  <a:pt x="14097" y="8001"/>
                  <a:pt x="14097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81" name="object 481"/>
          <p:cNvSpPr/>
          <p:nvPr/>
        </p:nvSpPr>
        <p:spPr>
          <a:xfrm>
            <a:off x="5503452" y="5011659"/>
            <a:ext cx="9143" cy="59055"/>
          </a:xfrm>
          <a:custGeom>
            <a:avLst/>
            <a:gdLst/>
            <a:ahLst/>
            <a:cxnLst/>
            <a:rect l="l" t="t" r="r" b="b"/>
            <a:pathLst>
              <a:path w="9143" h="59055">
                <a:moveTo>
                  <a:pt x="4572" y="54483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82" name="object 482"/>
          <p:cNvSpPr/>
          <p:nvPr/>
        </p:nvSpPr>
        <p:spPr>
          <a:xfrm>
            <a:off x="5492933" y="4997577"/>
            <a:ext cx="19685" cy="23114"/>
          </a:xfrm>
          <a:custGeom>
            <a:avLst/>
            <a:gdLst/>
            <a:ahLst/>
            <a:cxnLst/>
            <a:rect l="l" t="t" r="r" b="b"/>
            <a:pathLst>
              <a:path w="19685" h="23114">
                <a:moveTo>
                  <a:pt x="15113" y="18542"/>
                </a:moveTo>
                <a:cubicBezTo>
                  <a:pt x="15113" y="18034"/>
                  <a:pt x="14859" y="16764"/>
                  <a:pt x="14224" y="14732"/>
                </a:cubicBezTo>
                <a:cubicBezTo>
                  <a:pt x="13589" y="12700"/>
                  <a:pt x="13081" y="11176"/>
                  <a:pt x="12700" y="10160"/>
                </a:cubicBezTo>
                <a:cubicBezTo>
                  <a:pt x="12065" y="9017"/>
                  <a:pt x="11303" y="8001"/>
                  <a:pt x="10541" y="7366"/>
                </a:cubicBezTo>
                <a:cubicBezTo>
                  <a:pt x="9779" y="6731"/>
                  <a:pt x="7747" y="5842"/>
                  <a:pt x="4572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83" name="object 483"/>
          <p:cNvSpPr/>
          <p:nvPr/>
        </p:nvSpPr>
        <p:spPr>
          <a:xfrm>
            <a:off x="5492877" y="4978258"/>
            <a:ext cx="9144" cy="28575"/>
          </a:xfrm>
          <a:custGeom>
            <a:avLst/>
            <a:gdLst/>
            <a:ahLst/>
            <a:cxnLst/>
            <a:rect l="l" t="t" r="r" b="b"/>
            <a:pathLst>
              <a:path w="9144" h="28575">
                <a:moveTo>
                  <a:pt x="4572" y="24003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84" name="object 484"/>
          <p:cNvSpPr/>
          <p:nvPr/>
        </p:nvSpPr>
        <p:spPr>
          <a:xfrm>
            <a:off x="5492933" y="4963653"/>
            <a:ext cx="19685" cy="23749"/>
          </a:xfrm>
          <a:custGeom>
            <a:avLst/>
            <a:gdLst/>
            <a:ahLst/>
            <a:cxnLst/>
            <a:rect l="l" t="t" r="r" b="b"/>
            <a:pathLst>
              <a:path w="19685" h="23749">
                <a:moveTo>
                  <a:pt x="4572" y="19177"/>
                </a:moveTo>
                <a:cubicBezTo>
                  <a:pt x="7747" y="17907"/>
                  <a:pt x="9779" y="16891"/>
                  <a:pt x="10541" y="16129"/>
                </a:cubicBezTo>
                <a:cubicBezTo>
                  <a:pt x="11430" y="15367"/>
                  <a:pt x="12065" y="14351"/>
                  <a:pt x="12573" y="12954"/>
                </a:cubicBezTo>
                <a:cubicBezTo>
                  <a:pt x="12954" y="11938"/>
                  <a:pt x="13462" y="10287"/>
                  <a:pt x="14097" y="8001"/>
                </a:cubicBezTo>
                <a:cubicBezTo>
                  <a:pt x="14732" y="5715"/>
                  <a:pt x="15113" y="4572"/>
                  <a:pt x="15113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85" name="object 485"/>
          <p:cNvSpPr/>
          <p:nvPr/>
        </p:nvSpPr>
        <p:spPr>
          <a:xfrm>
            <a:off x="5503452" y="4923394"/>
            <a:ext cx="9143" cy="49403"/>
          </a:xfrm>
          <a:custGeom>
            <a:avLst/>
            <a:gdLst/>
            <a:ahLst/>
            <a:cxnLst/>
            <a:rect l="l" t="t" r="r" b="b"/>
            <a:pathLst>
              <a:path w="9143" h="49403">
                <a:moveTo>
                  <a:pt x="4572" y="44831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86" name="object 486"/>
          <p:cNvSpPr/>
          <p:nvPr/>
        </p:nvSpPr>
        <p:spPr>
          <a:xfrm>
            <a:off x="5023231" y="4885944"/>
            <a:ext cx="489330" cy="146050"/>
          </a:xfrm>
          <a:custGeom>
            <a:avLst/>
            <a:gdLst/>
            <a:ahLst/>
            <a:cxnLst/>
            <a:rect l="l" t="t" r="r" b="b"/>
            <a:pathLst>
              <a:path w="489330" h="146050">
                <a:moveTo>
                  <a:pt x="484759" y="41910"/>
                </a:moveTo>
                <a:cubicBezTo>
                  <a:pt x="484759" y="41275"/>
                  <a:pt x="484505" y="40005"/>
                  <a:pt x="484124" y="38100"/>
                </a:cubicBezTo>
                <a:lnTo>
                  <a:pt x="482346" y="29591"/>
                </a:lnTo>
                <a:cubicBezTo>
                  <a:pt x="481711" y="27940"/>
                  <a:pt x="479044" y="25908"/>
                  <a:pt x="474218" y="23495"/>
                </a:cubicBezTo>
                <a:moveTo>
                  <a:pt x="4572" y="141478"/>
                </a:moveTo>
                <a:moveTo>
                  <a:pt x="470154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87" name="object 487"/>
          <p:cNvSpPr/>
          <p:nvPr/>
        </p:nvSpPr>
        <p:spPr>
          <a:xfrm>
            <a:off x="5488824" y="4885944"/>
            <a:ext cx="9143" cy="27940"/>
          </a:xfrm>
          <a:custGeom>
            <a:avLst/>
            <a:gdLst/>
            <a:ahLst/>
            <a:cxnLst/>
            <a:rect l="l" t="t" r="r" b="b"/>
            <a:pathLst>
              <a:path w="9143" h="27940">
                <a:moveTo>
                  <a:pt x="4572" y="4572"/>
                </a:moveTo>
                <a:lnTo>
                  <a:pt x="4572" y="23368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88" name="object 488"/>
          <p:cNvSpPr/>
          <p:nvPr/>
        </p:nvSpPr>
        <p:spPr>
          <a:xfrm>
            <a:off x="5479288" y="4904740"/>
            <a:ext cx="18668" cy="27686"/>
          </a:xfrm>
          <a:custGeom>
            <a:avLst/>
            <a:gdLst/>
            <a:ahLst/>
            <a:cxnLst/>
            <a:rect l="l" t="t" r="r" b="b"/>
            <a:pathLst>
              <a:path w="18668" h="27686">
                <a:moveTo>
                  <a:pt x="14097" y="4572"/>
                </a:moveTo>
                <a:cubicBezTo>
                  <a:pt x="9525" y="6985"/>
                  <a:pt x="6858" y="9144"/>
                  <a:pt x="5969" y="11049"/>
                </a:cubicBezTo>
                <a:cubicBezTo>
                  <a:pt x="5080" y="12954"/>
                  <a:pt x="4572" y="17018"/>
                  <a:pt x="4572" y="23114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89" name="object 489"/>
          <p:cNvSpPr/>
          <p:nvPr/>
        </p:nvSpPr>
        <p:spPr>
          <a:xfrm>
            <a:off x="5479344" y="4923394"/>
            <a:ext cx="9143" cy="49403"/>
          </a:xfrm>
          <a:custGeom>
            <a:avLst/>
            <a:gdLst/>
            <a:ahLst/>
            <a:cxnLst/>
            <a:rect l="l" t="t" r="r" b="b"/>
            <a:pathLst>
              <a:path w="9143" h="49403">
                <a:moveTo>
                  <a:pt x="4572" y="4572"/>
                </a:moveTo>
                <a:lnTo>
                  <a:pt x="4572" y="4483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90" name="object 490"/>
          <p:cNvSpPr/>
          <p:nvPr/>
        </p:nvSpPr>
        <p:spPr>
          <a:xfrm>
            <a:off x="5479288" y="4963541"/>
            <a:ext cx="18668" cy="23876"/>
          </a:xfrm>
          <a:custGeom>
            <a:avLst/>
            <a:gdLst/>
            <a:ahLst/>
            <a:cxnLst/>
            <a:rect l="l" t="t" r="r" b="b"/>
            <a:pathLst>
              <a:path w="18668" h="23876">
                <a:moveTo>
                  <a:pt x="4572" y="4572"/>
                </a:moveTo>
                <a:cubicBezTo>
                  <a:pt x="4572" y="7493"/>
                  <a:pt x="5080" y="10160"/>
                  <a:pt x="5969" y="12446"/>
                </a:cubicBezTo>
                <a:cubicBezTo>
                  <a:pt x="6731" y="14097"/>
                  <a:pt x="7493" y="15367"/>
                  <a:pt x="8382" y="16256"/>
                </a:cubicBezTo>
                <a:cubicBezTo>
                  <a:pt x="9144" y="17018"/>
                  <a:pt x="11049" y="18034"/>
                  <a:pt x="14097" y="19304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91" name="object 491"/>
          <p:cNvSpPr/>
          <p:nvPr/>
        </p:nvSpPr>
        <p:spPr>
          <a:xfrm>
            <a:off x="5488824" y="4978273"/>
            <a:ext cx="9143" cy="28448"/>
          </a:xfrm>
          <a:custGeom>
            <a:avLst/>
            <a:gdLst/>
            <a:ahLst/>
            <a:cxnLst/>
            <a:rect l="l" t="t" r="r" b="b"/>
            <a:pathLst>
              <a:path w="9143" h="28448">
                <a:moveTo>
                  <a:pt x="4572" y="4572"/>
                </a:moveTo>
                <a:lnTo>
                  <a:pt x="4572" y="23876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92" name="object 492"/>
          <p:cNvSpPr/>
          <p:nvPr/>
        </p:nvSpPr>
        <p:spPr>
          <a:xfrm>
            <a:off x="5479288" y="4997577"/>
            <a:ext cx="18668" cy="23114"/>
          </a:xfrm>
          <a:custGeom>
            <a:avLst/>
            <a:gdLst/>
            <a:ahLst/>
            <a:cxnLst/>
            <a:rect l="l" t="t" r="r" b="b"/>
            <a:pathLst>
              <a:path w="18668" h="23114">
                <a:moveTo>
                  <a:pt x="14097" y="4572"/>
                </a:moveTo>
                <a:cubicBezTo>
                  <a:pt x="10033" y="6096"/>
                  <a:pt x="7366" y="7874"/>
                  <a:pt x="6223" y="9779"/>
                </a:cubicBezTo>
                <a:cubicBezTo>
                  <a:pt x="5080" y="11684"/>
                  <a:pt x="4572" y="14605"/>
                  <a:pt x="4572" y="1854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93" name="object 493"/>
          <p:cNvSpPr/>
          <p:nvPr/>
        </p:nvSpPr>
        <p:spPr>
          <a:xfrm>
            <a:off x="5479344" y="5011659"/>
            <a:ext cx="9143" cy="59055"/>
          </a:xfrm>
          <a:custGeom>
            <a:avLst/>
            <a:gdLst/>
            <a:ahLst/>
            <a:cxnLst/>
            <a:rect l="l" t="t" r="r" b="b"/>
            <a:pathLst>
              <a:path w="9143" h="59055">
                <a:moveTo>
                  <a:pt x="4572" y="4572"/>
                </a:moveTo>
                <a:lnTo>
                  <a:pt x="4572" y="5448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94" name="object 494"/>
          <p:cNvSpPr/>
          <p:nvPr/>
        </p:nvSpPr>
        <p:spPr>
          <a:xfrm>
            <a:off x="5479288" y="5061570"/>
            <a:ext cx="18668" cy="23241"/>
          </a:xfrm>
          <a:custGeom>
            <a:avLst/>
            <a:gdLst/>
            <a:ahLst/>
            <a:cxnLst/>
            <a:rect l="l" t="t" r="r" b="b"/>
            <a:pathLst>
              <a:path w="18668" h="23241">
                <a:moveTo>
                  <a:pt x="4572" y="4572"/>
                </a:moveTo>
                <a:cubicBezTo>
                  <a:pt x="4572" y="8128"/>
                  <a:pt x="4953" y="10541"/>
                  <a:pt x="5588" y="11938"/>
                </a:cubicBezTo>
                <a:cubicBezTo>
                  <a:pt x="6604" y="14351"/>
                  <a:pt x="7366" y="15875"/>
                  <a:pt x="8128" y="16510"/>
                </a:cubicBezTo>
                <a:cubicBezTo>
                  <a:pt x="8890" y="17145"/>
                  <a:pt x="10795" y="17780"/>
                  <a:pt x="14097" y="18669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95" name="object 495"/>
          <p:cNvSpPr/>
          <p:nvPr/>
        </p:nvSpPr>
        <p:spPr>
          <a:xfrm>
            <a:off x="5482590" y="5075555"/>
            <a:ext cx="15366" cy="29464"/>
          </a:xfrm>
          <a:custGeom>
            <a:avLst/>
            <a:gdLst/>
            <a:ahLst/>
            <a:cxnLst/>
            <a:rect l="l" t="t" r="r" b="b"/>
            <a:pathLst>
              <a:path w="15366" h="29464">
                <a:moveTo>
                  <a:pt x="10795" y="4572"/>
                </a:moveTo>
                <a:lnTo>
                  <a:pt x="10795" y="24892"/>
                </a:lnTo>
                <a:lnTo>
                  <a:pt x="4572" y="24765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96" name="object 496"/>
          <p:cNvSpPr/>
          <p:nvPr/>
        </p:nvSpPr>
        <p:spPr>
          <a:xfrm>
            <a:off x="5023287" y="4886056"/>
            <a:ext cx="474725" cy="219075"/>
          </a:xfrm>
          <a:custGeom>
            <a:avLst/>
            <a:gdLst/>
            <a:ahLst/>
            <a:cxnLst/>
            <a:rect l="l" t="t" r="r" b="b"/>
            <a:pathLst>
              <a:path w="474725" h="219075">
                <a:moveTo>
                  <a:pt x="463931" y="214376"/>
                </a:moveTo>
                <a:cubicBezTo>
                  <a:pt x="455168" y="214376"/>
                  <a:pt x="446151" y="213360"/>
                  <a:pt x="437134" y="211328"/>
                </a:cubicBezTo>
                <a:cubicBezTo>
                  <a:pt x="431419" y="209931"/>
                  <a:pt x="426720" y="208534"/>
                  <a:pt x="423037" y="206756"/>
                </a:cubicBezTo>
                <a:cubicBezTo>
                  <a:pt x="419227" y="205105"/>
                  <a:pt x="415798" y="202946"/>
                  <a:pt x="412623" y="200279"/>
                </a:cubicBezTo>
                <a:cubicBezTo>
                  <a:pt x="400558" y="190246"/>
                  <a:pt x="394589" y="176911"/>
                  <a:pt x="394589" y="160401"/>
                </a:cubicBezTo>
                <a:cubicBezTo>
                  <a:pt x="394589" y="151257"/>
                  <a:pt x="396367" y="142875"/>
                  <a:pt x="400050" y="135255"/>
                </a:cubicBezTo>
                <a:cubicBezTo>
                  <a:pt x="403733" y="127635"/>
                  <a:pt x="408940" y="121285"/>
                  <a:pt x="415671" y="116332"/>
                </a:cubicBezTo>
                <a:cubicBezTo>
                  <a:pt x="419481" y="113411"/>
                  <a:pt x="423418" y="111125"/>
                  <a:pt x="427609" y="109220"/>
                </a:cubicBezTo>
                <a:cubicBezTo>
                  <a:pt x="431673" y="107442"/>
                  <a:pt x="436499" y="106426"/>
                  <a:pt x="441960" y="106299"/>
                </a:cubicBezTo>
                <a:cubicBezTo>
                  <a:pt x="436753" y="106299"/>
                  <a:pt x="432054" y="105283"/>
                  <a:pt x="427990" y="103378"/>
                </a:cubicBezTo>
                <a:cubicBezTo>
                  <a:pt x="423926" y="101473"/>
                  <a:pt x="419735" y="98298"/>
                  <a:pt x="415544" y="93980"/>
                </a:cubicBezTo>
                <a:cubicBezTo>
                  <a:pt x="405384" y="86360"/>
                  <a:pt x="400177" y="74803"/>
                  <a:pt x="400177" y="59436"/>
                </a:cubicBezTo>
                <a:cubicBezTo>
                  <a:pt x="400177" y="49403"/>
                  <a:pt x="402717" y="40386"/>
                  <a:pt x="407670" y="32131"/>
                </a:cubicBezTo>
                <a:cubicBezTo>
                  <a:pt x="412623" y="24003"/>
                  <a:pt x="419354" y="17653"/>
                  <a:pt x="428117" y="13081"/>
                </a:cubicBezTo>
                <a:cubicBezTo>
                  <a:pt x="437769" y="8128"/>
                  <a:pt x="451739" y="5207"/>
                  <a:pt x="470154" y="4572"/>
                </a:cubicBezTo>
                <a:moveTo>
                  <a:pt x="4572" y="141478"/>
                </a:moveTo>
                <a:moveTo>
                  <a:pt x="299720" y="4572"/>
                </a:moveTo>
                <a:cubicBezTo>
                  <a:pt x="312547" y="5842"/>
                  <a:pt x="323088" y="8890"/>
                  <a:pt x="331343" y="13589"/>
                </a:cubicBezTo>
                <a:cubicBezTo>
                  <a:pt x="339725" y="18415"/>
                  <a:pt x="347599" y="25781"/>
                  <a:pt x="355092" y="35687"/>
                </a:cubicBezTo>
                <a:cubicBezTo>
                  <a:pt x="362331" y="44196"/>
                  <a:pt x="367919" y="54864"/>
                  <a:pt x="371983" y="67818"/>
                </a:cubicBezTo>
                <a:cubicBezTo>
                  <a:pt x="375920" y="80645"/>
                  <a:pt x="377952" y="94488"/>
                  <a:pt x="377952" y="109474"/>
                </a:cubicBezTo>
                <a:cubicBezTo>
                  <a:pt x="377952" y="124460"/>
                  <a:pt x="375920" y="138430"/>
                  <a:pt x="371983" y="151384"/>
                </a:cubicBezTo>
                <a:cubicBezTo>
                  <a:pt x="367919" y="164211"/>
                  <a:pt x="362331" y="174879"/>
                  <a:pt x="355092" y="183388"/>
                </a:cubicBezTo>
                <a:cubicBezTo>
                  <a:pt x="347599" y="193421"/>
                  <a:pt x="339725" y="200787"/>
                  <a:pt x="331343" y="205486"/>
                </a:cubicBezTo>
                <a:cubicBezTo>
                  <a:pt x="323088" y="210185"/>
                  <a:pt x="312547" y="213233"/>
                  <a:pt x="299720" y="214503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97" name="object 497"/>
          <p:cNvSpPr/>
          <p:nvPr/>
        </p:nvSpPr>
        <p:spPr>
          <a:xfrm>
            <a:off x="5318379" y="5075794"/>
            <a:ext cx="9144" cy="29337"/>
          </a:xfrm>
          <a:custGeom>
            <a:avLst/>
            <a:gdLst/>
            <a:ahLst/>
            <a:cxnLst/>
            <a:rect l="l" t="t" r="r" b="b"/>
            <a:pathLst>
              <a:path w="9144" h="29337">
                <a:moveTo>
                  <a:pt x="4572" y="24765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98" name="object 498"/>
          <p:cNvSpPr/>
          <p:nvPr/>
        </p:nvSpPr>
        <p:spPr>
          <a:xfrm>
            <a:off x="5318383" y="5057125"/>
            <a:ext cx="21971" cy="27813"/>
          </a:xfrm>
          <a:custGeom>
            <a:avLst/>
            <a:gdLst/>
            <a:ahLst/>
            <a:cxnLst/>
            <a:rect l="l" t="t" r="r" b="b"/>
            <a:pathLst>
              <a:path w="21971" h="27813">
                <a:moveTo>
                  <a:pt x="4572" y="23241"/>
                </a:moveTo>
                <a:cubicBezTo>
                  <a:pt x="8255" y="21971"/>
                  <a:pt x="10668" y="21082"/>
                  <a:pt x="11430" y="20574"/>
                </a:cubicBezTo>
                <a:cubicBezTo>
                  <a:pt x="12319" y="20066"/>
                  <a:pt x="13843" y="18923"/>
                  <a:pt x="15748" y="17272"/>
                </a:cubicBezTo>
                <a:cubicBezTo>
                  <a:pt x="16891" y="14986"/>
                  <a:pt x="17399" y="10795"/>
                  <a:pt x="17399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99" name="object 499"/>
          <p:cNvSpPr/>
          <p:nvPr/>
        </p:nvSpPr>
        <p:spPr>
          <a:xfrm>
            <a:off x="5331262" y="4924918"/>
            <a:ext cx="9143" cy="141351"/>
          </a:xfrm>
          <a:custGeom>
            <a:avLst/>
            <a:gdLst/>
            <a:ahLst/>
            <a:cxnLst/>
            <a:rect l="l" t="t" r="r" b="b"/>
            <a:pathLst>
              <a:path w="9143" h="141351">
                <a:moveTo>
                  <a:pt x="4572" y="136779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00" name="object 500"/>
          <p:cNvSpPr/>
          <p:nvPr/>
        </p:nvSpPr>
        <p:spPr>
          <a:xfrm>
            <a:off x="5023231" y="4885944"/>
            <a:ext cx="317118" cy="146050"/>
          </a:xfrm>
          <a:custGeom>
            <a:avLst/>
            <a:gdLst/>
            <a:ahLst/>
            <a:cxnLst/>
            <a:rect l="l" t="t" r="r" b="b"/>
            <a:pathLst>
              <a:path w="317118" h="146050">
                <a:moveTo>
                  <a:pt x="312547" y="43434"/>
                </a:moveTo>
                <a:cubicBezTo>
                  <a:pt x="312547" y="37338"/>
                  <a:pt x="311404" y="32766"/>
                  <a:pt x="308991" y="29591"/>
                </a:cubicBezTo>
                <a:cubicBezTo>
                  <a:pt x="308356" y="28702"/>
                  <a:pt x="307467" y="27940"/>
                  <a:pt x="306578" y="27432"/>
                </a:cubicBezTo>
                <a:cubicBezTo>
                  <a:pt x="305816" y="26924"/>
                  <a:pt x="303403" y="26035"/>
                  <a:pt x="299720" y="24892"/>
                </a:cubicBezTo>
                <a:moveTo>
                  <a:pt x="4572" y="141478"/>
                </a:moveTo>
                <a:moveTo>
                  <a:pt x="294513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01" name="object 501"/>
          <p:cNvSpPr/>
          <p:nvPr/>
        </p:nvSpPr>
        <p:spPr>
          <a:xfrm>
            <a:off x="5313172" y="4886056"/>
            <a:ext cx="9144" cy="29337"/>
          </a:xfrm>
          <a:custGeom>
            <a:avLst/>
            <a:gdLst/>
            <a:ahLst/>
            <a:cxnLst/>
            <a:rect l="l" t="t" r="r" b="b"/>
            <a:pathLst>
              <a:path w="9144" h="29337">
                <a:moveTo>
                  <a:pt x="4572" y="4572"/>
                </a:moveTo>
                <a:lnTo>
                  <a:pt x="4572" y="24765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02" name="object 502"/>
          <p:cNvSpPr/>
          <p:nvPr/>
        </p:nvSpPr>
        <p:spPr>
          <a:xfrm>
            <a:off x="5300224" y="4906249"/>
            <a:ext cx="22097" cy="27813"/>
          </a:xfrm>
          <a:custGeom>
            <a:avLst/>
            <a:gdLst/>
            <a:ahLst/>
            <a:cxnLst/>
            <a:rect l="l" t="t" r="r" b="b"/>
            <a:pathLst>
              <a:path w="22097" h="27813">
                <a:moveTo>
                  <a:pt x="17526" y="4572"/>
                </a:moveTo>
                <a:cubicBezTo>
                  <a:pt x="13589" y="5842"/>
                  <a:pt x="11303" y="6731"/>
                  <a:pt x="10414" y="7239"/>
                </a:cubicBezTo>
                <a:cubicBezTo>
                  <a:pt x="9525" y="7747"/>
                  <a:pt x="8128" y="8890"/>
                  <a:pt x="6096" y="10541"/>
                </a:cubicBezTo>
                <a:cubicBezTo>
                  <a:pt x="5080" y="12827"/>
                  <a:pt x="4572" y="17018"/>
                  <a:pt x="4572" y="23241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03" name="object 503"/>
          <p:cNvSpPr/>
          <p:nvPr/>
        </p:nvSpPr>
        <p:spPr>
          <a:xfrm>
            <a:off x="5300274" y="4924918"/>
            <a:ext cx="9143" cy="141351"/>
          </a:xfrm>
          <a:custGeom>
            <a:avLst/>
            <a:gdLst/>
            <a:ahLst/>
            <a:cxnLst/>
            <a:rect l="l" t="t" r="r" b="b"/>
            <a:pathLst>
              <a:path w="9143" h="141351">
                <a:moveTo>
                  <a:pt x="4572" y="4572"/>
                </a:moveTo>
                <a:lnTo>
                  <a:pt x="4572" y="136779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04" name="object 504"/>
          <p:cNvSpPr/>
          <p:nvPr/>
        </p:nvSpPr>
        <p:spPr>
          <a:xfrm>
            <a:off x="5300224" y="5057125"/>
            <a:ext cx="22097" cy="27813"/>
          </a:xfrm>
          <a:custGeom>
            <a:avLst/>
            <a:gdLst/>
            <a:ahLst/>
            <a:cxnLst/>
            <a:rect l="l" t="t" r="r" b="b"/>
            <a:pathLst>
              <a:path w="22097" h="27813">
                <a:moveTo>
                  <a:pt x="4572" y="4572"/>
                </a:moveTo>
                <a:cubicBezTo>
                  <a:pt x="4572" y="10795"/>
                  <a:pt x="5715" y="15367"/>
                  <a:pt x="8001" y="18415"/>
                </a:cubicBezTo>
                <a:cubicBezTo>
                  <a:pt x="8763" y="19431"/>
                  <a:pt x="9525" y="20193"/>
                  <a:pt x="10414" y="20701"/>
                </a:cubicBezTo>
                <a:cubicBezTo>
                  <a:pt x="11303" y="21209"/>
                  <a:pt x="13589" y="21971"/>
                  <a:pt x="17526" y="23241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05" name="object 505"/>
          <p:cNvSpPr/>
          <p:nvPr/>
        </p:nvSpPr>
        <p:spPr>
          <a:xfrm>
            <a:off x="5313172" y="5075794"/>
            <a:ext cx="9144" cy="29337"/>
          </a:xfrm>
          <a:custGeom>
            <a:avLst/>
            <a:gdLst/>
            <a:ahLst/>
            <a:cxnLst/>
            <a:rect l="l" t="t" r="r" b="b"/>
            <a:pathLst>
              <a:path w="9144" h="29337">
                <a:moveTo>
                  <a:pt x="4572" y="4572"/>
                </a:moveTo>
                <a:lnTo>
                  <a:pt x="4572" y="24765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06" name="object 506"/>
          <p:cNvSpPr/>
          <p:nvPr/>
        </p:nvSpPr>
        <p:spPr>
          <a:xfrm>
            <a:off x="5023231" y="4886056"/>
            <a:ext cx="299084" cy="219075"/>
          </a:xfrm>
          <a:custGeom>
            <a:avLst/>
            <a:gdLst/>
            <a:ahLst/>
            <a:cxnLst/>
            <a:rect l="l" t="t" r="r" b="b"/>
            <a:pathLst>
              <a:path w="299084" h="219075">
                <a:moveTo>
                  <a:pt x="294513" y="214503"/>
                </a:moveTo>
                <a:cubicBezTo>
                  <a:pt x="281559" y="213233"/>
                  <a:pt x="270891" y="210185"/>
                  <a:pt x="262636" y="205486"/>
                </a:cubicBezTo>
                <a:cubicBezTo>
                  <a:pt x="254381" y="200787"/>
                  <a:pt x="246507" y="193548"/>
                  <a:pt x="239014" y="183769"/>
                </a:cubicBezTo>
                <a:cubicBezTo>
                  <a:pt x="231775" y="175006"/>
                  <a:pt x="226060" y="164338"/>
                  <a:pt x="222123" y="151511"/>
                </a:cubicBezTo>
                <a:cubicBezTo>
                  <a:pt x="218186" y="138684"/>
                  <a:pt x="216154" y="124587"/>
                  <a:pt x="216154" y="109474"/>
                </a:cubicBezTo>
                <a:cubicBezTo>
                  <a:pt x="216154" y="94361"/>
                  <a:pt x="218186" y="80518"/>
                  <a:pt x="222123" y="67691"/>
                </a:cubicBezTo>
                <a:cubicBezTo>
                  <a:pt x="226060" y="54864"/>
                  <a:pt x="231775" y="44069"/>
                  <a:pt x="239014" y="35433"/>
                </a:cubicBezTo>
                <a:cubicBezTo>
                  <a:pt x="246507" y="25654"/>
                  <a:pt x="254381" y="18288"/>
                  <a:pt x="262636" y="13589"/>
                </a:cubicBezTo>
                <a:cubicBezTo>
                  <a:pt x="270891" y="8890"/>
                  <a:pt x="281559" y="5842"/>
                  <a:pt x="294513" y="4572"/>
                </a:cubicBezTo>
                <a:moveTo>
                  <a:pt x="4572" y="141478"/>
                </a:moveTo>
                <a:moveTo>
                  <a:pt x="122936" y="4572"/>
                </a:moveTo>
                <a:cubicBezTo>
                  <a:pt x="135763" y="5842"/>
                  <a:pt x="146304" y="8890"/>
                  <a:pt x="154559" y="13589"/>
                </a:cubicBezTo>
                <a:cubicBezTo>
                  <a:pt x="162941" y="18415"/>
                  <a:pt x="170815" y="25781"/>
                  <a:pt x="178308" y="35687"/>
                </a:cubicBezTo>
                <a:cubicBezTo>
                  <a:pt x="185547" y="44196"/>
                  <a:pt x="191135" y="54864"/>
                  <a:pt x="195199" y="67818"/>
                </a:cubicBezTo>
                <a:cubicBezTo>
                  <a:pt x="199136" y="80645"/>
                  <a:pt x="201168" y="94488"/>
                  <a:pt x="201168" y="109474"/>
                </a:cubicBezTo>
                <a:cubicBezTo>
                  <a:pt x="201168" y="124460"/>
                  <a:pt x="199136" y="138430"/>
                  <a:pt x="195199" y="151384"/>
                </a:cubicBezTo>
                <a:cubicBezTo>
                  <a:pt x="191135" y="164211"/>
                  <a:pt x="185547" y="174879"/>
                  <a:pt x="178308" y="183388"/>
                </a:cubicBezTo>
                <a:cubicBezTo>
                  <a:pt x="170815" y="193421"/>
                  <a:pt x="162941" y="200787"/>
                  <a:pt x="154559" y="205486"/>
                </a:cubicBezTo>
                <a:cubicBezTo>
                  <a:pt x="146304" y="210185"/>
                  <a:pt x="135763" y="213233"/>
                  <a:pt x="122936" y="214503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07" name="object 507"/>
          <p:cNvSpPr/>
          <p:nvPr/>
        </p:nvSpPr>
        <p:spPr>
          <a:xfrm>
            <a:off x="5141651" y="5075794"/>
            <a:ext cx="9143" cy="29337"/>
          </a:xfrm>
          <a:custGeom>
            <a:avLst/>
            <a:gdLst/>
            <a:ahLst/>
            <a:cxnLst/>
            <a:rect l="l" t="t" r="r" b="b"/>
            <a:pathLst>
              <a:path w="9143" h="29337">
                <a:moveTo>
                  <a:pt x="4572" y="24765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08" name="object 508"/>
          <p:cNvSpPr/>
          <p:nvPr/>
        </p:nvSpPr>
        <p:spPr>
          <a:xfrm>
            <a:off x="5141599" y="5057125"/>
            <a:ext cx="21971" cy="27813"/>
          </a:xfrm>
          <a:custGeom>
            <a:avLst/>
            <a:gdLst/>
            <a:ahLst/>
            <a:cxnLst/>
            <a:rect l="l" t="t" r="r" b="b"/>
            <a:pathLst>
              <a:path w="21971" h="27813">
                <a:moveTo>
                  <a:pt x="4572" y="23241"/>
                </a:moveTo>
                <a:cubicBezTo>
                  <a:pt x="8255" y="21971"/>
                  <a:pt x="10668" y="21082"/>
                  <a:pt x="11430" y="20574"/>
                </a:cubicBezTo>
                <a:cubicBezTo>
                  <a:pt x="12319" y="20066"/>
                  <a:pt x="13843" y="18923"/>
                  <a:pt x="15748" y="17272"/>
                </a:cubicBezTo>
                <a:cubicBezTo>
                  <a:pt x="16891" y="14986"/>
                  <a:pt x="17399" y="10795"/>
                  <a:pt x="17399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09" name="object 509"/>
          <p:cNvSpPr/>
          <p:nvPr/>
        </p:nvSpPr>
        <p:spPr>
          <a:xfrm>
            <a:off x="5154422" y="4924918"/>
            <a:ext cx="9144" cy="141351"/>
          </a:xfrm>
          <a:custGeom>
            <a:avLst/>
            <a:gdLst/>
            <a:ahLst/>
            <a:cxnLst/>
            <a:rect l="l" t="t" r="r" b="b"/>
            <a:pathLst>
              <a:path w="9144" h="141351">
                <a:moveTo>
                  <a:pt x="4572" y="136779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10" name="object 510"/>
          <p:cNvSpPr/>
          <p:nvPr/>
        </p:nvSpPr>
        <p:spPr>
          <a:xfrm>
            <a:off x="5023231" y="4885944"/>
            <a:ext cx="140334" cy="146050"/>
          </a:xfrm>
          <a:custGeom>
            <a:avLst/>
            <a:gdLst/>
            <a:ahLst/>
            <a:cxnLst/>
            <a:rect l="l" t="t" r="r" b="b"/>
            <a:pathLst>
              <a:path w="140334" h="146050">
                <a:moveTo>
                  <a:pt x="135763" y="43434"/>
                </a:moveTo>
                <a:cubicBezTo>
                  <a:pt x="135763" y="37338"/>
                  <a:pt x="134620" y="32766"/>
                  <a:pt x="132207" y="29591"/>
                </a:cubicBezTo>
                <a:cubicBezTo>
                  <a:pt x="131572" y="28702"/>
                  <a:pt x="130683" y="27940"/>
                  <a:pt x="129794" y="27432"/>
                </a:cubicBezTo>
                <a:cubicBezTo>
                  <a:pt x="129032" y="26924"/>
                  <a:pt x="126619" y="26035"/>
                  <a:pt x="122936" y="24892"/>
                </a:cubicBezTo>
                <a:moveTo>
                  <a:pt x="4572" y="141478"/>
                </a:moveTo>
                <a:moveTo>
                  <a:pt x="117729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11" name="object 511"/>
          <p:cNvSpPr/>
          <p:nvPr/>
        </p:nvSpPr>
        <p:spPr>
          <a:xfrm>
            <a:off x="5136444" y="4886056"/>
            <a:ext cx="9143" cy="29337"/>
          </a:xfrm>
          <a:custGeom>
            <a:avLst/>
            <a:gdLst/>
            <a:ahLst/>
            <a:cxnLst/>
            <a:rect l="l" t="t" r="r" b="b"/>
            <a:pathLst>
              <a:path w="9143" h="29337">
                <a:moveTo>
                  <a:pt x="4572" y="4572"/>
                </a:moveTo>
                <a:lnTo>
                  <a:pt x="4572" y="24765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12" name="object 512"/>
          <p:cNvSpPr/>
          <p:nvPr/>
        </p:nvSpPr>
        <p:spPr>
          <a:xfrm>
            <a:off x="5123440" y="4906249"/>
            <a:ext cx="22097" cy="27813"/>
          </a:xfrm>
          <a:custGeom>
            <a:avLst/>
            <a:gdLst/>
            <a:ahLst/>
            <a:cxnLst/>
            <a:rect l="l" t="t" r="r" b="b"/>
            <a:pathLst>
              <a:path w="22097" h="27813">
                <a:moveTo>
                  <a:pt x="17526" y="4572"/>
                </a:moveTo>
                <a:cubicBezTo>
                  <a:pt x="13589" y="5842"/>
                  <a:pt x="11303" y="6731"/>
                  <a:pt x="10414" y="7239"/>
                </a:cubicBezTo>
                <a:cubicBezTo>
                  <a:pt x="9525" y="7747"/>
                  <a:pt x="8128" y="8890"/>
                  <a:pt x="6096" y="10541"/>
                </a:cubicBezTo>
                <a:cubicBezTo>
                  <a:pt x="5080" y="12827"/>
                  <a:pt x="4572" y="17018"/>
                  <a:pt x="4572" y="23241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13" name="object 513"/>
          <p:cNvSpPr/>
          <p:nvPr/>
        </p:nvSpPr>
        <p:spPr>
          <a:xfrm>
            <a:off x="5123434" y="4924918"/>
            <a:ext cx="9144" cy="141351"/>
          </a:xfrm>
          <a:custGeom>
            <a:avLst/>
            <a:gdLst/>
            <a:ahLst/>
            <a:cxnLst/>
            <a:rect l="l" t="t" r="r" b="b"/>
            <a:pathLst>
              <a:path w="9144" h="141351">
                <a:moveTo>
                  <a:pt x="4572" y="4572"/>
                </a:moveTo>
                <a:lnTo>
                  <a:pt x="4572" y="136779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14" name="object 514"/>
          <p:cNvSpPr/>
          <p:nvPr/>
        </p:nvSpPr>
        <p:spPr>
          <a:xfrm>
            <a:off x="5123440" y="5057125"/>
            <a:ext cx="22097" cy="27813"/>
          </a:xfrm>
          <a:custGeom>
            <a:avLst/>
            <a:gdLst/>
            <a:ahLst/>
            <a:cxnLst/>
            <a:rect l="l" t="t" r="r" b="b"/>
            <a:pathLst>
              <a:path w="22097" h="27813">
                <a:moveTo>
                  <a:pt x="4572" y="4572"/>
                </a:moveTo>
                <a:cubicBezTo>
                  <a:pt x="4572" y="10795"/>
                  <a:pt x="5715" y="15367"/>
                  <a:pt x="8001" y="18415"/>
                </a:cubicBezTo>
                <a:cubicBezTo>
                  <a:pt x="8763" y="19431"/>
                  <a:pt x="9525" y="20193"/>
                  <a:pt x="10414" y="20701"/>
                </a:cubicBezTo>
                <a:cubicBezTo>
                  <a:pt x="11303" y="21209"/>
                  <a:pt x="13589" y="21971"/>
                  <a:pt x="17526" y="23241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15" name="object 515"/>
          <p:cNvSpPr/>
          <p:nvPr/>
        </p:nvSpPr>
        <p:spPr>
          <a:xfrm>
            <a:off x="5136444" y="5075794"/>
            <a:ext cx="9143" cy="29337"/>
          </a:xfrm>
          <a:custGeom>
            <a:avLst/>
            <a:gdLst/>
            <a:ahLst/>
            <a:cxnLst/>
            <a:rect l="l" t="t" r="r" b="b"/>
            <a:pathLst>
              <a:path w="9143" h="29337">
                <a:moveTo>
                  <a:pt x="4572" y="4572"/>
                </a:moveTo>
                <a:lnTo>
                  <a:pt x="4572" y="24765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16" name="object 516"/>
          <p:cNvSpPr/>
          <p:nvPr/>
        </p:nvSpPr>
        <p:spPr>
          <a:xfrm>
            <a:off x="4903343" y="4885817"/>
            <a:ext cx="242188" cy="219202"/>
          </a:xfrm>
          <a:custGeom>
            <a:avLst/>
            <a:gdLst/>
            <a:ahLst/>
            <a:cxnLst/>
            <a:rect l="l" t="t" r="r" b="b"/>
            <a:pathLst>
              <a:path w="242188" h="219202">
                <a:moveTo>
                  <a:pt x="237617" y="214630"/>
                </a:moveTo>
                <a:cubicBezTo>
                  <a:pt x="224663" y="213360"/>
                  <a:pt x="213995" y="210312"/>
                  <a:pt x="205740" y="205613"/>
                </a:cubicBezTo>
                <a:cubicBezTo>
                  <a:pt x="197485" y="200914"/>
                  <a:pt x="189611" y="193675"/>
                  <a:pt x="182118" y="183896"/>
                </a:cubicBezTo>
                <a:cubicBezTo>
                  <a:pt x="174879" y="175133"/>
                  <a:pt x="169164" y="164465"/>
                  <a:pt x="165227" y="151638"/>
                </a:cubicBezTo>
                <a:cubicBezTo>
                  <a:pt x="161290" y="138811"/>
                  <a:pt x="159258" y="124714"/>
                  <a:pt x="159258" y="109601"/>
                </a:cubicBezTo>
                <a:cubicBezTo>
                  <a:pt x="159258" y="94488"/>
                  <a:pt x="161290" y="80645"/>
                  <a:pt x="165227" y="67818"/>
                </a:cubicBezTo>
                <a:cubicBezTo>
                  <a:pt x="169164" y="54991"/>
                  <a:pt x="174879" y="44196"/>
                  <a:pt x="182118" y="35560"/>
                </a:cubicBezTo>
                <a:cubicBezTo>
                  <a:pt x="189611" y="25781"/>
                  <a:pt x="197485" y="18415"/>
                  <a:pt x="205740" y="13716"/>
                </a:cubicBezTo>
                <a:cubicBezTo>
                  <a:pt x="213995" y="9017"/>
                  <a:pt x="224663" y="5969"/>
                  <a:pt x="237617" y="4699"/>
                </a:cubicBezTo>
                <a:moveTo>
                  <a:pt x="124460" y="141605"/>
                </a:moveTo>
                <a:moveTo>
                  <a:pt x="61595" y="4572"/>
                </a:moveTo>
                <a:cubicBezTo>
                  <a:pt x="69977" y="4572"/>
                  <a:pt x="78867" y="6350"/>
                  <a:pt x="88519" y="9779"/>
                </a:cubicBezTo>
                <a:cubicBezTo>
                  <a:pt x="98044" y="13335"/>
                  <a:pt x="106045" y="18161"/>
                  <a:pt x="112522" y="24511"/>
                </a:cubicBezTo>
                <a:cubicBezTo>
                  <a:pt x="123444" y="35052"/>
                  <a:pt x="128905" y="48514"/>
                  <a:pt x="128905" y="64516"/>
                </a:cubicBezTo>
                <a:cubicBezTo>
                  <a:pt x="128905" y="78232"/>
                  <a:pt x="124841" y="90424"/>
                  <a:pt x="116713" y="101092"/>
                </a:cubicBezTo>
                <a:cubicBezTo>
                  <a:pt x="108585" y="111760"/>
                  <a:pt x="97155" y="120142"/>
                  <a:pt x="82423" y="126111"/>
                </a:cubicBezTo>
                <a:lnTo>
                  <a:pt x="63373" y="133731"/>
                </a:lnTo>
                <a:cubicBezTo>
                  <a:pt x="58039" y="135890"/>
                  <a:pt x="50038" y="139827"/>
                  <a:pt x="39243" y="145542"/>
                </a:cubicBezTo>
                <a:lnTo>
                  <a:pt x="35179" y="148082"/>
                </a:lnTo>
                <a:cubicBezTo>
                  <a:pt x="31115" y="148082"/>
                  <a:pt x="27305" y="148463"/>
                  <a:pt x="23876" y="149479"/>
                </a:cubicBezTo>
                <a:cubicBezTo>
                  <a:pt x="20447" y="150495"/>
                  <a:pt x="14097" y="152400"/>
                  <a:pt x="4572" y="155448"/>
                </a:cubicBezTo>
                <a:cubicBezTo>
                  <a:pt x="8509" y="147447"/>
                  <a:pt x="12319" y="141732"/>
                  <a:pt x="16002" y="138303"/>
                </a:cubicBezTo>
                <a:cubicBezTo>
                  <a:pt x="19558" y="134874"/>
                  <a:pt x="25019" y="130302"/>
                  <a:pt x="32258" y="124587"/>
                </a:cubicBezTo>
                <a:cubicBezTo>
                  <a:pt x="41148" y="117602"/>
                  <a:pt x="47244" y="112649"/>
                  <a:pt x="50292" y="109601"/>
                </a:cubicBezTo>
                <a:cubicBezTo>
                  <a:pt x="53340" y="106553"/>
                  <a:pt x="56261" y="102489"/>
                  <a:pt x="59055" y="97536"/>
                </a:cubicBezTo>
                <a:cubicBezTo>
                  <a:pt x="60325" y="94742"/>
                  <a:pt x="61595" y="90424"/>
                  <a:pt x="62484" y="84836"/>
                </a:cubicBezTo>
                <a:cubicBezTo>
                  <a:pt x="63500" y="79121"/>
                  <a:pt x="64008" y="72009"/>
                  <a:pt x="64008" y="63500"/>
                </a:cubicBezTo>
                <a:cubicBezTo>
                  <a:pt x="64008" y="48514"/>
                  <a:pt x="62738" y="38354"/>
                  <a:pt x="60198" y="33274"/>
                </a:cubicBezTo>
                <a:cubicBezTo>
                  <a:pt x="59309" y="31496"/>
                  <a:pt x="58420" y="30099"/>
                  <a:pt x="57404" y="29210"/>
                </a:cubicBezTo>
                <a:cubicBezTo>
                  <a:pt x="56388" y="28194"/>
                  <a:pt x="54483" y="26924"/>
                  <a:pt x="51562" y="25273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17" name="object 517"/>
          <p:cNvSpPr/>
          <p:nvPr/>
        </p:nvSpPr>
        <p:spPr>
          <a:xfrm>
            <a:off x="4950389" y="4885944"/>
            <a:ext cx="9143" cy="29718"/>
          </a:xfrm>
          <a:custGeom>
            <a:avLst/>
            <a:gdLst/>
            <a:ahLst/>
            <a:cxnLst/>
            <a:rect l="l" t="t" r="r" b="b"/>
            <a:pathLst>
              <a:path w="9143" h="29718">
                <a:moveTo>
                  <a:pt x="4572" y="25146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18" name="object 518"/>
          <p:cNvSpPr/>
          <p:nvPr/>
        </p:nvSpPr>
        <p:spPr>
          <a:xfrm>
            <a:off x="4950337" y="4885944"/>
            <a:ext cx="82042" cy="146050"/>
          </a:xfrm>
          <a:custGeom>
            <a:avLst/>
            <a:gdLst/>
            <a:ahLst/>
            <a:cxnLst/>
            <a:rect l="l" t="t" r="r" b="b"/>
            <a:pathLst>
              <a:path w="82042" h="146050">
                <a:moveTo>
                  <a:pt x="4572" y="4572"/>
                </a:moveTo>
                <a:moveTo>
                  <a:pt x="77470" y="141478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19" name="object 519"/>
          <p:cNvSpPr/>
          <p:nvPr/>
        </p:nvSpPr>
        <p:spPr>
          <a:xfrm>
            <a:off x="4647311" y="5541327"/>
            <a:ext cx="1163396" cy="461670"/>
          </a:xfrm>
          <a:custGeom>
            <a:avLst/>
            <a:gdLst/>
            <a:ahLst/>
            <a:cxnLst/>
            <a:rect l="l" t="t" r="r" b="b"/>
            <a:pathLst>
              <a:path w="1163396" h="461670">
                <a:moveTo>
                  <a:pt x="0" y="0"/>
                </a:moveTo>
                <a:lnTo>
                  <a:pt x="0" y="461671"/>
                </a:lnTo>
                <a:lnTo>
                  <a:pt x="1163396" y="461671"/>
                </a:lnTo>
                <a:lnTo>
                  <a:pt x="1163396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20" name="object 520"/>
          <p:cNvSpPr/>
          <p:nvPr/>
        </p:nvSpPr>
        <p:spPr>
          <a:xfrm>
            <a:off x="4642552" y="5536677"/>
            <a:ext cx="1172921" cy="471195"/>
          </a:xfrm>
          <a:custGeom>
            <a:avLst/>
            <a:gdLst/>
            <a:ahLst/>
            <a:cxnLst/>
            <a:rect l="l" t="t" r="r" b="b"/>
            <a:pathLst>
              <a:path w="1172921" h="471195">
                <a:moveTo>
                  <a:pt x="4763" y="4762"/>
                </a:moveTo>
                <a:lnTo>
                  <a:pt x="4763" y="466433"/>
                </a:lnTo>
                <a:lnTo>
                  <a:pt x="1168159" y="466433"/>
                </a:lnTo>
                <a:lnTo>
                  <a:pt x="1168159" y="4762"/>
                </a:lnTo>
                <a:lnTo>
                  <a:pt x="4763" y="4762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21" name="object 521"/>
          <p:cNvSpPr/>
          <p:nvPr/>
        </p:nvSpPr>
        <p:spPr>
          <a:xfrm>
            <a:off x="4891151" y="5659956"/>
            <a:ext cx="676148" cy="210147"/>
          </a:xfrm>
          <a:custGeom>
            <a:avLst/>
            <a:gdLst/>
            <a:ahLst/>
            <a:cxnLst/>
            <a:rect l="l" t="t" r="r" b="b"/>
            <a:pathLst>
              <a:path w="676148" h="210147">
                <a:moveTo>
                  <a:pt x="665480" y="136969"/>
                </a:moveTo>
                <a:cubicBezTo>
                  <a:pt x="668782" y="136842"/>
                  <a:pt x="671322" y="138061"/>
                  <a:pt x="673227" y="140601"/>
                </a:cubicBezTo>
                <a:cubicBezTo>
                  <a:pt x="675259" y="143154"/>
                  <a:pt x="676148" y="146227"/>
                  <a:pt x="676148" y="149822"/>
                </a:cubicBezTo>
                <a:cubicBezTo>
                  <a:pt x="676148" y="156883"/>
                  <a:pt x="674370" y="164757"/>
                  <a:pt x="670687" y="173444"/>
                </a:cubicBezTo>
                <a:cubicBezTo>
                  <a:pt x="666877" y="182130"/>
                  <a:pt x="662432" y="189166"/>
                  <a:pt x="657225" y="194526"/>
                </a:cubicBezTo>
                <a:cubicBezTo>
                  <a:pt x="652653" y="199174"/>
                  <a:pt x="647065" y="202933"/>
                  <a:pt x="640334" y="205829"/>
                </a:cubicBezTo>
                <a:cubicBezTo>
                  <a:pt x="633603" y="208712"/>
                  <a:pt x="627253" y="210147"/>
                  <a:pt x="621157" y="210147"/>
                </a:cubicBezTo>
                <a:cubicBezTo>
                  <a:pt x="613918" y="210147"/>
                  <a:pt x="606425" y="208991"/>
                  <a:pt x="598678" y="206667"/>
                </a:cubicBezTo>
                <a:lnTo>
                  <a:pt x="577596" y="200380"/>
                </a:lnTo>
                <a:cubicBezTo>
                  <a:pt x="568198" y="197662"/>
                  <a:pt x="562102" y="196316"/>
                  <a:pt x="559308" y="196316"/>
                </a:cubicBezTo>
                <a:cubicBezTo>
                  <a:pt x="555752" y="196316"/>
                  <a:pt x="551942" y="198132"/>
                  <a:pt x="547751" y="201765"/>
                </a:cubicBezTo>
                <a:cubicBezTo>
                  <a:pt x="544195" y="204774"/>
                  <a:pt x="541147" y="206286"/>
                  <a:pt x="538861" y="206286"/>
                </a:cubicBezTo>
                <a:cubicBezTo>
                  <a:pt x="535686" y="206286"/>
                  <a:pt x="533146" y="205244"/>
                  <a:pt x="531495" y="203174"/>
                </a:cubicBezTo>
                <a:cubicBezTo>
                  <a:pt x="529717" y="201091"/>
                  <a:pt x="528828" y="198323"/>
                  <a:pt x="528828" y="194843"/>
                </a:cubicBezTo>
                <a:cubicBezTo>
                  <a:pt x="528828" y="189128"/>
                  <a:pt x="530098" y="183388"/>
                  <a:pt x="532765" y="177622"/>
                </a:cubicBezTo>
                <a:cubicBezTo>
                  <a:pt x="535305" y="171856"/>
                  <a:pt x="538861" y="166789"/>
                  <a:pt x="543306" y="162407"/>
                </a:cubicBezTo>
                <a:cubicBezTo>
                  <a:pt x="552831" y="153162"/>
                  <a:pt x="565531" y="148539"/>
                  <a:pt x="581660" y="148539"/>
                </a:cubicBezTo>
                <a:cubicBezTo>
                  <a:pt x="588772" y="148539"/>
                  <a:pt x="598424" y="149695"/>
                  <a:pt x="610870" y="151993"/>
                </a:cubicBezTo>
                <a:cubicBezTo>
                  <a:pt x="628142" y="155244"/>
                  <a:pt x="639445" y="156870"/>
                  <a:pt x="644779" y="156870"/>
                </a:cubicBezTo>
                <a:cubicBezTo>
                  <a:pt x="648589" y="156870"/>
                  <a:pt x="651510" y="155854"/>
                  <a:pt x="653415" y="153822"/>
                </a:cubicBezTo>
                <a:cubicBezTo>
                  <a:pt x="653542" y="153619"/>
                  <a:pt x="653923" y="153073"/>
                  <a:pt x="654177" y="152196"/>
                </a:cubicBezTo>
                <a:cubicBezTo>
                  <a:pt x="654558" y="151320"/>
                  <a:pt x="655066" y="149479"/>
                  <a:pt x="655701" y="146685"/>
                </a:cubicBezTo>
                <a:cubicBezTo>
                  <a:pt x="657098" y="140487"/>
                  <a:pt x="660400" y="137249"/>
                  <a:pt x="665480" y="136969"/>
                </a:cubicBezTo>
                <a:close/>
                <a:moveTo>
                  <a:pt x="136652" y="136969"/>
                </a:moveTo>
                <a:cubicBezTo>
                  <a:pt x="139954" y="136842"/>
                  <a:pt x="142494" y="138061"/>
                  <a:pt x="144399" y="140601"/>
                </a:cubicBezTo>
                <a:cubicBezTo>
                  <a:pt x="146431" y="143154"/>
                  <a:pt x="147320" y="146227"/>
                  <a:pt x="147320" y="149822"/>
                </a:cubicBezTo>
                <a:cubicBezTo>
                  <a:pt x="147320" y="156883"/>
                  <a:pt x="145542" y="164757"/>
                  <a:pt x="141859" y="173444"/>
                </a:cubicBezTo>
                <a:cubicBezTo>
                  <a:pt x="138049" y="182130"/>
                  <a:pt x="133604" y="189166"/>
                  <a:pt x="128397" y="194526"/>
                </a:cubicBezTo>
                <a:cubicBezTo>
                  <a:pt x="123825" y="199174"/>
                  <a:pt x="118237" y="202933"/>
                  <a:pt x="111506" y="205829"/>
                </a:cubicBezTo>
                <a:cubicBezTo>
                  <a:pt x="104775" y="208712"/>
                  <a:pt x="98425" y="210147"/>
                  <a:pt x="92329" y="210147"/>
                </a:cubicBezTo>
                <a:cubicBezTo>
                  <a:pt x="85090" y="210147"/>
                  <a:pt x="77597" y="208991"/>
                  <a:pt x="69850" y="206667"/>
                </a:cubicBezTo>
                <a:lnTo>
                  <a:pt x="48768" y="200380"/>
                </a:lnTo>
                <a:cubicBezTo>
                  <a:pt x="39370" y="197662"/>
                  <a:pt x="33274" y="196316"/>
                  <a:pt x="30480" y="196316"/>
                </a:cubicBezTo>
                <a:cubicBezTo>
                  <a:pt x="26924" y="196316"/>
                  <a:pt x="23114" y="198132"/>
                  <a:pt x="18923" y="201765"/>
                </a:cubicBezTo>
                <a:cubicBezTo>
                  <a:pt x="15367" y="204774"/>
                  <a:pt x="12319" y="206286"/>
                  <a:pt x="10033" y="206286"/>
                </a:cubicBezTo>
                <a:cubicBezTo>
                  <a:pt x="6858" y="206286"/>
                  <a:pt x="4318" y="205244"/>
                  <a:pt x="2667" y="203174"/>
                </a:cubicBezTo>
                <a:cubicBezTo>
                  <a:pt x="889" y="201091"/>
                  <a:pt x="0" y="198323"/>
                  <a:pt x="0" y="194843"/>
                </a:cubicBezTo>
                <a:cubicBezTo>
                  <a:pt x="0" y="189128"/>
                  <a:pt x="1270" y="183388"/>
                  <a:pt x="3937" y="177622"/>
                </a:cubicBezTo>
                <a:cubicBezTo>
                  <a:pt x="6477" y="171856"/>
                  <a:pt x="10033" y="166789"/>
                  <a:pt x="14478" y="162407"/>
                </a:cubicBezTo>
                <a:cubicBezTo>
                  <a:pt x="24003" y="153162"/>
                  <a:pt x="36703" y="148539"/>
                  <a:pt x="52832" y="148539"/>
                </a:cubicBezTo>
                <a:cubicBezTo>
                  <a:pt x="59944" y="148539"/>
                  <a:pt x="69596" y="149695"/>
                  <a:pt x="82042" y="151993"/>
                </a:cubicBezTo>
                <a:cubicBezTo>
                  <a:pt x="99314" y="155244"/>
                  <a:pt x="110617" y="156870"/>
                  <a:pt x="115951" y="156870"/>
                </a:cubicBezTo>
                <a:cubicBezTo>
                  <a:pt x="119761" y="156870"/>
                  <a:pt x="122682" y="155854"/>
                  <a:pt x="124587" y="153822"/>
                </a:cubicBezTo>
                <a:cubicBezTo>
                  <a:pt x="124714" y="153619"/>
                  <a:pt x="125095" y="153073"/>
                  <a:pt x="125349" y="152196"/>
                </a:cubicBezTo>
                <a:cubicBezTo>
                  <a:pt x="125730" y="151320"/>
                  <a:pt x="126238" y="149479"/>
                  <a:pt x="126873" y="146685"/>
                </a:cubicBezTo>
                <a:cubicBezTo>
                  <a:pt x="128270" y="140487"/>
                  <a:pt x="131572" y="137249"/>
                  <a:pt x="136652" y="136969"/>
                </a:cubicBezTo>
                <a:close/>
                <a:moveTo>
                  <a:pt x="460502" y="2540"/>
                </a:moveTo>
                <a:lnTo>
                  <a:pt x="460502" y="176923"/>
                </a:lnTo>
                <a:cubicBezTo>
                  <a:pt x="460502" y="180048"/>
                  <a:pt x="461010" y="182207"/>
                  <a:pt x="462026" y="183426"/>
                </a:cubicBezTo>
                <a:cubicBezTo>
                  <a:pt x="462407" y="183858"/>
                  <a:pt x="462788" y="184137"/>
                  <a:pt x="463169" y="184251"/>
                </a:cubicBezTo>
                <a:cubicBezTo>
                  <a:pt x="463423" y="184366"/>
                  <a:pt x="465582" y="184937"/>
                  <a:pt x="469519" y="185953"/>
                </a:cubicBezTo>
                <a:cubicBezTo>
                  <a:pt x="475615" y="187337"/>
                  <a:pt x="478663" y="190932"/>
                  <a:pt x="478663" y="196761"/>
                </a:cubicBezTo>
                <a:cubicBezTo>
                  <a:pt x="478663" y="200380"/>
                  <a:pt x="477393" y="202882"/>
                  <a:pt x="474853" y="204254"/>
                </a:cubicBezTo>
                <a:cubicBezTo>
                  <a:pt x="471551" y="206502"/>
                  <a:pt x="467360" y="207619"/>
                  <a:pt x="462407" y="207619"/>
                </a:cubicBezTo>
                <a:lnTo>
                  <a:pt x="457454" y="207619"/>
                </a:lnTo>
                <a:lnTo>
                  <a:pt x="401320" y="207619"/>
                </a:lnTo>
                <a:lnTo>
                  <a:pt x="396494" y="207619"/>
                </a:lnTo>
                <a:cubicBezTo>
                  <a:pt x="391541" y="207619"/>
                  <a:pt x="387858" y="206832"/>
                  <a:pt x="385445" y="205257"/>
                </a:cubicBezTo>
                <a:cubicBezTo>
                  <a:pt x="382143" y="203263"/>
                  <a:pt x="380492" y="200431"/>
                  <a:pt x="380492" y="196761"/>
                </a:cubicBezTo>
                <a:cubicBezTo>
                  <a:pt x="380492" y="190906"/>
                  <a:pt x="383540" y="187312"/>
                  <a:pt x="389382" y="185966"/>
                </a:cubicBezTo>
                <a:cubicBezTo>
                  <a:pt x="393446" y="184937"/>
                  <a:pt x="395605" y="184366"/>
                  <a:pt x="395986" y="184251"/>
                </a:cubicBezTo>
                <a:cubicBezTo>
                  <a:pt x="396240" y="184137"/>
                  <a:pt x="396621" y="183832"/>
                  <a:pt x="396875" y="183350"/>
                </a:cubicBezTo>
                <a:cubicBezTo>
                  <a:pt x="398018" y="182118"/>
                  <a:pt x="398526" y="179971"/>
                  <a:pt x="398526" y="176923"/>
                </a:cubicBezTo>
                <a:lnTo>
                  <a:pt x="398526" y="40386"/>
                </a:lnTo>
                <a:cubicBezTo>
                  <a:pt x="398526" y="35776"/>
                  <a:pt x="398145" y="32651"/>
                  <a:pt x="397510" y="31013"/>
                </a:cubicBezTo>
                <a:cubicBezTo>
                  <a:pt x="396748" y="29375"/>
                  <a:pt x="395605" y="28448"/>
                  <a:pt x="394081" y="28244"/>
                </a:cubicBezTo>
                <a:lnTo>
                  <a:pt x="389509" y="27597"/>
                </a:lnTo>
                <a:cubicBezTo>
                  <a:pt x="383286" y="26670"/>
                  <a:pt x="380111" y="23342"/>
                  <a:pt x="380111" y="17627"/>
                </a:cubicBezTo>
                <a:cubicBezTo>
                  <a:pt x="380111" y="13411"/>
                  <a:pt x="382270" y="10007"/>
                  <a:pt x="386588" y="7429"/>
                </a:cubicBezTo>
                <a:cubicBezTo>
                  <a:pt x="387985" y="6655"/>
                  <a:pt x="391160" y="6121"/>
                  <a:pt x="396113" y="5804"/>
                </a:cubicBezTo>
                <a:close/>
                <a:moveTo>
                  <a:pt x="585724" y="495"/>
                </a:moveTo>
                <a:lnTo>
                  <a:pt x="585724" y="21323"/>
                </a:lnTo>
                <a:cubicBezTo>
                  <a:pt x="581787" y="22187"/>
                  <a:pt x="579247" y="22936"/>
                  <a:pt x="578231" y="23571"/>
                </a:cubicBezTo>
                <a:lnTo>
                  <a:pt x="577088" y="24130"/>
                </a:lnTo>
                <a:cubicBezTo>
                  <a:pt x="576834" y="24180"/>
                  <a:pt x="576707" y="24104"/>
                  <a:pt x="576707" y="23888"/>
                </a:cubicBezTo>
                <a:cubicBezTo>
                  <a:pt x="576834" y="24625"/>
                  <a:pt x="577850" y="25603"/>
                  <a:pt x="579628" y="26809"/>
                </a:cubicBezTo>
                <a:cubicBezTo>
                  <a:pt x="584200" y="29984"/>
                  <a:pt x="587629" y="33528"/>
                  <a:pt x="589788" y="37452"/>
                </a:cubicBezTo>
                <a:cubicBezTo>
                  <a:pt x="591947" y="41376"/>
                  <a:pt x="592963" y="46037"/>
                  <a:pt x="592963" y="51460"/>
                </a:cubicBezTo>
                <a:cubicBezTo>
                  <a:pt x="592963" y="59677"/>
                  <a:pt x="589915" y="66751"/>
                  <a:pt x="583692" y="72682"/>
                </a:cubicBezTo>
                <a:cubicBezTo>
                  <a:pt x="577596" y="78600"/>
                  <a:pt x="570230" y="81559"/>
                  <a:pt x="561721" y="81559"/>
                </a:cubicBezTo>
                <a:cubicBezTo>
                  <a:pt x="552577" y="81559"/>
                  <a:pt x="545084" y="78435"/>
                  <a:pt x="538861" y="72161"/>
                </a:cubicBezTo>
                <a:cubicBezTo>
                  <a:pt x="532765" y="65887"/>
                  <a:pt x="529717" y="58115"/>
                  <a:pt x="529717" y="48831"/>
                </a:cubicBezTo>
                <a:cubicBezTo>
                  <a:pt x="529717" y="40233"/>
                  <a:pt x="532384" y="32258"/>
                  <a:pt x="537464" y="24892"/>
                </a:cubicBezTo>
                <a:cubicBezTo>
                  <a:pt x="542544" y="17538"/>
                  <a:pt x="549529" y="11747"/>
                  <a:pt x="558292" y="7531"/>
                </a:cubicBezTo>
                <a:cubicBezTo>
                  <a:pt x="563753" y="4889"/>
                  <a:pt x="572897" y="2552"/>
                  <a:pt x="585724" y="495"/>
                </a:cubicBezTo>
                <a:close/>
                <a:moveTo>
                  <a:pt x="56896" y="495"/>
                </a:moveTo>
                <a:lnTo>
                  <a:pt x="56896" y="21323"/>
                </a:lnTo>
                <a:cubicBezTo>
                  <a:pt x="52959" y="22187"/>
                  <a:pt x="50419" y="22936"/>
                  <a:pt x="49403" y="23571"/>
                </a:cubicBezTo>
                <a:lnTo>
                  <a:pt x="48260" y="24130"/>
                </a:lnTo>
                <a:cubicBezTo>
                  <a:pt x="48006" y="24180"/>
                  <a:pt x="47879" y="24104"/>
                  <a:pt x="47879" y="23888"/>
                </a:cubicBezTo>
                <a:cubicBezTo>
                  <a:pt x="48006" y="24625"/>
                  <a:pt x="49022" y="25603"/>
                  <a:pt x="50800" y="26809"/>
                </a:cubicBezTo>
                <a:cubicBezTo>
                  <a:pt x="55372" y="29984"/>
                  <a:pt x="58801" y="33528"/>
                  <a:pt x="60960" y="37452"/>
                </a:cubicBezTo>
                <a:cubicBezTo>
                  <a:pt x="63119" y="41376"/>
                  <a:pt x="64135" y="46037"/>
                  <a:pt x="64135" y="51460"/>
                </a:cubicBezTo>
                <a:cubicBezTo>
                  <a:pt x="64135" y="59677"/>
                  <a:pt x="61087" y="66751"/>
                  <a:pt x="54864" y="72682"/>
                </a:cubicBezTo>
                <a:cubicBezTo>
                  <a:pt x="48768" y="78600"/>
                  <a:pt x="41402" y="81559"/>
                  <a:pt x="32893" y="81559"/>
                </a:cubicBezTo>
                <a:cubicBezTo>
                  <a:pt x="23749" y="81559"/>
                  <a:pt x="16256" y="78435"/>
                  <a:pt x="10033" y="72161"/>
                </a:cubicBezTo>
                <a:cubicBezTo>
                  <a:pt x="3937" y="65887"/>
                  <a:pt x="889" y="58115"/>
                  <a:pt x="889" y="48831"/>
                </a:cubicBezTo>
                <a:cubicBezTo>
                  <a:pt x="889" y="40233"/>
                  <a:pt x="3556" y="32258"/>
                  <a:pt x="8636" y="24892"/>
                </a:cubicBezTo>
                <a:cubicBezTo>
                  <a:pt x="13716" y="17538"/>
                  <a:pt x="20701" y="11747"/>
                  <a:pt x="29464" y="7531"/>
                </a:cubicBezTo>
                <a:cubicBezTo>
                  <a:pt x="34925" y="4889"/>
                  <a:pt x="44069" y="2552"/>
                  <a:pt x="56896" y="495"/>
                </a:cubicBezTo>
                <a:close/>
                <a:moveTo>
                  <a:pt x="255016" y="51"/>
                </a:moveTo>
                <a:cubicBezTo>
                  <a:pt x="267843" y="1409"/>
                  <a:pt x="278384" y="4445"/>
                  <a:pt x="286639" y="9182"/>
                </a:cubicBezTo>
                <a:cubicBezTo>
                  <a:pt x="295021" y="13919"/>
                  <a:pt x="302895" y="21272"/>
                  <a:pt x="310388" y="31229"/>
                </a:cubicBezTo>
                <a:cubicBezTo>
                  <a:pt x="317627" y="39763"/>
                  <a:pt x="323215" y="50457"/>
                  <a:pt x="327279" y="63322"/>
                </a:cubicBezTo>
                <a:cubicBezTo>
                  <a:pt x="331216" y="76174"/>
                  <a:pt x="333248" y="90081"/>
                  <a:pt x="333248" y="105003"/>
                </a:cubicBezTo>
                <a:cubicBezTo>
                  <a:pt x="333248" y="120066"/>
                  <a:pt x="331216" y="134023"/>
                  <a:pt x="327279" y="146888"/>
                </a:cubicBezTo>
                <a:cubicBezTo>
                  <a:pt x="323215" y="159740"/>
                  <a:pt x="317627" y="170421"/>
                  <a:pt x="310388" y="178905"/>
                </a:cubicBezTo>
                <a:cubicBezTo>
                  <a:pt x="302895" y="188912"/>
                  <a:pt x="295021" y="196278"/>
                  <a:pt x="286639" y="201015"/>
                </a:cubicBezTo>
                <a:cubicBezTo>
                  <a:pt x="278384" y="205752"/>
                  <a:pt x="267843" y="208788"/>
                  <a:pt x="255016" y="210108"/>
                </a:cubicBezTo>
                <a:lnTo>
                  <a:pt x="255016" y="189827"/>
                </a:lnTo>
                <a:cubicBezTo>
                  <a:pt x="258699" y="188607"/>
                  <a:pt x="261112" y="187744"/>
                  <a:pt x="261874" y="187223"/>
                </a:cubicBezTo>
                <a:cubicBezTo>
                  <a:pt x="262763" y="186702"/>
                  <a:pt x="264287" y="185585"/>
                  <a:pt x="266192" y="183870"/>
                </a:cubicBezTo>
                <a:cubicBezTo>
                  <a:pt x="267335" y="181559"/>
                  <a:pt x="267843" y="177355"/>
                  <a:pt x="267843" y="171234"/>
                </a:cubicBezTo>
                <a:lnTo>
                  <a:pt x="267843" y="38925"/>
                </a:lnTo>
                <a:cubicBezTo>
                  <a:pt x="267843" y="32842"/>
                  <a:pt x="266700" y="28244"/>
                  <a:pt x="264287" y="25146"/>
                </a:cubicBezTo>
                <a:cubicBezTo>
                  <a:pt x="263652" y="24231"/>
                  <a:pt x="262763" y="23507"/>
                  <a:pt x="261874" y="22987"/>
                </a:cubicBezTo>
                <a:cubicBezTo>
                  <a:pt x="261112" y="22466"/>
                  <a:pt x="258699" y="21602"/>
                  <a:pt x="255016" y="20383"/>
                </a:cubicBezTo>
                <a:close/>
                <a:moveTo>
                  <a:pt x="249809" y="51"/>
                </a:moveTo>
                <a:lnTo>
                  <a:pt x="249809" y="20332"/>
                </a:lnTo>
                <a:cubicBezTo>
                  <a:pt x="245872" y="21564"/>
                  <a:pt x="243586" y="22441"/>
                  <a:pt x="242697" y="22949"/>
                </a:cubicBezTo>
                <a:cubicBezTo>
                  <a:pt x="241808" y="23469"/>
                  <a:pt x="240411" y="24574"/>
                  <a:pt x="238379" y="26289"/>
                </a:cubicBezTo>
                <a:cubicBezTo>
                  <a:pt x="237363" y="28562"/>
                  <a:pt x="236855" y="32766"/>
                  <a:pt x="236855" y="38925"/>
                </a:cubicBezTo>
                <a:lnTo>
                  <a:pt x="236855" y="171234"/>
                </a:lnTo>
                <a:cubicBezTo>
                  <a:pt x="236855" y="177419"/>
                  <a:pt x="237998" y="182029"/>
                  <a:pt x="240284" y="185051"/>
                </a:cubicBezTo>
                <a:cubicBezTo>
                  <a:pt x="241046" y="186004"/>
                  <a:pt x="241808" y="186740"/>
                  <a:pt x="242697" y="187248"/>
                </a:cubicBezTo>
                <a:cubicBezTo>
                  <a:pt x="243586" y="187769"/>
                  <a:pt x="245872" y="188646"/>
                  <a:pt x="249809" y="189877"/>
                </a:cubicBezTo>
                <a:lnTo>
                  <a:pt x="249809" y="210108"/>
                </a:lnTo>
                <a:cubicBezTo>
                  <a:pt x="236855" y="208788"/>
                  <a:pt x="226187" y="205765"/>
                  <a:pt x="217932" y="201053"/>
                </a:cubicBezTo>
                <a:cubicBezTo>
                  <a:pt x="209677" y="196329"/>
                  <a:pt x="201803" y="189090"/>
                  <a:pt x="194310" y="179324"/>
                </a:cubicBezTo>
                <a:cubicBezTo>
                  <a:pt x="187071" y="170599"/>
                  <a:pt x="181356" y="159829"/>
                  <a:pt x="177419" y="147002"/>
                </a:cubicBezTo>
                <a:cubicBezTo>
                  <a:pt x="173482" y="134175"/>
                  <a:pt x="171450" y="120180"/>
                  <a:pt x="171450" y="105003"/>
                </a:cubicBezTo>
                <a:cubicBezTo>
                  <a:pt x="171450" y="89966"/>
                  <a:pt x="173482" y="76035"/>
                  <a:pt x="177419" y="63208"/>
                </a:cubicBezTo>
                <a:cubicBezTo>
                  <a:pt x="181356" y="50381"/>
                  <a:pt x="187071" y="39624"/>
                  <a:pt x="194310" y="30950"/>
                </a:cubicBezTo>
                <a:cubicBezTo>
                  <a:pt x="201803" y="21145"/>
                  <a:pt x="209677" y="13881"/>
                  <a:pt x="217932" y="9156"/>
                </a:cubicBezTo>
                <a:cubicBezTo>
                  <a:pt x="226187" y="4432"/>
                  <a:pt x="236855" y="1397"/>
                  <a:pt x="249809" y="51"/>
                </a:cubicBezTo>
                <a:close/>
                <a:moveTo>
                  <a:pt x="602615" y="0"/>
                </a:moveTo>
                <a:cubicBezTo>
                  <a:pt x="610997" y="0"/>
                  <a:pt x="619887" y="1752"/>
                  <a:pt x="629539" y="5258"/>
                </a:cubicBezTo>
                <a:cubicBezTo>
                  <a:pt x="639064" y="8750"/>
                  <a:pt x="647065" y="13627"/>
                  <a:pt x="653542" y="19863"/>
                </a:cubicBezTo>
                <a:cubicBezTo>
                  <a:pt x="664464" y="30518"/>
                  <a:pt x="669925" y="43866"/>
                  <a:pt x="669925" y="59906"/>
                </a:cubicBezTo>
                <a:cubicBezTo>
                  <a:pt x="669925" y="73647"/>
                  <a:pt x="665861" y="85852"/>
                  <a:pt x="657733" y="96532"/>
                </a:cubicBezTo>
                <a:cubicBezTo>
                  <a:pt x="649605" y="107213"/>
                  <a:pt x="638175" y="115532"/>
                  <a:pt x="623443" y="121501"/>
                </a:cubicBezTo>
                <a:lnTo>
                  <a:pt x="604393" y="129095"/>
                </a:lnTo>
                <a:cubicBezTo>
                  <a:pt x="599059" y="131241"/>
                  <a:pt x="591058" y="135191"/>
                  <a:pt x="580263" y="140957"/>
                </a:cubicBezTo>
                <a:lnTo>
                  <a:pt x="576199" y="143433"/>
                </a:lnTo>
                <a:cubicBezTo>
                  <a:pt x="572135" y="143433"/>
                  <a:pt x="568325" y="143916"/>
                  <a:pt x="564896" y="144894"/>
                </a:cubicBezTo>
                <a:cubicBezTo>
                  <a:pt x="561467" y="145859"/>
                  <a:pt x="555117" y="147853"/>
                  <a:pt x="545592" y="150876"/>
                </a:cubicBezTo>
                <a:cubicBezTo>
                  <a:pt x="549529" y="142900"/>
                  <a:pt x="553339" y="137185"/>
                  <a:pt x="557022" y="133718"/>
                </a:cubicBezTo>
                <a:cubicBezTo>
                  <a:pt x="560578" y="130251"/>
                  <a:pt x="566039" y="125692"/>
                  <a:pt x="573278" y="120040"/>
                </a:cubicBezTo>
                <a:cubicBezTo>
                  <a:pt x="582168" y="113055"/>
                  <a:pt x="588264" y="108039"/>
                  <a:pt x="591312" y="104991"/>
                </a:cubicBezTo>
                <a:cubicBezTo>
                  <a:pt x="594360" y="101955"/>
                  <a:pt x="597281" y="97955"/>
                  <a:pt x="600075" y="92989"/>
                </a:cubicBezTo>
                <a:cubicBezTo>
                  <a:pt x="601345" y="90132"/>
                  <a:pt x="602615" y="85864"/>
                  <a:pt x="603504" y="80188"/>
                </a:cubicBezTo>
                <a:cubicBezTo>
                  <a:pt x="604520" y="74511"/>
                  <a:pt x="605028" y="67411"/>
                  <a:pt x="605028" y="58902"/>
                </a:cubicBezTo>
                <a:cubicBezTo>
                  <a:pt x="605028" y="43878"/>
                  <a:pt x="603758" y="33820"/>
                  <a:pt x="601218" y="28740"/>
                </a:cubicBezTo>
                <a:cubicBezTo>
                  <a:pt x="600329" y="26936"/>
                  <a:pt x="599440" y="25539"/>
                  <a:pt x="598424" y="24574"/>
                </a:cubicBezTo>
                <a:cubicBezTo>
                  <a:pt x="597408" y="23609"/>
                  <a:pt x="595503" y="22326"/>
                  <a:pt x="592582" y="20752"/>
                </a:cubicBezTo>
                <a:lnTo>
                  <a:pt x="592582" y="139"/>
                </a:lnTo>
                <a:close/>
                <a:moveTo>
                  <a:pt x="73787" y="0"/>
                </a:moveTo>
                <a:cubicBezTo>
                  <a:pt x="82169" y="0"/>
                  <a:pt x="91059" y="1752"/>
                  <a:pt x="100711" y="5258"/>
                </a:cubicBezTo>
                <a:cubicBezTo>
                  <a:pt x="110236" y="8750"/>
                  <a:pt x="118237" y="13627"/>
                  <a:pt x="124714" y="19863"/>
                </a:cubicBezTo>
                <a:cubicBezTo>
                  <a:pt x="135636" y="30518"/>
                  <a:pt x="141097" y="43866"/>
                  <a:pt x="141097" y="59906"/>
                </a:cubicBezTo>
                <a:cubicBezTo>
                  <a:pt x="141097" y="73647"/>
                  <a:pt x="137033" y="85852"/>
                  <a:pt x="128905" y="96532"/>
                </a:cubicBezTo>
                <a:cubicBezTo>
                  <a:pt x="120777" y="107213"/>
                  <a:pt x="109347" y="115532"/>
                  <a:pt x="94615" y="121501"/>
                </a:cubicBezTo>
                <a:lnTo>
                  <a:pt x="75565" y="129095"/>
                </a:lnTo>
                <a:cubicBezTo>
                  <a:pt x="70231" y="131241"/>
                  <a:pt x="62230" y="135191"/>
                  <a:pt x="51435" y="140957"/>
                </a:cubicBezTo>
                <a:lnTo>
                  <a:pt x="47371" y="143433"/>
                </a:lnTo>
                <a:cubicBezTo>
                  <a:pt x="43307" y="143433"/>
                  <a:pt x="39497" y="143916"/>
                  <a:pt x="36068" y="144894"/>
                </a:cubicBezTo>
                <a:cubicBezTo>
                  <a:pt x="32639" y="145859"/>
                  <a:pt x="26289" y="147853"/>
                  <a:pt x="16764" y="150876"/>
                </a:cubicBezTo>
                <a:cubicBezTo>
                  <a:pt x="20701" y="142900"/>
                  <a:pt x="24511" y="137185"/>
                  <a:pt x="28194" y="133718"/>
                </a:cubicBezTo>
                <a:cubicBezTo>
                  <a:pt x="31750" y="130251"/>
                  <a:pt x="37211" y="125692"/>
                  <a:pt x="44450" y="120040"/>
                </a:cubicBezTo>
                <a:cubicBezTo>
                  <a:pt x="53340" y="113055"/>
                  <a:pt x="59436" y="108039"/>
                  <a:pt x="62484" y="104991"/>
                </a:cubicBezTo>
                <a:cubicBezTo>
                  <a:pt x="65532" y="101955"/>
                  <a:pt x="68453" y="97955"/>
                  <a:pt x="71247" y="92989"/>
                </a:cubicBezTo>
                <a:cubicBezTo>
                  <a:pt x="72517" y="90132"/>
                  <a:pt x="73787" y="85864"/>
                  <a:pt x="74676" y="80188"/>
                </a:cubicBezTo>
                <a:cubicBezTo>
                  <a:pt x="75692" y="74511"/>
                  <a:pt x="76200" y="67411"/>
                  <a:pt x="76200" y="58902"/>
                </a:cubicBezTo>
                <a:cubicBezTo>
                  <a:pt x="76200" y="43878"/>
                  <a:pt x="74930" y="33820"/>
                  <a:pt x="72390" y="28740"/>
                </a:cubicBezTo>
                <a:cubicBezTo>
                  <a:pt x="71501" y="26936"/>
                  <a:pt x="70612" y="25539"/>
                  <a:pt x="69596" y="24574"/>
                </a:cubicBezTo>
                <a:cubicBezTo>
                  <a:pt x="68580" y="23609"/>
                  <a:pt x="66675" y="22326"/>
                  <a:pt x="63754" y="20752"/>
                </a:cubicBezTo>
                <a:lnTo>
                  <a:pt x="63754" y="139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22" name="object 522"/>
          <p:cNvSpPr/>
          <p:nvPr/>
        </p:nvSpPr>
        <p:spPr>
          <a:xfrm>
            <a:off x="5552059" y="5792241"/>
            <a:ext cx="9144" cy="9144"/>
          </a:xfrm>
          <a:custGeom>
            <a:avLst/>
            <a:gdLst/>
            <a:ahLst/>
            <a:cxnLst/>
            <a:rect l="l" t="t" r="r" b="b"/>
            <a:pathLst>
              <a:path w="9144" h="9144"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23" name="object 523"/>
          <p:cNvSpPr/>
          <p:nvPr/>
        </p:nvSpPr>
        <p:spPr>
          <a:xfrm>
            <a:off x="5415410" y="5792114"/>
            <a:ext cx="156464" cy="82448"/>
          </a:xfrm>
          <a:custGeom>
            <a:avLst/>
            <a:gdLst/>
            <a:ahLst/>
            <a:cxnLst/>
            <a:rect l="l" t="t" r="r" b="b"/>
            <a:pathLst>
              <a:path w="156464" h="82448">
                <a:moveTo>
                  <a:pt x="141224" y="4699"/>
                </a:moveTo>
                <a:cubicBezTo>
                  <a:pt x="144526" y="4572"/>
                  <a:pt x="147066" y="5791"/>
                  <a:pt x="148971" y="8331"/>
                </a:cubicBezTo>
                <a:cubicBezTo>
                  <a:pt x="151003" y="10884"/>
                  <a:pt x="151892" y="13957"/>
                  <a:pt x="151892" y="17552"/>
                </a:cubicBezTo>
                <a:cubicBezTo>
                  <a:pt x="151892" y="24613"/>
                  <a:pt x="150114" y="32487"/>
                  <a:pt x="146431" y="41174"/>
                </a:cubicBezTo>
                <a:cubicBezTo>
                  <a:pt x="142621" y="49860"/>
                  <a:pt x="138176" y="56896"/>
                  <a:pt x="132969" y="62256"/>
                </a:cubicBezTo>
                <a:cubicBezTo>
                  <a:pt x="128397" y="66904"/>
                  <a:pt x="122809" y="70663"/>
                  <a:pt x="116078" y="73559"/>
                </a:cubicBezTo>
                <a:cubicBezTo>
                  <a:pt x="109347" y="76442"/>
                  <a:pt x="102997" y="77877"/>
                  <a:pt x="96901" y="77877"/>
                </a:cubicBezTo>
                <a:cubicBezTo>
                  <a:pt x="89662" y="77877"/>
                  <a:pt x="82169" y="76721"/>
                  <a:pt x="74422" y="74397"/>
                </a:cubicBezTo>
                <a:lnTo>
                  <a:pt x="53340" y="68110"/>
                </a:lnTo>
                <a:cubicBezTo>
                  <a:pt x="43942" y="65392"/>
                  <a:pt x="37846" y="64046"/>
                  <a:pt x="35052" y="64046"/>
                </a:cubicBezTo>
                <a:cubicBezTo>
                  <a:pt x="31496" y="64046"/>
                  <a:pt x="27686" y="65862"/>
                  <a:pt x="23495" y="69495"/>
                </a:cubicBezTo>
                <a:cubicBezTo>
                  <a:pt x="19939" y="72504"/>
                  <a:pt x="16891" y="74016"/>
                  <a:pt x="14605" y="74016"/>
                </a:cubicBezTo>
                <a:cubicBezTo>
                  <a:pt x="11430" y="74016"/>
                  <a:pt x="8890" y="72974"/>
                  <a:pt x="7239" y="70904"/>
                </a:cubicBezTo>
                <a:cubicBezTo>
                  <a:pt x="5461" y="68821"/>
                  <a:pt x="4572" y="66053"/>
                  <a:pt x="4572" y="62573"/>
                </a:cubicBezTo>
                <a:cubicBezTo>
                  <a:pt x="4572" y="56858"/>
                  <a:pt x="5842" y="51118"/>
                  <a:pt x="8509" y="45352"/>
                </a:cubicBezTo>
                <a:cubicBezTo>
                  <a:pt x="11049" y="39586"/>
                  <a:pt x="14605" y="34519"/>
                  <a:pt x="19050" y="30137"/>
                </a:cubicBezTo>
                <a:cubicBezTo>
                  <a:pt x="28575" y="20892"/>
                  <a:pt x="41275" y="16269"/>
                  <a:pt x="57404" y="16269"/>
                </a:cubicBezTo>
                <a:cubicBezTo>
                  <a:pt x="64516" y="16269"/>
                  <a:pt x="74168" y="17425"/>
                  <a:pt x="86614" y="19723"/>
                </a:cubicBezTo>
                <a:cubicBezTo>
                  <a:pt x="103886" y="22974"/>
                  <a:pt x="115189" y="24600"/>
                  <a:pt x="120523" y="24600"/>
                </a:cubicBezTo>
                <a:cubicBezTo>
                  <a:pt x="124333" y="24600"/>
                  <a:pt x="127254" y="23584"/>
                  <a:pt x="129159" y="21552"/>
                </a:cubicBezTo>
                <a:cubicBezTo>
                  <a:pt x="129286" y="21349"/>
                  <a:pt x="129667" y="20803"/>
                  <a:pt x="129921" y="19926"/>
                </a:cubicBezTo>
                <a:cubicBezTo>
                  <a:pt x="130302" y="19050"/>
                  <a:pt x="130810" y="17209"/>
                  <a:pt x="131445" y="14415"/>
                </a:cubicBezTo>
                <a:cubicBezTo>
                  <a:pt x="132842" y="8217"/>
                  <a:pt x="136144" y="4979"/>
                  <a:pt x="141224" y="4699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24" name="object 524"/>
          <p:cNvSpPr/>
          <p:nvPr/>
        </p:nvSpPr>
        <p:spPr>
          <a:xfrm>
            <a:off x="5023231" y="5792241"/>
            <a:ext cx="537971" cy="9144"/>
          </a:xfrm>
          <a:custGeom>
            <a:avLst/>
            <a:gdLst/>
            <a:ahLst/>
            <a:cxnLst/>
            <a:rect l="l" t="t" r="r" b="b"/>
            <a:pathLst>
              <a:path w="537971" h="9144">
                <a:moveTo>
                  <a:pt x="533400" y="4572"/>
                </a:moveTo>
                <a:moveTo>
                  <a:pt x="533400" y="4572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25" name="object 525"/>
          <p:cNvSpPr/>
          <p:nvPr/>
        </p:nvSpPr>
        <p:spPr>
          <a:xfrm>
            <a:off x="4886582" y="5792114"/>
            <a:ext cx="156464" cy="82448"/>
          </a:xfrm>
          <a:custGeom>
            <a:avLst/>
            <a:gdLst/>
            <a:ahLst/>
            <a:cxnLst/>
            <a:rect l="l" t="t" r="r" b="b"/>
            <a:pathLst>
              <a:path w="156464" h="82448">
                <a:moveTo>
                  <a:pt x="141224" y="4699"/>
                </a:moveTo>
                <a:cubicBezTo>
                  <a:pt x="144526" y="4572"/>
                  <a:pt x="147066" y="5791"/>
                  <a:pt x="148971" y="8331"/>
                </a:cubicBezTo>
                <a:cubicBezTo>
                  <a:pt x="151003" y="10884"/>
                  <a:pt x="151892" y="13957"/>
                  <a:pt x="151892" y="17552"/>
                </a:cubicBezTo>
                <a:cubicBezTo>
                  <a:pt x="151892" y="24613"/>
                  <a:pt x="150114" y="32487"/>
                  <a:pt x="146431" y="41174"/>
                </a:cubicBezTo>
                <a:cubicBezTo>
                  <a:pt x="142621" y="49860"/>
                  <a:pt x="138176" y="56896"/>
                  <a:pt x="132969" y="62256"/>
                </a:cubicBezTo>
                <a:cubicBezTo>
                  <a:pt x="128397" y="66904"/>
                  <a:pt x="122809" y="70663"/>
                  <a:pt x="116078" y="73559"/>
                </a:cubicBezTo>
                <a:cubicBezTo>
                  <a:pt x="109347" y="76442"/>
                  <a:pt x="102997" y="77877"/>
                  <a:pt x="96901" y="77877"/>
                </a:cubicBezTo>
                <a:cubicBezTo>
                  <a:pt x="89662" y="77877"/>
                  <a:pt x="82169" y="76721"/>
                  <a:pt x="74422" y="74397"/>
                </a:cubicBezTo>
                <a:lnTo>
                  <a:pt x="53340" y="68110"/>
                </a:lnTo>
                <a:cubicBezTo>
                  <a:pt x="43942" y="65392"/>
                  <a:pt x="37846" y="64046"/>
                  <a:pt x="35052" y="64046"/>
                </a:cubicBezTo>
                <a:cubicBezTo>
                  <a:pt x="31496" y="64046"/>
                  <a:pt x="27686" y="65862"/>
                  <a:pt x="23495" y="69495"/>
                </a:cubicBezTo>
                <a:cubicBezTo>
                  <a:pt x="19939" y="72504"/>
                  <a:pt x="16891" y="74016"/>
                  <a:pt x="14605" y="74016"/>
                </a:cubicBezTo>
                <a:cubicBezTo>
                  <a:pt x="11430" y="74016"/>
                  <a:pt x="8890" y="72974"/>
                  <a:pt x="7239" y="70904"/>
                </a:cubicBezTo>
                <a:cubicBezTo>
                  <a:pt x="5461" y="68821"/>
                  <a:pt x="4572" y="66053"/>
                  <a:pt x="4572" y="62573"/>
                </a:cubicBezTo>
                <a:cubicBezTo>
                  <a:pt x="4572" y="56858"/>
                  <a:pt x="5842" y="51118"/>
                  <a:pt x="8509" y="45352"/>
                </a:cubicBezTo>
                <a:cubicBezTo>
                  <a:pt x="11049" y="39586"/>
                  <a:pt x="14605" y="34519"/>
                  <a:pt x="19050" y="30137"/>
                </a:cubicBezTo>
                <a:cubicBezTo>
                  <a:pt x="28575" y="20892"/>
                  <a:pt x="41275" y="16269"/>
                  <a:pt x="57404" y="16269"/>
                </a:cubicBezTo>
                <a:cubicBezTo>
                  <a:pt x="64516" y="16269"/>
                  <a:pt x="74168" y="17425"/>
                  <a:pt x="86614" y="19723"/>
                </a:cubicBezTo>
                <a:cubicBezTo>
                  <a:pt x="103886" y="22974"/>
                  <a:pt x="115189" y="24600"/>
                  <a:pt x="120523" y="24600"/>
                </a:cubicBezTo>
                <a:cubicBezTo>
                  <a:pt x="124333" y="24600"/>
                  <a:pt x="127254" y="23584"/>
                  <a:pt x="129159" y="21552"/>
                </a:cubicBezTo>
                <a:cubicBezTo>
                  <a:pt x="129286" y="21349"/>
                  <a:pt x="129667" y="20803"/>
                  <a:pt x="129921" y="19926"/>
                </a:cubicBezTo>
                <a:cubicBezTo>
                  <a:pt x="130302" y="19050"/>
                  <a:pt x="130810" y="17209"/>
                  <a:pt x="131445" y="14415"/>
                </a:cubicBezTo>
                <a:cubicBezTo>
                  <a:pt x="132842" y="8217"/>
                  <a:pt x="136144" y="4979"/>
                  <a:pt x="141224" y="4699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26" name="object 526"/>
          <p:cNvSpPr/>
          <p:nvPr/>
        </p:nvSpPr>
        <p:spPr>
          <a:xfrm>
            <a:off x="5023231" y="5657924"/>
            <a:ext cx="537971" cy="183527"/>
          </a:xfrm>
          <a:custGeom>
            <a:avLst/>
            <a:gdLst/>
            <a:ahLst/>
            <a:cxnLst/>
            <a:rect l="l" t="t" r="r" b="b"/>
            <a:pathLst>
              <a:path w="537971" h="183527">
                <a:moveTo>
                  <a:pt x="4572" y="139001"/>
                </a:moveTo>
                <a:moveTo>
                  <a:pt x="533400" y="139001"/>
                </a:moveTo>
                <a:moveTo>
                  <a:pt x="328422" y="4572"/>
                </a:moveTo>
                <a:lnTo>
                  <a:pt x="328422" y="178955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27" name="object 527"/>
          <p:cNvSpPr/>
          <p:nvPr/>
        </p:nvSpPr>
        <p:spPr>
          <a:xfrm>
            <a:off x="5347081" y="5832195"/>
            <a:ext cx="27304" cy="39840"/>
          </a:xfrm>
          <a:custGeom>
            <a:avLst/>
            <a:gdLst/>
            <a:ahLst/>
            <a:cxnLst/>
            <a:rect l="l" t="t" r="r" b="b"/>
            <a:pathLst>
              <a:path w="27304" h="39840">
                <a:moveTo>
                  <a:pt x="4572" y="4572"/>
                </a:moveTo>
                <a:cubicBezTo>
                  <a:pt x="4572" y="7697"/>
                  <a:pt x="5080" y="9856"/>
                  <a:pt x="6096" y="11075"/>
                </a:cubicBezTo>
                <a:cubicBezTo>
                  <a:pt x="6477" y="11507"/>
                  <a:pt x="6858" y="11786"/>
                  <a:pt x="7239" y="11900"/>
                </a:cubicBezTo>
                <a:cubicBezTo>
                  <a:pt x="7493" y="12015"/>
                  <a:pt x="9652" y="12586"/>
                  <a:pt x="13589" y="13602"/>
                </a:cubicBezTo>
                <a:cubicBezTo>
                  <a:pt x="19685" y="14986"/>
                  <a:pt x="22733" y="18581"/>
                  <a:pt x="22733" y="24410"/>
                </a:cubicBezTo>
                <a:cubicBezTo>
                  <a:pt x="22733" y="28029"/>
                  <a:pt x="21463" y="30531"/>
                  <a:pt x="18923" y="31903"/>
                </a:cubicBezTo>
                <a:cubicBezTo>
                  <a:pt x="15621" y="34151"/>
                  <a:pt x="11430" y="35268"/>
                  <a:pt x="6477" y="35268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28" name="object 528"/>
          <p:cNvSpPr/>
          <p:nvPr/>
        </p:nvSpPr>
        <p:spPr>
          <a:xfrm>
            <a:off x="5283074" y="5862891"/>
            <a:ext cx="75056" cy="9144"/>
          </a:xfrm>
          <a:custGeom>
            <a:avLst/>
            <a:gdLst/>
            <a:ahLst/>
            <a:cxnLst/>
            <a:rect l="l" t="t" r="r" b="b"/>
            <a:pathLst>
              <a:path w="75056" h="9144">
                <a:moveTo>
                  <a:pt x="70485" y="4572"/>
                </a:moveTo>
                <a:lnTo>
                  <a:pt x="65532" y="4572"/>
                </a:lnTo>
                <a:lnTo>
                  <a:pt x="9398" y="4572"/>
                </a:ln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29" name="object 529"/>
          <p:cNvSpPr/>
          <p:nvPr/>
        </p:nvSpPr>
        <p:spPr>
          <a:xfrm>
            <a:off x="5267077" y="5832195"/>
            <a:ext cx="27178" cy="39840"/>
          </a:xfrm>
          <a:custGeom>
            <a:avLst/>
            <a:gdLst/>
            <a:ahLst/>
            <a:cxnLst/>
            <a:rect l="l" t="t" r="r" b="b"/>
            <a:pathLst>
              <a:path w="27178" h="39840">
                <a:moveTo>
                  <a:pt x="20574" y="35268"/>
                </a:moveTo>
                <a:cubicBezTo>
                  <a:pt x="15621" y="35268"/>
                  <a:pt x="11938" y="34481"/>
                  <a:pt x="9525" y="32906"/>
                </a:cubicBezTo>
                <a:cubicBezTo>
                  <a:pt x="6223" y="30912"/>
                  <a:pt x="4572" y="28080"/>
                  <a:pt x="4572" y="24410"/>
                </a:cubicBezTo>
                <a:cubicBezTo>
                  <a:pt x="4572" y="18555"/>
                  <a:pt x="7620" y="14961"/>
                  <a:pt x="13462" y="13615"/>
                </a:cubicBezTo>
                <a:cubicBezTo>
                  <a:pt x="17526" y="12586"/>
                  <a:pt x="19685" y="12015"/>
                  <a:pt x="20066" y="11900"/>
                </a:cubicBezTo>
                <a:cubicBezTo>
                  <a:pt x="20320" y="11786"/>
                  <a:pt x="20701" y="11481"/>
                  <a:pt x="20955" y="10999"/>
                </a:cubicBezTo>
                <a:cubicBezTo>
                  <a:pt x="22098" y="9767"/>
                  <a:pt x="22606" y="7620"/>
                  <a:pt x="22606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30" name="object 530"/>
          <p:cNvSpPr/>
          <p:nvPr/>
        </p:nvSpPr>
        <p:spPr>
          <a:xfrm>
            <a:off x="5285148" y="5695770"/>
            <a:ext cx="9143" cy="145681"/>
          </a:xfrm>
          <a:custGeom>
            <a:avLst/>
            <a:gdLst/>
            <a:ahLst/>
            <a:cxnLst/>
            <a:rect l="l" t="t" r="r" b="b"/>
            <a:pathLst>
              <a:path w="9143" h="145681">
                <a:moveTo>
                  <a:pt x="4572" y="141109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31" name="object 531"/>
          <p:cNvSpPr/>
          <p:nvPr/>
        </p:nvSpPr>
        <p:spPr>
          <a:xfrm>
            <a:off x="5266690" y="5655767"/>
            <a:ext cx="294513" cy="145618"/>
          </a:xfrm>
          <a:custGeom>
            <a:avLst/>
            <a:gdLst/>
            <a:ahLst/>
            <a:cxnLst/>
            <a:rect l="l" t="t" r="r" b="b"/>
            <a:pathLst>
              <a:path w="294513" h="145618">
                <a:moveTo>
                  <a:pt x="22987" y="44463"/>
                </a:moveTo>
                <a:cubicBezTo>
                  <a:pt x="22987" y="39853"/>
                  <a:pt x="22606" y="36728"/>
                  <a:pt x="21971" y="35090"/>
                </a:cubicBezTo>
                <a:cubicBezTo>
                  <a:pt x="21209" y="33452"/>
                  <a:pt x="20066" y="32525"/>
                  <a:pt x="18542" y="32321"/>
                </a:cubicBezTo>
                <a:lnTo>
                  <a:pt x="13970" y="31674"/>
                </a:lnTo>
                <a:cubicBezTo>
                  <a:pt x="7747" y="30747"/>
                  <a:pt x="4572" y="27419"/>
                  <a:pt x="4572" y="21704"/>
                </a:cubicBezTo>
                <a:cubicBezTo>
                  <a:pt x="4572" y="17488"/>
                  <a:pt x="6731" y="14084"/>
                  <a:pt x="11049" y="11506"/>
                </a:cubicBezTo>
                <a:cubicBezTo>
                  <a:pt x="12446" y="10732"/>
                  <a:pt x="15621" y="10198"/>
                  <a:pt x="20574" y="9881"/>
                </a:cubicBezTo>
                <a:moveTo>
                  <a:pt x="289941" y="141046"/>
                </a:moveTo>
                <a:moveTo>
                  <a:pt x="210185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32" name="object 532"/>
          <p:cNvSpPr/>
          <p:nvPr/>
        </p:nvSpPr>
        <p:spPr>
          <a:xfrm>
            <a:off x="5472303" y="5655767"/>
            <a:ext cx="9144" cy="29972"/>
          </a:xfrm>
          <a:custGeom>
            <a:avLst/>
            <a:gdLst/>
            <a:ahLst/>
            <a:cxnLst/>
            <a:rect l="l" t="t" r="r" b="b"/>
            <a:pathLst>
              <a:path w="9144" h="29972">
                <a:moveTo>
                  <a:pt x="4572" y="4572"/>
                </a:moveTo>
                <a:lnTo>
                  <a:pt x="4572" y="25400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33" name="object 533"/>
          <p:cNvSpPr/>
          <p:nvPr/>
        </p:nvSpPr>
        <p:spPr>
          <a:xfrm>
            <a:off x="5464821" y="5676595"/>
            <a:ext cx="16637" cy="11392"/>
          </a:xfrm>
          <a:custGeom>
            <a:avLst/>
            <a:gdLst/>
            <a:ahLst/>
            <a:cxnLst/>
            <a:rect l="l" t="t" r="r" b="b"/>
            <a:pathLst>
              <a:path w="16637" h="11392">
                <a:moveTo>
                  <a:pt x="12065" y="4572"/>
                </a:moveTo>
                <a:cubicBezTo>
                  <a:pt x="8128" y="5436"/>
                  <a:pt x="5588" y="6185"/>
                  <a:pt x="4572" y="6820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34" name="object 534"/>
          <p:cNvSpPr/>
          <p:nvPr/>
        </p:nvSpPr>
        <p:spPr>
          <a:xfrm>
            <a:off x="5463671" y="5678955"/>
            <a:ext cx="10286" cy="9703"/>
          </a:xfrm>
          <a:custGeom>
            <a:avLst/>
            <a:gdLst/>
            <a:ahLst/>
            <a:cxnLst/>
            <a:rect l="l" t="t" r="r" b="b"/>
            <a:pathLst>
              <a:path w="10286" h="9703">
                <a:moveTo>
                  <a:pt x="5715" y="4572"/>
                </a:moveTo>
                <a:lnTo>
                  <a:pt x="4572" y="513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35" name="object 535"/>
          <p:cNvSpPr/>
          <p:nvPr/>
        </p:nvSpPr>
        <p:spPr>
          <a:xfrm>
            <a:off x="4943475" y="5655767"/>
            <a:ext cx="617728" cy="145618"/>
          </a:xfrm>
          <a:custGeom>
            <a:avLst/>
            <a:gdLst/>
            <a:ahLst/>
            <a:cxnLst/>
            <a:rect l="l" t="t" r="r" b="b"/>
            <a:pathLst>
              <a:path w="617728" h="145618">
                <a:moveTo>
                  <a:pt x="524764" y="28207"/>
                </a:moveTo>
                <a:cubicBezTo>
                  <a:pt x="524510" y="28257"/>
                  <a:pt x="524383" y="28181"/>
                  <a:pt x="524383" y="27965"/>
                </a:cubicBezTo>
                <a:cubicBezTo>
                  <a:pt x="524510" y="28702"/>
                  <a:pt x="525526" y="29680"/>
                  <a:pt x="527304" y="30886"/>
                </a:cubicBezTo>
                <a:cubicBezTo>
                  <a:pt x="531876" y="34061"/>
                  <a:pt x="535305" y="37605"/>
                  <a:pt x="537464" y="41529"/>
                </a:cubicBezTo>
                <a:cubicBezTo>
                  <a:pt x="539623" y="45453"/>
                  <a:pt x="540639" y="50114"/>
                  <a:pt x="540639" y="55537"/>
                </a:cubicBezTo>
                <a:cubicBezTo>
                  <a:pt x="540639" y="63754"/>
                  <a:pt x="537591" y="70828"/>
                  <a:pt x="531368" y="76759"/>
                </a:cubicBezTo>
                <a:cubicBezTo>
                  <a:pt x="525272" y="82677"/>
                  <a:pt x="517906" y="85636"/>
                  <a:pt x="509397" y="85636"/>
                </a:cubicBezTo>
                <a:cubicBezTo>
                  <a:pt x="500253" y="85636"/>
                  <a:pt x="492760" y="82512"/>
                  <a:pt x="486537" y="76238"/>
                </a:cubicBezTo>
                <a:cubicBezTo>
                  <a:pt x="480441" y="69964"/>
                  <a:pt x="477393" y="62192"/>
                  <a:pt x="477393" y="52908"/>
                </a:cubicBezTo>
                <a:cubicBezTo>
                  <a:pt x="477393" y="44310"/>
                  <a:pt x="480060" y="36335"/>
                  <a:pt x="485140" y="28969"/>
                </a:cubicBezTo>
                <a:cubicBezTo>
                  <a:pt x="490220" y="21615"/>
                  <a:pt x="497205" y="15824"/>
                  <a:pt x="505968" y="11608"/>
                </a:cubicBezTo>
                <a:cubicBezTo>
                  <a:pt x="511429" y="8966"/>
                  <a:pt x="520573" y="6629"/>
                  <a:pt x="533400" y="4572"/>
                </a:cubicBezTo>
                <a:moveTo>
                  <a:pt x="613156" y="141046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36" name="object 536"/>
          <p:cNvSpPr/>
          <p:nvPr/>
        </p:nvSpPr>
        <p:spPr>
          <a:xfrm>
            <a:off x="4943484" y="5655767"/>
            <a:ext cx="9143" cy="29972"/>
          </a:xfrm>
          <a:custGeom>
            <a:avLst/>
            <a:gdLst/>
            <a:ahLst/>
            <a:cxnLst/>
            <a:rect l="l" t="t" r="r" b="b"/>
            <a:pathLst>
              <a:path w="9143" h="29972">
                <a:moveTo>
                  <a:pt x="4572" y="4572"/>
                </a:moveTo>
                <a:lnTo>
                  <a:pt x="4572" y="25400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37" name="object 537"/>
          <p:cNvSpPr/>
          <p:nvPr/>
        </p:nvSpPr>
        <p:spPr>
          <a:xfrm>
            <a:off x="4935982" y="5676595"/>
            <a:ext cx="16636" cy="11392"/>
          </a:xfrm>
          <a:custGeom>
            <a:avLst/>
            <a:gdLst/>
            <a:ahLst/>
            <a:cxnLst/>
            <a:rect l="l" t="t" r="r" b="b"/>
            <a:pathLst>
              <a:path w="16636" h="11392">
                <a:moveTo>
                  <a:pt x="12065" y="4572"/>
                </a:moveTo>
                <a:cubicBezTo>
                  <a:pt x="8128" y="5436"/>
                  <a:pt x="5588" y="6185"/>
                  <a:pt x="4572" y="6820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38" name="object 538"/>
          <p:cNvSpPr/>
          <p:nvPr/>
        </p:nvSpPr>
        <p:spPr>
          <a:xfrm>
            <a:off x="4934843" y="5678955"/>
            <a:ext cx="10286" cy="9703"/>
          </a:xfrm>
          <a:custGeom>
            <a:avLst/>
            <a:gdLst/>
            <a:ahLst/>
            <a:cxnLst/>
            <a:rect l="l" t="t" r="r" b="b"/>
            <a:pathLst>
              <a:path w="10286" h="9703">
                <a:moveTo>
                  <a:pt x="5715" y="4572"/>
                </a:moveTo>
                <a:lnTo>
                  <a:pt x="4572" y="513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39" name="object 539"/>
          <p:cNvSpPr/>
          <p:nvPr/>
        </p:nvSpPr>
        <p:spPr>
          <a:xfrm>
            <a:off x="4887471" y="5655435"/>
            <a:ext cx="673734" cy="219201"/>
          </a:xfrm>
          <a:custGeom>
            <a:avLst/>
            <a:gdLst/>
            <a:ahLst/>
            <a:cxnLst/>
            <a:rect l="l" t="t" r="r" b="b"/>
            <a:pathLst>
              <a:path w="673734" h="219201">
                <a:moveTo>
                  <a:pt x="51943" y="28651"/>
                </a:moveTo>
                <a:cubicBezTo>
                  <a:pt x="51689" y="28701"/>
                  <a:pt x="51562" y="28625"/>
                  <a:pt x="51562" y="28409"/>
                </a:cubicBezTo>
                <a:cubicBezTo>
                  <a:pt x="51689" y="29146"/>
                  <a:pt x="52705" y="30124"/>
                  <a:pt x="54483" y="31330"/>
                </a:cubicBezTo>
                <a:cubicBezTo>
                  <a:pt x="59055" y="34505"/>
                  <a:pt x="62484" y="38049"/>
                  <a:pt x="64643" y="41973"/>
                </a:cubicBezTo>
                <a:cubicBezTo>
                  <a:pt x="66802" y="45897"/>
                  <a:pt x="67818" y="50558"/>
                  <a:pt x="67818" y="55981"/>
                </a:cubicBezTo>
                <a:cubicBezTo>
                  <a:pt x="67818" y="64198"/>
                  <a:pt x="64770" y="71272"/>
                  <a:pt x="58547" y="77203"/>
                </a:cubicBezTo>
                <a:cubicBezTo>
                  <a:pt x="52451" y="83121"/>
                  <a:pt x="45085" y="86080"/>
                  <a:pt x="36576" y="86080"/>
                </a:cubicBezTo>
                <a:cubicBezTo>
                  <a:pt x="27432" y="86080"/>
                  <a:pt x="19939" y="82956"/>
                  <a:pt x="13716" y="76682"/>
                </a:cubicBezTo>
                <a:cubicBezTo>
                  <a:pt x="7620" y="70408"/>
                  <a:pt x="4572" y="62636"/>
                  <a:pt x="4572" y="53352"/>
                </a:cubicBezTo>
                <a:cubicBezTo>
                  <a:pt x="4572" y="44754"/>
                  <a:pt x="7239" y="36779"/>
                  <a:pt x="12319" y="29413"/>
                </a:cubicBezTo>
                <a:cubicBezTo>
                  <a:pt x="17399" y="22059"/>
                  <a:pt x="24384" y="16268"/>
                  <a:pt x="33147" y="12052"/>
                </a:cubicBezTo>
                <a:cubicBezTo>
                  <a:pt x="38608" y="9410"/>
                  <a:pt x="47752" y="7073"/>
                  <a:pt x="60579" y="5016"/>
                </a:cubicBezTo>
                <a:moveTo>
                  <a:pt x="669163" y="141490"/>
                </a:moveTo>
                <a:moveTo>
                  <a:pt x="258699" y="4572"/>
                </a:moveTo>
                <a:cubicBezTo>
                  <a:pt x="271526" y="5930"/>
                  <a:pt x="282067" y="8966"/>
                  <a:pt x="290322" y="13703"/>
                </a:cubicBezTo>
                <a:cubicBezTo>
                  <a:pt x="298704" y="18440"/>
                  <a:pt x="306578" y="25793"/>
                  <a:pt x="314071" y="35750"/>
                </a:cubicBezTo>
                <a:cubicBezTo>
                  <a:pt x="321310" y="44284"/>
                  <a:pt x="326898" y="54978"/>
                  <a:pt x="330962" y="67843"/>
                </a:cubicBezTo>
                <a:cubicBezTo>
                  <a:pt x="334899" y="80695"/>
                  <a:pt x="336931" y="94602"/>
                  <a:pt x="336931" y="109524"/>
                </a:cubicBezTo>
                <a:cubicBezTo>
                  <a:pt x="336931" y="124587"/>
                  <a:pt x="334899" y="138544"/>
                  <a:pt x="330962" y="151409"/>
                </a:cubicBezTo>
                <a:cubicBezTo>
                  <a:pt x="326898" y="164261"/>
                  <a:pt x="321310" y="174942"/>
                  <a:pt x="314071" y="183426"/>
                </a:cubicBezTo>
                <a:cubicBezTo>
                  <a:pt x="306578" y="193433"/>
                  <a:pt x="298704" y="200799"/>
                  <a:pt x="290322" y="205536"/>
                </a:cubicBezTo>
                <a:cubicBezTo>
                  <a:pt x="282067" y="210273"/>
                  <a:pt x="271526" y="213309"/>
                  <a:pt x="258699" y="214629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40" name="object 540"/>
          <p:cNvSpPr/>
          <p:nvPr/>
        </p:nvSpPr>
        <p:spPr>
          <a:xfrm>
            <a:off x="5141651" y="5845211"/>
            <a:ext cx="9143" cy="29425"/>
          </a:xfrm>
          <a:custGeom>
            <a:avLst/>
            <a:gdLst/>
            <a:ahLst/>
            <a:cxnLst/>
            <a:rect l="l" t="t" r="r" b="b"/>
            <a:pathLst>
              <a:path w="9143" h="29425">
                <a:moveTo>
                  <a:pt x="4572" y="24853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41" name="object 541"/>
          <p:cNvSpPr/>
          <p:nvPr/>
        </p:nvSpPr>
        <p:spPr>
          <a:xfrm>
            <a:off x="5141599" y="5826618"/>
            <a:ext cx="21971" cy="27737"/>
          </a:xfrm>
          <a:custGeom>
            <a:avLst/>
            <a:gdLst/>
            <a:ahLst/>
            <a:cxnLst/>
            <a:rect l="l" t="t" r="r" b="b"/>
            <a:pathLst>
              <a:path w="21971" h="27737">
                <a:moveTo>
                  <a:pt x="4572" y="23165"/>
                </a:moveTo>
                <a:cubicBezTo>
                  <a:pt x="8255" y="21945"/>
                  <a:pt x="10668" y="21082"/>
                  <a:pt x="11430" y="20561"/>
                </a:cubicBezTo>
                <a:cubicBezTo>
                  <a:pt x="12319" y="20040"/>
                  <a:pt x="13843" y="18923"/>
                  <a:pt x="15748" y="17208"/>
                </a:cubicBezTo>
                <a:cubicBezTo>
                  <a:pt x="16891" y="14897"/>
                  <a:pt x="17399" y="10693"/>
                  <a:pt x="17399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42" name="object 542"/>
          <p:cNvSpPr/>
          <p:nvPr/>
        </p:nvSpPr>
        <p:spPr>
          <a:xfrm>
            <a:off x="5154422" y="5694197"/>
            <a:ext cx="9144" cy="141452"/>
          </a:xfrm>
          <a:custGeom>
            <a:avLst/>
            <a:gdLst/>
            <a:ahLst/>
            <a:cxnLst/>
            <a:rect l="l" t="t" r="r" b="b"/>
            <a:pathLst>
              <a:path w="9144" h="141452">
                <a:moveTo>
                  <a:pt x="4572" y="136881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43" name="object 543"/>
          <p:cNvSpPr/>
          <p:nvPr/>
        </p:nvSpPr>
        <p:spPr>
          <a:xfrm>
            <a:off x="5136388" y="5655323"/>
            <a:ext cx="424815" cy="146062"/>
          </a:xfrm>
          <a:custGeom>
            <a:avLst/>
            <a:gdLst/>
            <a:ahLst/>
            <a:cxnLst/>
            <a:rect l="l" t="t" r="r" b="b"/>
            <a:pathLst>
              <a:path w="424815" h="146062">
                <a:moveTo>
                  <a:pt x="22606" y="43446"/>
                </a:moveTo>
                <a:cubicBezTo>
                  <a:pt x="22606" y="37363"/>
                  <a:pt x="21463" y="32765"/>
                  <a:pt x="19050" y="29667"/>
                </a:cubicBezTo>
                <a:cubicBezTo>
                  <a:pt x="18415" y="28752"/>
                  <a:pt x="17526" y="28028"/>
                  <a:pt x="16637" y="27508"/>
                </a:cubicBezTo>
                <a:cubicBezTo>
                  <a:pt x="15875" y="26987"/>
                  <a:pt x="13462" y="26123"/>
                  <a:pt x="9779" y="24904"/>
                </a:cubicBezTo>
                <a:moveTo>
                  <a:pt x="420243" y="141490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44" name="object 544"/>
          <p:cNvSpPr/>
          <p:nvPr/>
        </p:nvSpPr>
        <p:spPr>
          <a:xfrm>
            <a:off x="5136444" y="5655435"/>
            <a:ext cx="9143" cy="29425"/>
          </a:xfrm>
          <a:custGeom>
            <a:avLst/>
            <a:gdLst/>
            <a:ahLst/>
            <a:cxnLst/>
            <a:rect l="l" t="t" r="r" b="b"/>
            <a:pathLst>
              <a:path w="9143" h="29425">
                <a:moveTo>
                  <a:pt x="4572" y="4572"/>
                </a:moveTo>
                <a:lnTo>
                  <a:pt x="4572" y="2485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45" name="object 545"/>
          <p:cNvSpPr/>
          <p:nvPr/>
        </p:nvSpPr>
        <p:spPr>
          <a:xfrm>
            <a:off x="5123440" y="5675716"/>
            <a:ext cx="22097" cy="27737"/>
          </a:xfrm>
          <a:custGeom>
            <a:avLst/>
            <a:gdLst/>
            <a:ahLst/>
            <a:cxnLst/>
            <a:rect l="l" t="t" r="r" b="b"/>
            <a:pathLst>
              <a:path w="22097" h="27737">
                <a:moveTo>
                  <a:pt x="17526" y="4572"/>
                </a:moveTo>
                <a:cubicBezTo>
                  <a:pt x="13589" y="5804"/>
                  <a:pt x="11303" y="6681"/>
                  <a:pt x="10414" y="7189"/>
                </a:cubicBezTo>
                <a:cubicBezTo>
                  <a:pt x="9525" y="7709"/>
                  <a:pt x="8128" y="8814"/>
                  <a:pt x="6096" y="10529"/>
                </a:cubicBezTo>
                <a:cubicBezTo>
                  <a:pt x="5080" y="12802"/>
                  <a:pt x="4572" y="17006"/>
                  <a:pt x="4572" y="23165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46" name="object 546"/>
          <p:cNvSpPr/>
          <p:nvPr/>
        </p:nvSpPr>
        <p:spPr>
          <a:xfrm>
            <a:off x="5123434" y="5694197"/>
            <a:ext cx="9144" cy="141452"/>
          </a:xfrm>
          <a:custGeom>
            <a:avLst/>
            <a:gdLst/>
            <a:ahLst/>
            <a:cxnLst/>
            <a:rect l="l" t="t" r="r" b="b"/>
            <a:pathLst>
              <a:path w="9144" h="141452">
                <a:moveTo>
                  <a:pt x="4572" y="4572"/>
                </a:moveTo>
                <a:lnTo>
                  <a:pt x="4572" y="13688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47" name="object 547"/>
          <p:cNvSpPr/>
          <p:nvPr/>
        </p:nvSpPr>
        <p:spPr>
          <a:xfrm>
            <a:off x="5123440" y="5826618"/>
            <a:ext cx="22097" cy="27787"/>
          </a:xfrm>
          <a:custGeom>
            <a:avLst/>
            <a:gdLst/>
            <a:ahLst/>
            <a:cxnLst/>
            <a:rect l="l" t="t" r="r" b="b"/>
            <a:pathLst>
              <a:path w="22097" h="27787">
                <a:moveTo>
                  <a:pt x="4572" y="4572"/>
                </a:moveTo>
                <a:cubicBezTo>
                  <a:pt x="4572" y="10757"/>
                  <a:pt x="5715" y="15367"/>
                  <a:pt x="8001" y="18389"/>
                </a:cubicBezTo>
                <a:cubicBezTo>
                  <a:pt x="8763" y="19342"/>
                  <a:pt x="9525" y="20078"/>
                  <a:pt x="10414" y="20586"/>
                </a:cubicBezTo>
                <a:cubicBezTo>
                  <a:pt x="11303" y="21107"/>
                  <a:pt x="13589" y="21984"/>
                  <a:pt x="17526" y="23215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48" name="object 548"/>
          <p:cNvSpPr/>
          <p:nvPr/>
        </p:nvSpPr>
        <p:spPr>
          <a:xfrm>
            <a:off x="5136444" y="5845261"/>
            <a:ext cx="9143" cy="29375"/>
          </a:xfrm>
          <a:custGeom>
            <a:avLst/>
            <a:gdLst/>
            <a:ahLst/>
            <a:cxnLst/>
            <a:rect l="l" t="t" r="r" b="b"/>
            <a:pathLst>
              <a:path w="9143" h="29375">
                <a:moveTo>
                  <a:pt x="4572" y="4572"/>
                </a:moveTo>
                <a:lnTo>
                  <a:pt x="4572" y="2480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49" name="object 549"/>
          <p:cNvSpPr/>
          <p:nvPr/>
        </p:nvSpPr>
        <p:spPr>
          <a:xfrm>
            <a:off x="5058085" y="5655272"/>
            <a:ext cx="507619" cy="219252"/>
          </a:xfrm>
          <a:custGeom>
            <a:avLst/>
            <a:gdLst/>
            <a:ahLst/>
            <a:cxnLst/>
            <a:rect l="l" t="t" r="r" b="b"/>
            <a:pathLst>
              <a:path w="507619" h="219252">
                <a:moveTo>
                  <a:pt x="82931" y="214680"/>
                </a:moveTo>
                <a:cubicBezTo>
                  <a:pt x="69977" y="213360"/>
                  <a:pt x="59309" y="210337"/>
                  <a:pt x="51054" y="205625"/>
                </a:cubicBezTo>
                <a:cubicBezTo>
                  <a:pt x="42799" y="200901"/>
                  <a:pt x="34925" y="193662"/>
                  <a:pt x="27432" y="183896"/>
                </a:cubicBezTo>
                <a:cubicBezTo>
                  <a:pt x="20193" y="175171"/>
                  <a:pt x="14478" y="164401"/>
                  <a:pt x="10541" y="151574"/>
                </a:cubicBezTo>
                <a:cubicBezTo>
                  <a:pt x="6604" y="138747"/>
                  <a:pt x="4572" y="124752"/>
                  <a:pt x="4572" y="109575"/>
                </a:cubicBezTo>
                <a:cubicBezTo>
                  <a:pt x="4572" y="94538"/>
                  <a:pt x="6604" y="80607"/>
                  <a:pt x="10541" y="67780"/>
                </a:cubicBezTo>
                <a:cubicBezTo>
                  <a:pt x="14478" y="54953"/>
                  <a:pt x="20193" y="44196"/>
                  <a:pt x="27432" y="35522"/>
                </a:cubicBezTo>
                <a:cubicBezTo>
                  <a:pt x="34925" y="25717"/>
                  <a:pt x="42799" y="18453"/>
                  <a:pt x="51054" y="13728"/>
                </a:cubicBezTo>
                <a:cubicBezTo>
                  <a:pt x="59309" y="9004"/>
                  <a:pt x="69977" y="5969"/>
                  <a:pt x="82931" y="4623"/>
                </a:cubicBezTo>
                <a:moveTo>
                  <a:pt x="498602" y="141541"/>
                </a:moveTo>
                <a:moveTo>
                  <a:pt x="435737" y="4572"/>
                </a:moveTo>
                <a:cubicBezTo>
                  <a:pt x="444119" y="4572"/>
                  <a:pt x="453009" y="6324"/>
                  <a:pt x="462661" y="9830"/>
                </a:cubicBezTo>
                <a:cubicBezTo>
                  <a:pt x="472186" y="13322"/>
                  <a:pt x="480187" y="18199"/>
                  <a:pt x="486664" y="24435"/>
                </a:cubicBezTo>
                <a:cubicBezTo>
                  <a:pt x="497586" y="35090"/>
                  <a:pt x="503047" y="48438"/>
                  <a:pt x="503047" y="64478"/>
                </a:cubicBezTo>
                <a:cubicBezTo>
                  <a:pt x="503047" y="78219"/>
                  <a:pt x="498983" y="90424"/>
                  <a:pt x="490855" y="101104"/>
                </a:cubicBezTo>
                <a:cubicBezTo>
                  <a:pt x="482727" y="111785"/>
                  <a:pt x="471297" y="120104"/>
                  <a:pt x="456565" y="126073"/>
                </a:cubicBezTo>
                <a:lnTo>
                  <a:pt x="437515" y="133667"/>
                </a:lnTo>
                <a:cubicBezTo>
                  <a:pt x="432181" y="135813"/>
                  <a:pt x="424180" y="139763"/>
                  <a:pt x="413385" y="145529"/>
                </a:cubicBezTo>
                <a:lnTo>
                  <a:pt x="409321" y="148005"/>
                </a:lnTo>
                <a:cubicBezTo>
                  <a:pt x="405257" y="148005"/>
                  <a:pt x="401447" y="148488"/>
                  <a:pt x="398018" y="149466"/>
                </a:cubicBezTo>
                <a:cubicBezTo>
                  <a:pt x="394589" y="150431"/>
                  <a:pt x="388239" y="152425"/>
                  <a:pt x="378714" y="155448"/>
                </a:cubicBezTo>
                <a:cubicBezTo>
                  <a:pt x="382651" y="147472"/>
                  <a:pt x="386461" y="141757"/>
                  <a:pt x="390144" y="138290"/>
                </a:cubicBezTo>
                <a:cubicBezTo>
                  <a:pt x="393700" y="134823"/>
                  <a:pt x="399161" y="130264"/>
                  <a:pt x="406400" y="124612"/>
                </a:cubicBezTo>
                <a:cubicBezTo>
                  <a:pt x="415290" y="117627"/>
                  <a:pt x="421386" y="112611"/>
                  <a:pt x="424434" y="109563"/>
                </a:cubicBezTo>
                <a:cubicBezTo>
                  <a:pt x="427482" y="106527"/>
                  <a:pt x="430403" y="102527"/>
                  <a:pt x="433197" y="97561"/>
                </a:cubicBezTo>
                <a:cubicBezTo>
                  <a:pt x="434467" y="94704"/>
                  <a:pt x="435737" y="90436"/>
                  <a:pt x="436626" y="84760"/>
                </a:cubicBezTo>
                <a:cubicBezTo>
                  <a:pt x="437642" y="79083"/>
                  <a:pt x="438150" y="71983"/>
                  <a:pt x="438150" y="63474"/>
                </a:cubicBezTo>
                <a:cubicBezTo>
                  <a:pt x="438150" y="48450"/>
                  <a:pt x="436880" y="38392"/>
                  <a:pt x="434340" y="33312"/>
                </a:cubicBezTo>
                <a:cubicBezTo>
                  <a:pt x="433451" y="31508"/>
                  <a:pt x="432562" y="30111"/>
                  <a:pt x="431546" y="29146"/>
                </a:cubicBezTo>
                <a:cubicBezTo>
                  <a:pt x="430530" y="28181"/>
                  <a:pt x="428625" y="26898"/>
                  <a:pt x="425704" y="25324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50" name="object 550"/>
          <p:cNvSpPr/>
          <p:nvPr/>
        </p:nvSpPr>
        <p:spPr>
          <a:xfrm>
            <a:off x="5479217" y="5655411"/>
            <a:ext cx="9143" cy="29756"/>
          </a:xfrm>
          <a:custGeom>
            <a:avLst/>
            <a:gdLst/>
            <a:ahLst/>
            <a:cxnLst/>
            <a:rect l="l" t="t" r="r" b="b"/>
            <a:pathLst>
              <a:path w="9143" h="29756">
                <a:moveTo>
                  <a:pt x="4572" y="25185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51" name="object 551"/>
          <p:cNvSpPr/>
          <p:nvPr/>
        </p:nvSpPr>
        <p:spPr>
          <a:xfrm>
            <a:off x="4903399" y="5655272"/>
            <a:ext cx="657859" cy="160020"/>
          </a:xfrm>
          <a:custGeom>
            <a:avLst/>
            <a:gdLst/>
            <a:ahLst/>
            <a:cxnLst/>
            <a:rect l="l" t="t" r="r" b="b"/>
            <a:pathLst>
              <a:path w="657859" h="160020">
                <a:moveTo>
                  <a:pt x="580390" y="4711"/>
                </a:moveTo>
                <a:moveTo>
                  <a:pt x="653288" y="141541"/>
                </a:moveTo>
                <a:moveTo>
                  <a:pt x="61595" y="4572"/>
                </a:moveTo>
                <a:cubicBezTo>
                  <a:pt x="69977" y="4572"/>
                  <a:pt x="78867" y="6324"/>
                  <a:pt x="88519" y="9830"/>
                </a:cubicBezTo>
                <a:cubicBezTo>
                  <a:pt x="98044" y="13322"/>
                  <a:pt x="106045" y="18199"/>
                  <a:pt x="112522" y="24435"/>
                </a:cubicBezTo>
                <a:cubicBezTo>
                  <a:pt x="123444" y="35090"/>
                  <a:pt x="128905" y="48438"/>
                  <a:pt x="128905" y="64478"/>
                </a:cubicBezTo>
                <a:cubicBezTo>
                  <a:pt x="128905" y="78219"/>
                  <a:pt x="124841" y="90424"/>
                  <a:pt x="116713" y="101104"/>
                </a:cubicBezTo>
                <a:cubicBezTo>
                  <a:pt x="108585" y="111785"/>
                  <a:pt x="97155" y="120104"/>
                  <a:pt x="82423" y="126073"/>
                </a:cubicBezTo>
                <a:lnTo>
                  <a:pt x="63373" y="133667"/>
                </a:lnTo>
                <a:cubicBezTo>
                  <a:pt x="58039" y="135813"/>
                  <a:pt x="50038" y="139763"/>
                  <a:pt x="39243" y="145529"/>
                </a:cubicBezTo>
                <a:lnTo>
                  <a:pt x="35179" y="148005"/>
                </a:lnTo>
                <a:cubicBezTo>
                  <a:pt x="31115" y="148005"/>
                  <a:pt x="27305" y="148488"/>
                  <a:pt x="23876" y="149466"/>
                </a:cubicBezTo>
                <a:cubicBezTo>
                  <a:pt x="20447" y="150431"/>
                  <a:pt x="14097" y="152425"/>
                  <a:pt x="4572" y="155448"/>
                </a:cubicBezTo>
                <a:cubicBezTo>
                  <a:pt x="8509" y="147472"/>
                  <a:pt x="12319" y="141757"/>
                  <a:pt x="16002" y="138290"/>
                </a:cubicBezTo>
                <a:cubicBezTo>
                  <a:pt x="19558" y="134823"/>
                  <a:pt x="25019" y="130264"/>
                  <a:pt x="32258" y="124612"/>
                </a:cubicBezTo>
                <a:cubicBezTo>
                  <a:pt x="41148" y="117627"/>
                  <a:pt x="47244" y="112611"/>
                  <a:pt x="50292" y="109563"/>
                </a:cubicBezTo>
                <a:cubicBezTo>
                  <a:pt x="53340" y="106527"/>
                  <a:pt x="56261" y="102527"/>
                  <a:pt x="59055" y="97561"/>
                </a:cubicBezTo>
                <a:cubicBezTo>
                  <a:pt x="60325" y="94704"/>
                  <a:pt x="61595" y="90436"/>
                  <a:pt x="62484" y="84760"/>
                </a:cubicBezTo>
                <a:cubicBezTo>
                  <a:pt x="63500" y="79083"/>
                  <a:pt x="64008" y="71983"/>
                  <a:pt x="64008" y="63474"/>
                </a:cubicBezTo>
                <a:cubicBezTo>
                  <a:pt x="64008" y="48450"/>
                  <a:pt x="62738" y="38392"/>
                  <a:pt x="60198" y="33312"/>
                </a:cubicBezTo>
                <a:cubicBezTo>
                  <a:pt x="59309" y="31508"/>
                  <a:pt x="58420" y="30111"/>
                  <a:pt x="57404" y="29146"/>
                </a:cubicBezTo>
                <a:cubicBezTo>
                  <a:pt x="56388" y="28181"/>
                  <a:pt x="54483" y="26898"/>
                  <a:pt x="51562" y="25324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52" name="object 552"/>
          <p:cNvSpPr/>
          <p:nvPr/>
        </p:nvSpPr>
        <p:spPr>
          <a:xfrm>
            <a:off x="4950389" y="5655411"/>
            <a:ext cx="9143" cy="29756"/>
          </a:xfrm>
          <a:custGeom>
            <a:avLst/>
            <a:gdLst/>
            <a:ahLst/>
            <a:cxnLst/>
            <a:rect l="l" t="t" r="r" b="b"/>
            <a:pathLst>
              <a:path w="9143" h="29756">
                <a:moveTo>
                  <a:pt x="4572" y="25185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53" name="object 553"/>
          <p:cNvSpPr/>
          <p:nvPr/>
        </p:nvSpPr>
        <p:spPr>
          <a:xfrm>
            <a:off x="4950333" y="5655411"/>
            <a:ext cx="610870" cy="145974"/>
          </a:xfrm>
          <a:custGeom>
            <a:avLst/>
            <a:gdLst/>
            <a:ahLst/>
            <a:cxnLst/>
            <a:rect l="l" t="t" r="r" b="b"/>
            <a:pathLst>
              <a:path w="610870" h="145974">
                <a:moveTo>
                  <a:pt x="4572" y="4572"/>
                </a:moveTo>
                <a:moveTo>
                  <a:pt x="606298" y="14140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54" name="object 554"/>
          <p:cNvSpPr/>
          <p:nvPr/>
        </p:nvSpPr>
        <p:spPr>
          <a:xfrm>
            <a:off x="6524752" y="4868672"/>
            <a:ext cx="1066038" cy="156972"/>
          </a:xfrm>
          <a:custGeom>
            <a:avLst/>
            <a:gdLst/>
            <a:ahLst/>
            <a:cxnLst/>
            <a:rect l="l" t="t" r="r" b="b"/>
            <a:pathLst>
              <a:path w="1066038" h="156972">
                <a:moveTo>
                  <a:pt x="459994" y="101854"/>
                </a:moveTo>
                <a:cubicBezTo>
                  <a:pt x="455167" y="102235"/>
                  <a:pt x="449961" y="102743"/>
                  <a:pt x="444373" y="103378"/>
                </a:cubicBezTo>
                <a:cubicBezTo>
                  <a:pt x="438785" y="104140"/>
                  <a:pt x="434466" y="104902"/>
                  <a:pt x="431673" y="105918"/>
                </a:cubicBezTo>
                <a:cubicBezTo>
                  <a:pt x="428116" y="106934"/>
                  <a:pt x="425323" y="108585"/>
                  <a:pt x="423417" y="110744"/>
                </a:cubicBezTo>
                <a:cubicBezTo>
                  <a:pt x="421513" y="112903"/>
                  <a:pt x="420624" y="115697"/>
                  <a:pt x="420624" y="119126"/>
                </a:cubicBezTo>
                <a:cubicBezTo>
                  <a:pt x="420624" y="121412"/>
                  <a:pt x="420878" y="123317"/>
                  <a:pt x="421259" y="124841"/>
                </a:cubicBezTo>
                <a:cubicBezTo>
                  <a:pt x="421640" y="126238"/>
                  <a:pt x="422655" y="127635"/>
                  <a:pt x="424179" y="128905"/>
                </a:cubicBezTo>
                <a:cubicBezTo>
                  <a:pt x="425704" y="130302"/>
                  <a:pt x="427482" y="131191"/>
                  <a:pt x="429641" y="131826"/>
                </a:cubicBezTo>
                <a:cubicBezTo>
                  <a:pt x="431800" y="132461"/>
                  <a:pt x="435102" y="132842"/>
                  <a:pt x="439547" y="132842"/>
                </a:cubicBezTo>
                <a:cubicBezTo>
                  <a:pt x="443103" y="132842"/>
                  <a:pt x="446659" y="132080"/>
                  <a:pt x="450341" y="130556"/>
                </a:cubicBezTo>
                <a:cubicBezTo>
                  <a:pt x="454025" y="129159"/>
                  <a:pt x="457200" y="127254"/>
                  <a:pt x="459994" y="124841"/>
                </a:cubicBezTo>
                <a:close/>
                <a:moveTo>
                  <a:pt x="1008761" y="61595"/>
                </a:moveTo>
                <a:cubicBezTo>
                  <a:pt x="1001903" y="61595"/>
                  <a:pt x="996315" y="63373"/>
                  <a:pt x="991870" y="66929"/>
                </a:cubicBezTo>
                <a:cubicBezTo>
                  <a:pt x="987425" y="70485"/>
                  <a:pt x="984885" y="76200"/>
                  <a:pt x="984377" y="84074"/>
                </a:cubicBezTo>
                <a:lnTo>
                  <a:pt x="1030604" y="84074"/>
                </a:lnTo>
                <a:cubicBezTo>
                  <a:pt x="1030478" y="76581"/>
                  <a:pt x="1028573" y="70993"/>
                  <a:pt x="1025144" y="67310"/>
                </a:cubicBezTo>
                <a:cubicBezTo>
                  <a:pt x="1021588" y="63500"/>
                  <a:pt x="1016127" y="61595"/>
                  <a:pt x="1008761" y="61595"/>
                </a:cubicBezTo>
                <a:close/>
                <a:moveTo>
                  <a:pt x="242189" y="61595"/>
                </a:moveTo>
                <a:cubicBezTo>
                  <a:pt x="235330" y="61595"/>
                  <a:pt x="229742" y="63373"/>
                  <a:pt x="225298" y="66929"/>
                </a:cubicBezTo>
                <a:cubicBezTo>
                  <a:pt x="220853" y="70485"/>
                  <a:pt x="218313" y="76200"/>
                  <a:pt x="217804" y="84074"/>
                </a:cubicBezTo>
                <a:lnTo>
                  <a:pt x="264033" y="84074"/>
                </a:lnTo>
                <a:cubicBezTo>
                  <a:pt x="263905" y="76581"/>
                  <a:pt x="262001" y="70993"/>
                  <a:pt x="258572" y="67310"/>
                </a:cubicBezTo>
                <a:cubicBezTo>
                  <a:pt x="255016" y="63500"/>
                  <a:pt x="249554" y="61595"/>
                  <a:pt x="242189" y="61595"/>
                </a:cubicBezTo>
                <a:close/>
                <a:moveTo>
                  <a:pt x="743204" y="42799"/>
                </a:moveTo>
                <a:lnTo>
                  <a:pt x="779017" y="42799"/>
                </a:lnTo>
                <a:lnTo>
                  <a:pt x="779017" y="153924"/>
                </a:lnTo>
                <a:lnTo>
                  <a:pt x="743204" y="153924"/>
                </a:lnTo>
                <a:close/>
                <a:moveTo>
                  <a:pt x="885190" y="39751"/>
                </a:moveTo>
                <a:cubicBezTo>
                  <a:pt x="897254" y="39751"/>
                  <a:pt x="906526" y="43307"/>
                  <a:pt x="913384" y="50292"/>
                </a:cubicBezTo>
                <a:cubicBezTo>
                  <a:pt x="920115" y="57277"/>
                  <a:pt x="923416" y="67691"/>
                  <a:pt x="923416" y="81661"/>
                </a:cubicBezTo>
                <a:lnTo>
                  <a:pt x="923416" y="153924"/>
                </a:lnTo>
                <a:lnTo>
                  <a:pt x="887729" y="153924"/>
                </a:lnTo>
                <a:lnTo>
                  <a:pt x="887729" y="98806"/>
                </a:lnTo>
                <a:cubicBezTo>
                  <a:pt x="887729" y="94361"/>
                  <a:pt x="887476" y="89916"/>
                  <a:pt x="887095" y="85471"/>
                </a:cubicBezTo>
                <a:cubicBezTo>
                  <a:pt x="886587" y="81026"/>
                  <a:pt x="885825" y="77724"/>
                  <a:pt x="884682" y="75565"/>
                </a:cubicBezTo>
                <a:cubicBezTo>
                  <a:pt x="883285" y="73152"/>
                  <a:pt x="881379" y="71374"/>
                  <a:pt x="878840" y="70231"/>
                </a:cubicBezTo>
                <a:cubicBezTo>
                  <a:pt x="876300" y="69088"/>
                  <a:pt x="872744" y="68580"/>
                  <a:pt x="868299" y="68580"/>
                </a:cubicBezTo>
                <a:cubicBezTo>
                  <a:pt x="864997" y="68580"/>
                  <a:pt x="861695" y="69088"/>
                  <a:pt x="858392" y="70104"/>
                </a:cubicBezTo>
                <a:cubicBezTo>
                  <a:pt x="855091" y="71247"/>
                  <a:pt x="851408" y="72898"/>
                  <a:pt x="847598" y="75184"/>
                </a:cubicBezTo>
                <a:lnTo>
                  <a:pt x="847598" y="153924"/>
                </a:lnTo>
                <a:lnTo>
                  <a:pt x="811784" y="153924"/>
                </a:lnTo>
                <a:lnTo>
                  <a:pt x="811784" y="42799"/>
                </a:lnTo>
                <a:lnTo>
                  <a:pt x="847598" y="42799"/>
                </a:lnTo>
                <a:lnTo>
                  <a:pt x="847598" y="55118"/>
                </a:lnTo>
                <a:cubicBezTo>
                  <a:pt x="853821" y="50165"/>
                  <a:pt x="859916" y="46355"/>
                  <a:pt x="865759" y="43688"/>
                </a:cubicBezTo>
                <a:cubicBezTo>
                  <a:pt x="871601" y="41021"/>
                  <a:pt x="878078" y="39751"/>
                  <a:pt x="885190" y="39751"/>
                </a:cubicBezTo>
                <a:close/>
                <a:moveTo>
                  <a:pt x="600202" y="39751"/>
                </a:moveTo>
                <a:cubicBezTo>
                  <a:pt x="607441" y="39751"/>
                  <a:pt x="613917" y="41402"/>
                  <a:pt x="619505" y="44704"/>
                </a:cubicBezTo>
                <a:cubicBezTo>
                  <a:pt x="625094" y="47879"/>
                  <a:pt x="629539" y="52705"/>
                  <a:pt x="632714" y="59055"/>
                </a:cubicBezTo>
                <a:cubicBezTo>
                  <a:pt x="639826" y="53086"/>
                  <a:pt x="646684" y="48387"/>
                  <a:pt x="653415" y="44958"/>
                </a:cubicBezTo>
                <a:cubicBezTo>
                  <a:pt x="660146" y="41529"/>
                  <a:pt x="666750" y="39751"/>
                  <a:pt x="673227" y="39751"/>
                </a:cubicBezTo>
                <a:cubicBezTo>
                  <a:pt x="685165" y="39751"/>
                  <a:pt x="694309" y="43307"/>
                  <a:pt x="700532" y="50546"/>
                </a:cubicBezTo>
                <a:cubicBezTo>
                  <a:pt x="706754" y="57785"/>
                  <a:pt x="709929" y="68072"/>
                  <a:pt x="709929" y="81661"/>
                </a:cubicBezTo>
                <a:lnTo>
                  <a:pt x="709929" y="153924"/>
                </a:lnTo>
                <a:lnTo>
                  <a:pt x="674116" y="153924"/>
                </a:lnTo>
                <a:lnTo>
                  <a:pt x="674116" y="98425"/>
                </a:lnTo>
                <a:cubicBezTo>
                  <a:pt x="674116" y="92964"/>
                  <a:pt x="673989" y="88392"/>
                  <a:pt x="673735" y="84582"/>
                </a:cubicBezTo>
                <a:cubicBezTo>
                  <a:pt x="673608" y="80772"/>
                  <a:pt x="672846" y="77724"/>
                  <a:pt x="671703" y="75438"/>
                </a:cubicBezTo>
                <a:cubicBezTo>
                  <a:pt x="670560" y="73025"/>
                  <a:pt x="668782" y="71247"/>
                  <a:pt x="666369" y="70231"/>
                </a:cubicBezTo>
                <a:cubicBezTo>
                  <a:pt x="663829" y="69088"/>
                  <a:pt x="660400" y="68580"/>
                  <a:pt x="656082" y="68580"/>
                </a:cubicBezTo>
                <a:cubicBezTo>
                  <a:pt x="653034" y="68580"/>
                  <a:pt x="650113" y="69088"/>
                  <a:pt x="647319" y="70104"/>
                </a:cubicBezTo>
                <a:cubicBezTo>
                  <a:pt x="644525" y="71120"/>
                  <a:pt x="640969" y="72771"/>
                  <a:pt x="636904" y="75184"/>
                </a:cubicBezTo>
                <a:lnTo>
                  <a:pt x="636904" y="153924"/>
                </a:lnTo>
                <a:lnTo>
                  <a:pt x="601217" y="153924"/>
                </a:lnTo>
                <a:lnTo>
                  <a:pt x="601217" y="98425"/>
                </a:lnTo>
                <a:cubicBezTo>
                  <a:pt x="601217" y="93091"/>
                  <a:pt x="601091" y="88392"/>
                  <a:pt x="600837" y="84582"/>
                </a:cubicBezTo>
                <a:cubicBezTo>
                  <a:pt x="600583" y="80899"/>
                  <a:pt x="599821" y="77724"/>
                  <a:pt x="598678" y="75438"/>
                </a:cubicBezTo>
                <a:cubicBezTo>
                  <a:pt x="597408" y="73025"/>
                  <a:pt x="595629" y="71247"/>
                  <a:pt x="593216" y="70231"/>
                </a:cubicBezTo>
                <a:cubicBezTo>
                  <a:pt x="590804" y="69088"/>
                  <a:pt x="587502" y="68580"/>
                  <a:pt x="583057" y="68580"/>
                </a:cubicBezTo>
                <a:cubicBezTo>
                  <a:pt x="579628" y="68580"/>
                  <a:pt x="576199" y="69215"/>
                  <a:pt x="572897" y="70739"/>
                </a:cubicBezTo>
                <a:cubicBezTo>
                  <a:pt x="569595" y="72136"/>
                  <a:pt x="566674" y="73660"/>
                  <a:pt x="564007" y="75184"/>
                </a:cubicBezTo>
                <a:lnTo>
                  <a:pt x="564007" y="153924"/>
                </a:lnTo>
                <a:lnTo>
                  <a:pt x="528320" y="153924"/>
                </a:lnTo>
                <a:lnTo>
                  <a:pt x="528320" y="42799"/>
                </a:lnTo>
                <a:lnTo>
                  <a:pt x="564007" y="42799"/>
                </a:lnTo>
                <a:lnTo>
                  <a:pt x="564007" y="55118"/>
                </a:lnTo>
                <a:cubicBezTo>
                  <a:pt x="570103" y="50292"/>
                  <a:pt x="575945" y="46482"/>
                  <a:pt x="581533" y="43815"/>
                </a:cubicBezTo>
                <a:cubicBezTo>
                  <a:pt x="587248" y="41148"/>
                  <a:pt x="593344" y="39751"/>
                  <a:pt x="600202" y="39751"/>
                </a:cubicBezTo>
                <a:close/>
                <a:moveTo>
                  <a:pt x="437896" y="39624"/>
                </a:moveTo>
                <a:cubicBezTo>
                  <a:pt x="458216" y="39624"/>
                  <a:pt x="472821" y="42799"/>
                  <a:pt x="481838" y="49022"/>
                </a:cubicBezTo>
                <a:cubicBezTo>
                  <a:pt x="490854" y="55245"/>
                  <a:pt x="495300" y="65024"/>
                  <a:pt x="495300" y="78359"/>
                </a:cubicBezTo>
                <a:lnTo>
                  <a:pt x="495300" y="153924"/>
                </a:lnTo>
                <a:lnTo>
                  <a:pt x="459994" y="153924"/>
                </a:lnTo>
                <a:lnTo>
                  <a:pt x="459994" y="142240"/>
                </a:lnTo>
                <a:cubicBezTo>
                  <a:pt x="458089" y="143637"/>
                  <a:pt x="455676" y="145415"/>
                  <a:pt x="452882" y="147447"/>
                </a:cubicBezTo>
                <a:cubicBezTo>
                  <a:pt x="450088" y="149479"/>
                  <a:pt x="447421" y="151130"/>
                  <a:pt x="444880" y="152273"/>
                </a:cubicBezTo>
                <a:cubicBezTo>
                  <a:pt x="441325" y="153924"/>
                  <a:pt x="437769" y="155067"/>
                  <a:pt x="433959" y="155829"/>
                </a:cubicBezTo>
                <a:cubicBezTo>
                  <a:pt x="430276" y="156591"/>
                  <a:pt x="426085" y="156972"/>
                  <a:pt x="421640" y="156972"/>
                </a:cubicBezTo>
                <a:cubicBezTo>
                  <a:pt x="411099" y="156972"/>
                  <a:pt x="402209" y="153670"/>
                  <a:pt x="395097" y="147193"/>
                </a:cubicBezTo>
                <a:cubicBezTo>
                  <a:pt x="387985" y="140589"/>
                  <a:pt x="384429" y="132207"/>
                  <a:pt x="384429" y="122047"/>
                </a:cubicBezTo>
                <a:cubicBezTo>
                  <a:pt x="384429" y="114046"/>
                  <a:pt x="386207" y="107315"/>
                  <a:pt x="389890" y="102235"/>
                </a:cubicBezTo>
                <a:cubicBezTo>
                  <a:pt x="393446" y="97028"/>
                  <a:pt x="398653" y="92964"/>
                  <a:pt x="405257" y="90043"/>
                </a:cubicBezTo>
                <a:cubicBezTo>
                  <a:pt x="411861" y="87122"/>
                  <a:pt x="420116" y="84963"/>
                  <a:pt x="429895" y="83693"/>
                </a:cubicBezTo>
                <a:cubicBezTo>
                  <a:pt x="439547" y="82423"/>
                  <a:pt x="449707" y="81534"/>
                  <a:pt x="460248" y="80899"/>
                </a:cubicBezTo>
                <a:lnTo>
                  <a:pt x="460248" y="80391"/>
                </a:lnTo>
                <a:cubicBezTo>
                  <a:pt x="460248" y="74168"/>
                  <a:pt x="457708" y="69977"/>
                  <a:pt x="452754" y="67564"/>
                </a:cubicBezTo>
                <a:cubicBezTo>
                  <a:pt x="447675" y="65278"/>
                  <a:pt x="440309" y="64135"/>
                  <a:pt x="430529" y="64135"/>
                </a:cubicBezTo>
                <a:cubicBezTo>
                  <a:pt x="424688" y="64135"/>
                  <a:pt x="418338" y="65151"/>
                  <a:pt x="411734" y="67183"/>
                </a:cubicBezTo>
                <a:cubicBezTo>
                  <a:pt x="405003" y="69342"/>
                  <a:pt x="400304" y="70866"/>
                  <a:pt x="397383" y="72009"/>
                </a:cubicBezTo>
                <a:lnTo>
                  <a:pt x="394080" y="72009"/>
                </a:lnTo>
                <a:lnTo>
                  <a:pt x="394080" y="45212"/>
                </a:lnTo>
                <a:cubicBezTo>
                  <a:pt x="397891" y="44196"/>
                  <a:pt x="403987" y="43053"/>
                  <a:pt x="412496" y="41656"/>
                </a:cubicBezTo>
                <a:cubicBezTo>
                  <a:pt x="421004" y="40386"/>
                  <a:pt x="429387" y="39624"/>
                  <a:pt x="437896" y="39624"/>
                </a:cubicBezTo>
                <a:close/>
                <a:moveTo>
                  <a:pt x="1011682" y="39370"/>
                </a:moveTo>
                <a:cubicBezTo>
                  <a:pt x="1029716" y="39370"/>
                  <a:pt x="1043304" y="43942"/>
                  <a:pt x="1052449" y="53086"/>
                </a:cubicBezTo>
                <a:cubicBezTo>
                  <a:pt x="1061466" y="62230"/>
                  <a:pt x="1066038" y="75311"/>
                  <a:pt x="1066038" y="92456"/>
                </a:cubicBezTo>
                <a:lnTo>
                  <a:pt x="1066038" y="105029"/>
                </a:lnTo>
                <a:lnTo>
                  <a:pt x="984504" y="105029"/>
                </a:lnTo>
                <a:cubicBezTo>
                  <a:pt x="985012" y="113665"/>
                  <a:pt x="988314" y="120396"/>
                  <a:pt x="994410" y="124968"/>
                </a:cubicBezTo>
                <a:cubicBezTo>
                  <a:pt x="1000505" y="129540"/>
                  <a:pt x="1009523" y="131953"/>
                  <a:pt x="1021461" y="131953"/>
                </a:cubicBezTo>
                <a:cubicBezTo>
                  <a:pt x="1028954" y="131953"/>
                  <a:pt x="1036192" y="130556"/>
                  <a:pt x="1043304" y="127889"/>
                </a:cubicBezTo>
                <a:cubicBezTo>
                  <a:pt x="1050416" y="125095"/>
                  <a:pt x="1055878" y="122174"/>
                  <a:pt x="1060069" y="119126"/>
                </a:cubicBezTo>
                <a:lnTo>
                  <a:pt x="1064005" y="119126"/>
                </a:lnTo>
                <a:lnTo>
                  <a:pt x="1064005" y="147701"/>
                </a:lnTo>
                <a:cubicBezTo>
                  <a:pt x="1055878" y="151003"/>
                  <a:pt x="1048385" y="153289"/>
                  <a:pt x="1041273" y="154813"/>
                </a:cubicBezTo>
                <a:cubicBezTo>
                  <a:pt x="1034034" y="156210"/>
                  <a:pt x="1026160" y="156972"/>
                  <a:pt x="1017524" y="156972"/>
                </a:cubicBezTo>
                <a:cubicBezTo>
                  <a:pt x="995299" y="156972"/>
                  <a:pt x="978154" y="151892"/>
                  <a:pt x="966342" y="141859"/>
                </a:cubicBezTo>
                <a:cubicBezTo>
                  <a:pt x="954404" y="131826"/>
                  <a:pt x="948436" y="117602"/>
                  <a:pt x="948436" y="99060"/>
                </a:cubicBezTo>
                <a:cubicBezTo>
                  <a:pt x="948436" y="80645"/>
                  <a:pt x="954151" y="66167"/>
                  <a:pt x="965327" y="55499"/>
                </a:cubicBezTo>
                <a:cubicBezTo>
                  <a:pt x="976629" y="44704"/>
                  <a:pt x="991997" y="39370"/>
                  <a:pt x="1011682" y="39370"/>
                </a:cubicBezTo>
                <a:close/>
                <a:moveTo>
                  <a:pt x="245110" y="39370"/>
                </a:moveTo>
                <a:cubicBezTo>
                  <a:pt x="263144" y="39370"/>
                  <a:pt x="276733" y="43942"/>
                  <a:pt x="285877" y="53086"/>
                </a:cubicBezTo>
                <a:cubicBezTo>
                  <a:pt x="294894" y="62230"/>
                  <a:pt x="299466" y="75311"/>
                  <a:pt x="299466" y="92456"/>
                </a:cubicBezTo>
                <a:lnTo>
                  <a:pt x="299466" y="105029"/>
                </a:lnTo>
                <a:lnTo>
                  <a:pt x="217932" y="105029"/>
                </a:lnTo>
                <a:cubicBezTo>
                  <a:pt x="218440" y="113665"/>
                  <a:pt x="221741" y="120396"/>
                  <a:pt x="227838" y="124968"/>
                </a:cubicBezTo>
                <a:cubicBezTo>
                  <a:pt x="233934" y="129540"/>
                  <a:pt x="242951" y="131953"/>
                  <a:pt x="254889" y="131953"/>
                </a:cubicBezTo>
                <a:cubicBezTo>
                  <a:pt x="262382" y="131953"/>
                  <a:pt x="269621" y="130556"/>
                  <a:pt x="276733" y="127889"/>
                </a:cubicBezTo>
                <a:cubicBezTo>
                  <a:pt x="283845" y="125095"/>
                  <a:pt x="289305" y="122174"/>
                  <a:pt x="293497" y="119126"/>
                </a:cubicBezTo>
                <a:lnTo>
                  <a:pt x="297434" y="119126"/>
                </a:lnTo>
                <a:lnTo>
                  <a:pt x="297434" y="147701"/>
                </a:lnTo>
                <a:cubicBezTo>
                  <a:pt x="289305" y="151003"/>
                  <a:pt x="281813" y="153289"/>
                  <a:pt x="274701" y="154813"/>
                </a:cubicBezTo>
                <a:cubicBezTo>
                  <a:pt x="267462" y="156210"/>
                  <a:pt x="259588" y="156972"/>
                  <a:pt x="250952" y="156972"/>
                </a:cubicBezTo>
                <a:cubicBezTo>
                  <a:pt x="228727" y="156972"/>
                  <a:pt x="211582" y="151892"/>
                  <a:pt x="199771" y="141859"/>
                </a:cubicBezTo>
                <a:cubicBezTo>
                  <a:pt x="187833" y="131826"/>
                  <a:pt x="181864" y="117602"/>
                  <a:pt x="181864" y="99060"/>
                </a:cubicBezTo>
                <a:cubicBezTo>
                  <a:pt x="181864" y="80645"/>
                  <a:pt x="187579" y="66167"/>
                  <a:pt x="198754" y="55499"/>
                </a:cubicBezTo>
                <a:cubicBezTo>
                  <a:pt x="210058" y="44704"/>
                  <a:pt x="225425" y="39370"/>
                  <a:pt x="245110" y="39370"/>
                </a:cubicBezTo>
                <a:close/>
                <a:moveTo>
                  <a:pt x="0" y="6604"/>
                </a:moveTo>
                <a:lnTo>
                  <a:pt x="44069" y="6604"/>
                </a:lnTo>
                <a:lnTo>
                  <a:pt x="77342" y="80518"/>
                </a:lnTo>
                <a:lnTo>
                  <a:pt x="110363" y="6604"/>
                </a:lnTo>
                <a:lnTo>
                  <a:pt x="154432" y="6604"/>
                </a:lnTo>
                <a:lnTo>
                  <a:pt x="154432" y="153924"/>
                </a:lnTo>
                <a:lnTo>
                  <a:pt x="116713" y="153924"/>
                </a:lnTo>
                <a:lnTo>
                  <a:pt x="116713" y="55245"/>
                </a:lnTo>
                <a:lnTo>
                  <a:pt x="89408" y="119380"/>
                </a:lnTo>
                <a:lnTo>
                  <a:pt x="63119" y="119380"/>
                </a:lnTo>
                <a:lnTo>
                  <a:pt x="35814" y="55245"/>
                </a:lnTo>
                <a:lnTo>
                  <a:pt x="35814" y="153924"/>
                </a:lnTo>
                <a:lnTo>
                  <a:pt x="0" y="153924"/>
                </a:lnTo>
                <a:close/>
                <a:moveTo>
                  <a:pt x="742315" y="0"/>
                </a:moveTo>
                <a:lnTo>
                  <a:pt x="779907" y="0"/>
                </a:lnTo>
                <a:lnTo>
                  <a:pt x="779907" y="27051"/>
                </a:lnTo>
                <a:lnTo>
                  <a:pt x="742315" y="27051"/>
                </a:lnTo>
                <a:close/>
                <a:moveTo>
                  <a:pt x="324104" y="0"/>
                </a:moveTo>
                <a:lnTo>
                  <a:pt x="359917" y="0"/>
                </a:lnTo>
                <a:lnTo>
                  <a:pt x="359917" y="153924"/>
                </a:lnTo>
                <a:lnTo>
                  <a:pt x="324104" y="15392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55" name="object 555"/>
          <p:cNvSpPr/>
          <p:nvPr/>
        </p:nvSpPr>
        <p:spPr>
          <a:xfrm>
            <a:off x="6980230" y="4965954"/>
            <a:ext cx="9143" cy="9144"/>
          </a:xfrm>
          <a:custGeom>
            <a:avLst/>
            <a:gdLst/>
            <a:ahLst/>
            <a:cxnLst/>
            <a:rect l="l" t="t" r="r" b="b"/>
            <a:pathLst>
              <a:path w="9143" h="9144"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56" name="object 556"/>
          <p:cNvSpPr/>
          <p:nvPr/>
        </p:nvSpPr>
        <p:spPr>
          <a:xfrm>
            <a:off x="6940808" y="4965954"/>
            <a:ext cx="48513" cy="40132"/>
          </a:xfrm>
          <a:custGeom>
            <a:avLst/>
            <a:gdLst/>
            <a:ahLst/>
            <a:cxnLst/>
            <a:rect l="l" t="t" r="r" b="b"/>
            <a:pathLst>
              <a:path w="48513" h="40132">
                <a:moveTo>
                  <a:pt x="43942" y="4572"/>
                </a:moveTo>
                <a:cubicBezTo>
                  <a:pt x="39115" y="4953"/>
                  <a:pt x="33909" y="5461"/>
                  <a:pt x="28321" y="6096"/>
                </a:cubicBezTo>
                <a:cubicBezTo>
                  <a:pt x="22733" y="6858"/>
                  <a:pt x="18414" y="7620"/>
                  <a:pt x="15621" y="8636"/>
                </a:cubicBezTo>
                <a:cubicBezTo>
                  <a:pt x="12064" y="9652"/>
                  <a:pt x="9271" y="11303"/>
                  <a:pt x="7365" y="13462"/>
                </a:cubicBezTo>
                <a:cubicBezTo>
                  <a:pt x="5461" y="15621"/>
                  <a:pt x="4572" y="18415"/>
                  <a:pt x="4572" y="21844"/>
                </a:cubicBezTo>
                <a:cubicBezTo>
                  <a:pt x="4572" y="24130"/>
                  <a:pt x="4826" y="26035"/>
                  <a:pt x="5207" y="27559"/>
                </a:cubicBezTo>
                <a:cubicBezTo>
                  <a:pt x="5588" y="28956"/>
                  <a:pt x="6603" y="30353"/>
                  <a:pt x="8127" y="31623"/>
                </a:cubicBezTo>
                <a:cubicBezTo>
                  <a:pt x="9652" y="33020"/>
                  <a:pt x="11430" y="33909"/>
                  <a:pt x="13589" y="34544"/>
                </a:cubicBezTo>
                <a:cubicBezTo>
                  <a:pt x="15748" y="35179"/>
                  <a:pt x="19050" y="35560"/>
                  <a:pt x="23495" y="35560"/>
                </a:cubicBezTo>
                <a:cubicBezTo>
                  <a:pt x="27051" y="35560"/>
                  <a:pt x="30607" y="34798"/>
                  <a:pt x="34289" y="33274"/>
                </a:cubicBezTo>
                <a:cubicBezTo>
                  <a:pt x="37973" y="31877"/>
                  <a:pt x="41148" y="29972"/>
                  <a:pt x="43942" y="27559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57" name="object 557"/>
          <p:cNvSpPr/>
          <p:nvPr/>
        </p:nvSpPr>
        <p:spPr>
          <a:xfrm>
            <a:off x="6980181" y="4925695"/>
            <a:ext cx="557911" cy="72390"/>
          </a:xfrm>
          <a:custGeom>
            <a:avLst/>
            <a:gdLst/>
            <a:ahLst/>
            <a:cxnLst/>
            <a:rect l="l" t="t" r="r" b="b"/>
            <a:pathLst>
              <a:path w="557911" h="72390">
                <a:moveTo>
                  <a:pt x="4572" y="67818"/>
                </a:moveTo>
                <a:moveTo>
                  <a:pt x="4572" y="44831"/>
                </a:moveTo>
                <a:moveTo>
                  <a:pt x="553339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58" name="object 558"/>
          <p:cNvSpPr/>
          <p:nvPr/>
        </p:nvSpPr>
        <p:spPr>
          <a:xfrm>
            <a:off x="7504613" y="4925807"/>
            <a:ext cx="33527" cy="31623"/>
          </a:xfrm>
          <a:custGeom>
            <a:avLst/>
            <a:gdLst/>
            <a:ahLst/>
            <a:cxnLst/>
            <a:rect l="l" t="t" r="r" b="b"/>
            <a:pathLst>
              <a:path w="33527" h="31623">
                <a:moveTo>
                  <a:pt x="28956" y="4572"/>
                </a:moveTo>
                <a:cubicBezTo>
                  <a:pt x="22098" y="4572"/>
                  <a:pt x="16510" y="6350"/>
                  <a:pt x="12065" y="9906"/>
                </a:cubicBezTo>
                <a:cubicBezTo>
                  <a:pt x="7620" y="13462"/>
                  <a:pt x="5080" y="19177"/>
                  <a:pt x="4572" y="27051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59" name="object 559"/>
          <p:cNvSpPr/>
          <p:nvPr/>
        </p:nvSpPr>
        <p:spPr>
          <a:xfrm>
            <a:off x="7504570" y="4948174"/>
            <a:ext cx="55371" cy="9144"/>
          </a:xfrm>
          <a:custGeom>
            <a:avLst/>
            <a:gdLst/>
            <a:ahLst/>
            <a:cxnLst/>
            <a:rect l="l" t="t" r="r" b="b"/>
            <a:pathLst>
              <a:path w="55371" h="9144">
                <a:moveTo>
                  <a:pt x="4572" y="4572"/>
                </a:moveTo>
                <a:lnTo>
                  <a:pt x="50799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60" name="object 560"/>
          <p:cNvSpPr/>
          <p:nvPr/>
        </p:nvSpPr>
        <p:spPr>
          <a:xfrm>
            <a:off x="6737985" y="4925807"/>
            <a:ext cx="821943" cy="49403"/>
          </a:xfrm>
          <a:custGeom>
            <a:avLst/>
            <a:gdLst/>
            <a:ahLst/>
            <a:cxnLst/>
            <a:rect l="l" t="t" r="r" b="b"/>
            <a:pathLst>
              <a:path w="821943" h="49403">
                <a:moveTo>
                  <a:pt x="817371" y="27051"/>
                </a:moveTo>
                <a:cubicBezTo>
                  <a:pt x="817245" y="19558"/>
                  <a:pt x="815340" y="13970"/>
                  <a:pt x="811911" y="10287"/>
                </a:cubicBezTo>
                <a:cubicBezTo>
                  <a:pt x="808355" y="6477"/>
                  <a:pt x="802894" y="4572"/>
                  <a:pt x="795528" y="4572"/>
                </a:cubicBezTo>
                <a:moveTo>
                  <a:pt x="246761" y="44831"/>
                </a:moveTo>
                <a:moveTo>
                  <a:pt x="28956" y="4572"/>
                </a:moveTo>
                <a:cubicBezTo>
                  <a:pt x="22097" y="4572"/>
                  <a:pt x="16509" y="6350"/>
                  <a:pt x="12065" y="9906"/>
                </a:cubicBezTo>
                <a:cubicBezTo>
                  <a:pt x="7620" y="13462"/>
                  <a:pt x="5080" y="19177"/>
                  <a:pt x="4571" y="27051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61" name="object 561"/>
          <p:cNvSpPr/>
          <p:nvPr/>
        </p:nvSpPr>
        <p:spPr>
          <a:xfrm>
            <a:off x="6738041" y="4948174"/>
            <a:ext cx="55371" cy="9144"/>
          </a:xfrm>
          <a:custGeom>
            <a:avLst/>
            <a:gdLst/>
            <a:ahLst/>
            <a:cxnLst/>
            <a:rect l="l" t="t" r="r" b="b"/>
            <a:pathLst>
              <a:path w="55371" h="9144">
                <a:moveTo>
                  <a:pt x="4571" y="4572"/>
                </a:moveTo>
                <a:lnTo>
                  <a:pt x="50800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62" name="object 562"/>
          <p:cNvSpPr/>
          <p:nvPr/>
        </p:nvSpPr>
        <p:spPr>
          <a:xfrm>
            <a:off x="6762371" y="4907011"/>
            <a:ext cx="510158" cy="68199"/>
          </a:xfrm>
          <a:custGeom>
            <a:avLst/>
            <a:gdLst/>
            <a:ahLst/>
            <a:cxnLst/>
            <a:rect l="l" t="t" r="r" b="b"/>
            <a:pathLst>
              <a:path w="510158" h="68199">
                <a:moveTo>
                  <a:pt x="26416" y="45847"/>
                </a:moveTo>
                <a:cubicBezTo>
                  <a:pt x="26288" y="38354"/>
                  <a:pt x="24384" y="32766"/>
                  <a:pt x="20955" y="29083"/>
                </a:cubicBezTo>
                <a:cubicBezTo>
                  <a:pt x="17399" y="25273"/>
                  <a:pt x="11937" y="23368"/>
                  <a:pt x="4572" y="23368"/>
                </a:cubicBezTo>
                <a:moveTo>
                  <a:pt x="222377" y="63627"/>
                </a:moveTo>
                <a:moveTo>
                  <a:pt x="505587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63" name="object 563"/>
          <p:cNvSpPr/>
          <p:nvPr/>
        </p:nvSpPr>
        <p:spPr>
          <a:xfrm>
            <a:off x="7263440" y="4907011"/>
            <a:ext cx="44957" cy="120269"/>
          </a:xfrm>
          <a:custGeom>
            <a:avLst/>
            <a:gdLst/>
            <a:ahLst/>
            <a:cxnLst/>
            <a:rect l="l" t="t" r="r" b="b"/>
            <a:pathLst>
              <a:path w="44957" h="120269">
                <a:moveTo>
                  <a:pt x="4572" y="4572"/>
                </a:moveTo>
                <a:lnTo>
                  <a:pt x="40385" y="4572"/>
                </a:lnTo>
                <a:lnTo>
                  <a:pt x="40385" y="115697"/>
                </a:lnTo>
                <a:lnTo>
                  <a:pt x="4572" y="115697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64" name="object 564"/>
          <p:cNvSpPr/>
          <p:nvPr/>
        </p:nvSpPr>
        <p:spPr>
          <a:xfrm>
            <a:off x="6980175" y="4903963"/>
            <a:ext cx="472566" cy="123317"/>
          </a:xfrm>
          <a:custGeom>
            <a:avLst/>
            <a:gdLst/>
            <a:ahLst/>
            <a:cxnLst/>
            <a:rect l="l" t="t" r="r" b="b"/>
            <a:pathLst>
              <a:path w="472566" h="123317">
                <a:moveTo>
                  <a:pt x="287782" y="118745"/>
                </a:moveTo>
                <a:moveTo>
                  <a:pt x="4572" y="66675"/>
                </a:moveTo>
                <a:moveTo>
                  <a:pt x="429768" y="4572"/>
                </a:moveTo>
                <a:cubicBezTo>
                  <a:pt x="441832" y="4572"/>
                  <a:pt x="451104" y="8128"/>
                  <a:pt x="457962" y="15113"/>
                </a:cubicBezTo>
                <a:cubicBezTo>
                  <a:pt x="464693" y="22098"/>
                  <a:pt x="467994" y="32512"/>
                  <a:pt x="467994" y="4648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65" name="object 565"/>
          <p:cNvSpPr/>
          <p:nvPr/>
        </p:nvSpPr>
        <p:spPr>
          <a:xfrm>
            <a:off x="7407910" y="4945873"/>
            <a:ext cx="44830" cy="81407"/>
          </a:xfrm>
          <a:custGeom>
            <a:avLst/>
            <a:gdLst/>
            <a:ahLst/>
            <a:cxnLst/>
            <a:rect l="l" t="t" r="r" b="b"/>
            <a:pathLst>
              <a:path w="44830" h="81407">
                <a:moveTo>
                  <a:pt x="40258" y="4572"/>
                </a:moveTo>
                <a:lnTo>
                  <a:pt x="40258" y="76835"/>
                </a:lnTo>
                <a:lnTo>
                  <a:pt x="4571" y="76835"/>
                </a:lnTo>
                <a:lnTo>
                  <a:pt x="4571" y="21717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66" name="object 566"/>
          <p:cNvSpPr/>
          <p:nvPr/>
        </p:nvSpPr>
        <p:spPr>
          <a:xfrm>
            <a:off x="7367834" y="4932680"/>
            <a:ext cx="49275" cy="39370"/>
          </a:xfrm>
          <a:custGeom>
            <a:avLst/>
            <a:gdLst/>
            <a:ahLst/>
            <a:cxnLst/>
            <a:rect l="l" t="t" r="r" b="b"/>
            <a:pathLst>
              <a:path w="49275" h="39370">
                <a:moveTo>
                  <a:pt x="44703" y="34798"/>
                </a:moveTo>
                <a:cubicBezTo>
                  <a:pt x="44703" y="30353"/>
                  <a:pt x="44450" y="25908"/>
                  <a:pt x="44069" y="21463"/>
                </a:cubicBezTo>
                <a:cubicBezTo>
                  <a:pt x="43561" y="17018"/>
                  <a:pt x="42799" y="13716"/>
                  <a:pt x="41656" y="11557"/>
                </a:cubicBezTo>
                <a:cubicBezTo>
                  <a:pt x="40259" y="9144"/>
                  <a:pt x="38353" y="7366"/>
                  <a:pt x="35814" y="6223"/>
                </a:cubicBezTo>
                <a:cubicBezTo>
                  <a:pt x="33274" y="5080"/>
                  <a:pt x="29718" y="4572"/>
                  <a:pt x="25273" y="4572"/>
                </a:cubicBezTo>
                <a:cubicBezTo>
                  <a:pt x="21971" y="4572"/>
                  <a:pt x="18669" y="5080"/>
                  <a:pt x="15366" y="6096"/>
                </a:cubicBezTo>
                <a:cubicBezTo>
                  <a:pt x="12065" y="7239"/>
                  <a:pt x="8382" y="8890"/>
                  <a:pt x="4572" y="11176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67" name="object 567"/>
          <p:cNvSpPr/>
          <p:nvPr/>
        </p:nvSpPr>
        <p:spPr>
          <a:xfrm>
            <a:off x="7331967" y="4907011"/>
            <a:ext cx="44958" cy="120269"/>
          </a:xfrm>
          <a:custGeom>
            <a:avLst/>
            <a:gdLst/>
            <a:ahLst/>
            <a:cxnLst/>
            <a:rect l="l" t="t" r="r" b="b"/>
            <a:pathLst>
              <a:path w="44958" h="120269">
                <a:moveTo>
                  <a:pt x="40386" y="36957"/>
                </a:moveTo>
                <a:lnTo>
                  <a:pt x="40386" y="115697"/>
                </a:lnTo>
                <a:lnTo>
                  <a:pt x="4572" y="115697"/>
                </a:lnTo>
                <a:lnTo>
                  <a:pt x="4572" y="4572"/>
                </a:lnTo>
                <a:lnTo>
                  <a:pt x="40386" y="4572"/>
                </a:lnTo>
                <a:lnTo>
                  <a:pt x="40386" y="1689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68" name="object 568"/>
          <p:cNvSpPr/>
          <p:nvPr/>
        </p:nvSpPr>
        <p:spPr>
          <a:xfrm>
            <a:off x="6980174" y="4903963"/>
            <a:ext cx="434340" cy="71247"/>
          </a:xfrm>
          <a:custGeom>
            <a:avLst/>
            <a:gdLst/>
            <a:ahLst/>
            <a:cxnLst/>
            <a:rect l="l" t="t" r="r" b="b"/>
            <a:pathLst>
              <a:path w="434340" h="71247">
                <a:moveTo>
                  <a:pt x="392176" y="19939"/>
                </a:moveTo>
                <a:cubicBezTo>
                  <a:pt x="398399" y="14986"/>
                  <a:pt x="404494" y="11176"/>
                  <a:pt x="410337" y="8509"/>
                </a:cubicBezTo>
                <a:cubicBezTo>
                  <a:pt x="416179" y="5842"/>
                  <a:pt x="422656" y="4572"/>
                  <a:pt x="429768" y="4572"/>
                </a:cubicBezTo>
                <a:moveTo>
                  <a:pt x="4572" y="66675"/>
                </a:moveTo>
                <a:moveTo>
                  <a:pt x="144780" y="4572"/>
                </a:moveTo>
                <a:cubicBezTo>
                  <a:pt x="152019" y="4572"/>
                  <a:pt x="158495" y="6223"/>
                  <a:pt x="164083" y="9525"/>
                </a:cubicBezTo>
                <a:cubicBezTo>
                  <a:pt x="169672" y="12700"/>
                  <a:pt x="174117" y="17526"/>
                  <a:pt x="177292" y="23876"/>
                </a:cubicBezTo>
                <a:cubicBezTo>
                  <a:pt x="184404" y="17907"/>
                  <a:pt x="191262" y="13208"/>
                  <a:pt x="197993" y="9779"/>
                </a:cubicBezTo>
                <a:cubicBezTo>
                  <a:pt x="204724" y="6350"/>
                  <a:pt x="211328" y="4572"/>
                  <a:pt x="217805" y="4572"/>
                </a:cubicBezTo>
                <a:cubicBezTo>
                  <a:pt x="229743" y="4572"/>
                  <a:pt x="238887" y="8128"/>
                  <a:pt x="245110" y="15367"/>
                </a:cubicBezTo>
                <a:cubicBezTo>
                  <a:pt x="251332" y="22606"/>
                  <a:pt x="254507" y="32893"/>
                  <a:pt x="254507" y="4648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69" name="object 569"/>
          <p:cNvSpPr/>
          <p:nvPr/>
        </p:nvSpPr>
        <p:spPr>
          <a:xfrm>
            <a:off x="7194352" y="4945873"/>
            <a:ext cx="44957" cy="81407"/>
          </a:xfrm>
          <a:custGeom>
            <a:avLst/>
            <a:gdLst/>
            <a:ahLst/>
            <a:cxnLst/>
            <a:rect l="l" t="t" r="r" b="b"/>
            <a:pathLst>
              <a:path w="44957" h="81407">
                <a:moveTo>
                  <a:pt x="40385" y="4572"/>
                </a:moveTo>
                <a:lnTo>
                  <a:pt x="40385" y="76835"/>
                </a:lnTo>
                <a:lnTo>
                  <a:pt x="4572" y="76835"/>
                </a:lnTo>
                <a:lnTo>
                  <a:pt x="4572" y="21336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70" name="object 570"/>
          <p:cNvSpPr/>
          <p:nvPr/>
        </p:nvSpPr>
        <p:spPr>
          <a:xfrm>
            <a:off x="7157085" y="4932792"/>
            <a:ext cx="46355" cy="38989"/>
          </a:xfrm>
          <a:custGeom>
            <a:avLst/>
            <a:gdLst/>
            <a:ahLst/>
            <a:cxnLst/>
            <a:rect l="l" t="t" r="r" b="b"/>
            <a:pathLst>
              <a:path w="46355" h="38989">
                <a:moveTo>
                  <a:pt x="41783" y="34417"/>
                </a:moveTo>
                <a:cubicBezTo>
                  <a:pt x="41783" y="28956"/>
                  <a:pt x="41656" y="24384"/>
                  <a:pt x="41402" y="20574"/>
                </a:cubicBezTo>
                <a:cubicBezTo>
                  <a:pt x="41275" y="16764"/>
                  <a:pt x="40513" y="13716"/>
                  <a:pt x="39370" y="11430"/>
                </a:cubicBezTo>
                <a:cubicBezTo>
                  <a:pt x="38227" y="9017"/>
                  <a:pt x="36449" y="7239"/>
                  <a:pt x="34036" y="6223"/>
                </a:cubicBezTo>
                <a:cubicBezTo>
                  <a:pt x="31496" y="5080"/>
                  <a:pt x="28067" y="4572"/>
                  <a:pt x="23749" y="4572"/>
                </a:cubicBezTo>
                <a:cubicBezTo>
                  <a:pt x="20701" y="4572"/>
                  <a:pt x="17780" y="5080"/>
                  <a:pt x="14986" y="6096"/>
                </a:cubicBezTo>
                <a:cubicBezTo>
                  <a:pt x="12192" y="7112"/>
                  <a:pt x="8636" y="8763"/>
                  <a:pt x="4571" y="11176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71" name="object 571"/>
          <p:cNvSpPr/>
          <p:nvPr/>
        </p:nvSpPr>
        <p:spPr>
          <a:xfrm>
            <a:off x="7121398" y="4939284"/>
            <a:ext cx="44830" cy="87884"/>
          </a:xfrm>
          <a:custGeom>
            <a:avLst/>
            <a:gdLst/>
            <a:ahLst/>
            <a:cxnLst/>
            <a:rect l="l" t="t" r="r" b="b"/>
            <a:pathLst>
              <a:path w="44830" h="87884">
                <a:moveTo>
                  <a:pt x="40258" y="4572"/>
                </a:moveTo>
                <a:lnTo>
                  <a:pt x="40258" y="83312"/>
                </a:lnTo>
                <a:lnTo>
                  <a:pt x="4571" y="83312"/>
                </a:lnTo>
                <a:lnTo>
                  <a:pt x="4571" y="2781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72" name="object 572"/>
          <p:cNvSpPr/>
          <p:nvPr/>
        </p:nvSpPr>
        <p:spPr>
          <a:xfrm>
            <a:off x="7084189" y="4932792"/>
            <a:ext cx="46354" cy="38989"/>
          </a:xfrm>
          <a:custGeom>
            <a:avLst/>
            <a:gdLst/>
            <a:ahLst/>
            <a:cxnLst/>
            <a:rect l="l" t="t" r="r" b="b"/>
            <a:pathLst>
              <a:path w="46354" h="38989">
                <a:moveTo>
                  <a:pt x="41782" y="34417"/>
                </a:moveTo>
                <a:cubicBezTo>
                  <a:pt x="41782" y="29083"/>
                  <a:pt x="41656" y="24384"/>
                  <a:pt x="41402" y="20574"/>
                </a:cubicBezTo>
                <a:cubicBezTo>
                  <a:pt x="41148" y="16891"/>
                  <a:pt x="40386" y="13716"/>
                  <a:pt x="39243" y="11430"/>
                </a:cubicBezTo>
                <a:cubicBezTo>
                  <a:pt x="37973" y="9017"/>
                  <a:pt x="36194" y="7239"/>
                  <a:pt x="33781" y="6223"/>
                </a:cubicBezTo>
                <a:cubicBezTo>
                  <a:pt x="31369" y="5080"/>
                  <a:pt x="28067" y="4572"/>
                  <a:pt x="23622" y="4572"/>
                </a:cubicBezTo>
                <a:cubicBezTo>
                  <a:pt x="20193" y="4572"/>
                  <a:pt x="16764" y="5207"/>
                  <a:pt x="13462" y="6731"/>
                </a:cubicBezTo>
                <a:cubicBezTo>
                  <a:pt x="10160" y="8128"/>
                  <a:pt x="7239" y="9652"/>
                  <a:pt x="4572" y="11176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73" name="object 573"/>
          <p:cNvSpPr/>
          <p:nvPr/>
        </p:nvSpPr>
        <p:spPr>
          <a:xfrm>
            <a:off x="7048500" y="4907011"/>
            <a:ext cx="44830" cy="120269"/>
          </a:xfrm>
          <a:custGeom>
            <a:avLst/>
            <a:gdLst/>
            <a:ahLst/>
            <a:cxnLst/>
            <a:rect l="l" t="t" r="r" b="b"/>
            <a:pathLst>
              <a:path w="44830" h="120269">
                <a:moveTo>
                  <a:pt x="40259" y="36957"/>
                </a:moveTo>
                <a:lnTo>
                  <a:pt x="40259" y="115697"/>
                </a:lnTo>
                <a:lnTo>
                  <a:pt x="4572" y="115697"/>
                </a:lnTo>
                <a:lnTo>
                  <a:pt x="4572" y="4572"/>
                </a:lnTo>
                <a:lnTo>
                  <a:pt x="40259" y="4572"/>
                </a:lnTo>
                <a:lnTo>
                  <a:pt x="40259" y="1689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74" name="object 574"/>
          <p:cNvSpPr/>
          <p:nvPr/>
        </p:nvSpPr>
        <p:spPr>
          <a:xfrm>
            <a:off x="6958076" y="4903724"/>
            <a:ext cx="171450" cy="71374"/>
          </a:xfrm>
          <a:custGeom>
            <a:avLst/>
            <a:gdLst/>
            <a:ahLst/>
            <a:cxnLst/>
            <a:rect l="l" t="t" r="r" b="b"/>
            <a:pathLst>
              <a:path w="171450" h="71374">
                <a:moveTo>
                  <a:pt x="130683" y="20066"/>
                </a:moveTo>
                <a:cubicBezTo>
                  <a:pt x="136779" y="15240"/>
                  <a:pt x="142621" y="11430"/>
                  <a:pt x="148209" y="8763"/>
                </a:cubicBezTo>
                <a:cubicBezTo>
                  <a:pt x="153924" y="6096"/>
                  <a:pt x="160020" y="4699"/>
                  <a:pt x="166878" y="4699"/>
                </a:cubicBezTo>
                <a:moveTo>
                  <a:pt x="26670" y="66802"/>
                </a:moveTo>
                <a:moveTo>
                  <a:pt x="4572" y="4572"/>
                </a:moveTo>
                <a:cubicBezTo>
                  <a:pt x="24892" y="4572"/>
                  <a:pt x="39497" y="7747"/>
                  <a:pt x="48514" y="13970"/>
                </a:cubicBezTo>
                <a:cubicBezTo>
                  <a:pt x="57530" y="20193"/>
                  <a:pt x="61976" y="29972"/>
                  <a:pt x="61976" y="43307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75" name="object 575"/>
          <p:cNvSpPr/>
          <p:nvPr/>
        </p:nvSpPr>
        <p:spPr>
          <a:xfrm>
            <a:off x="6980174" y="4942571"/>
            <a:ext cx="44450" cy="84709"/>
          </a:xfrm>
          <a:custGeom>
            <a:avLst/>
            <a:gdLst/>
            <a:ahLst/>
            <a:cxnLst/>
            <a:rect l="l" t="t" r="r" b="b"/>
            <a:pathLst>
              <a:path w="44450" h="84709">
                <a:moveTo>
                  <a:pt x="39878" y="4572"/>
                </a:moveTo>
                <a:lnTo>
                  <a:pt x="39878" y="80137"/>
                </a:lnTo>
                <a:lnTo>
                  <a:pt x="4572" y="80137"/>
                </a:lnTo>
                <a:lnTo>
                  <a:pt x="4572" y="6845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76" name="object 576"/>
          <p:cNvSpPr/>
          <p:nvPr/>
        </p:nvSpPr>
        <p:spPr>
          <a:xfrm>
            <a:off x="6904609" y="4945111"/>
            <a:ext cx="84962" cy="85217"/>
          </a:xfrm>
          <a:custGeom>
            <a:avLst/>
            <a:gdLst/>
            <a:ahLst/>
            <a:cxnLst/>
            <a:rect l="l" t="t" r="r" b="b"/>
            <a:pathLst>
              <a:path w="84962" h="85217">
                <a:moveTo>
                  <a:pt x="80137" y="65913"/>
                </a:moveTo>
                <a:cubicBezTo>
                  <a:pt x="78232" y="67310"/>
                  <a:pt x="75819" y="69088"/>
                  <a:pt x="73025" y="71120"/>
                </a:cubicBezTo>
                <a:cubicBezTo>
                  <a:pt x="70231" y="73152"/>
                  <a:pt x="67564" y="74803"/>
                  <a:pt x="65023" y="75946"/>
                </a:cubicBezTo>
                <a:cubicBezTo>
                  <a:pt x="61468" y="77597"/>
                  <a:pt x="57912" y="78740"/>
                  <a:pt x="54102" y="79502"/>
                </a:cubicBezTo>
                <a:cubicBezTo>
                  <a:pt x="50419" y="80264"/>
                  <a:pt x="46228" y="80645"/>
                  <a:pt x="41783" y="80645"/>
                </a:cubicBezTo>
                <a:cubicBezTo>
                  <a:pt x="31242" y="80645"/>
                  <a:pt x="22352" y="77343"/>
                  <a:pt x="15240" y="70866"/>
                </a:cubicBezTo>
                <a:cubicBezTo>
                  <a:pt x="8128" y="64262"/>
                  <a:pt x="4572" y="55880"/>
                  <a:pt x="4572" y="45720"/>
                </a:cubicBezTo>
                <a:cubicBezTo>
                  <a:pt x="4572" y="37719"/>
                  <a:pt x="6350" y="30988"/>
                  <a:pt x="10033" y="25908"/>
                </a:cubicBezTo>
                <a:cubicBezTo>
                  <a:pt x="13589" y="20701"/>
                  <a:pt x="18796" y="16637"/>
                  <a:pt x="25400" y="13716"/>
                </a:cubicBezTo>
                <a:cubicBezTo>
                  <a:pt x="32004" y="10795"/>
                  <a:pt x="40259" y="8636"/>
                  <a:pt x="50038" y="7366"/>
                </a:cubicBezTo>
                <a:cubicBezTo>
                  <a:pt x="59690" y="6096"/>
                  <a:pt x="69850" y="5207"/>
                  <a:pt x="80391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77" name="object 577"/>
          <p:cNvSpPr/>
          <p:nvPr/>
        </p:nvSpPr>
        <p:spPr>
          <a:xfrm>
            <a:off x="6980428" y="4944491"/>
            <a:ext cx="9144" cy="9652"/>
          </a:xfrm>
          <a:custGeom>
            <a:avLst/>
            <a:gdLst/>
            <a:ahLst/>
            <a:cxnLst/>
            <a:rect l="l" t="t" r="r" b="b"/>
            <a:pathLst>
              <a:path w="9144" h="9652">
                <a:moveTo>
                  <a:pt x="4572" y="5080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78" name="object 578"/>
          <p:cNvSpPr/>
          <p:nvPr/>
        </p:nvSpPr>
        <p:spPr>
          <a:xfrm>
            <a:off x="6917564" y="4928235"/>
            <a:ext cx="72009" cy="25400"/>
          </a:xfrm>
          <a:custGeom>
            <a:avLst/>
            <a:gdLst/>
            <a:ahLst/>
            <a:cxnLst/>
            <a:rect l="l" t="t" r="r" b="b"/>
            <a:pathLst>
              <a:path w="72009" h="25400">
                <a:moveTo>
                  <a:pt x="67437" y="20828"/>
                </a:moveTo>
                <a:cubicBezTo>
                  <a:pt x="67437" y="14605"/>
                  <a:pt x="64897" y="10414"/>
                  <a:pt x="59943" y="8001"/>
                </a:cubicBezTo>
                <a:cubicBezTo>
                  <a:pt x="54864" y="5715"/>
                  <a:pt x="47498" y="4572"/>
                  <a:pt x="37718" y="4572"/>
                </a:cubicBezTo>
                <a:cubicBezTo>
                  <a:pt x="31877" y="4572"/>
                  <a:pt x="25527" y="5588"/>
                  <a:pt x="18923" y="7620"/>
                </a:cubicBezTo>
                <a:cubicBezTo>
                  <a:pt x="12192" y="9779"/>
                  <a:pt x="7493" y="11303"/>
                  <a:pt x="4572" y="12446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79" name="object 579"/>
          <p:cNvSpPr/>
          <p:nvPr/>
        </p:nvSpPr>
        <p:spPr>
          <a:xfrm>
            <a:off x="6914262" y="4909424"/>
            <a:ext cx="12445" cy="35941"/>
          </a:xfrm>
          <a:custGeom>
            <a:avLst/>
            <a:gdLst/>
            <a:ahLst/>
            <a:cxnLst/>
            <a:rect l="l" t="t" r="r" b="b"/>
            <a:pathLst>
              <a:path w="12445" h="35941">
                <a:moveTo>
                  <a:pt x="7874" y="31369"/>
                </a:moveTo>
                <a:lnTo>
                  <a:pt x="4571" y="31369"/>
                </a:lnTo>
                <a:lnTo>
                  <a:pt x="4571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80" name="object 580"/>
          <p:cNvSpPr/>
          <p:nvPr/>
        </p:nvSpPr>
        <p:spPr>
          <a:xfrm>
            <a:off x="6914317" y="4903470"/>
            <a:ext cx="681101" cy="71628"/>
          </a:xfrm>
          <a:custGeom>
            <a:avLst/>
            <a:gdLst/>
            <a:ahLst/>
            <a:cxnLst/>
            <a:rect l="l" t="t" r="r" b="b"/>
            <a:pathLst>
              <a:path w="681101" h="71628">
                <a:moveTo>
                  <a:pt x="4571" y="10414"/>
                </a:moveTo>
                <a:cubicBezTo>
                  <a:pt x="8382" y="9398"/>
                  <a:pt x="14478" y="8255"/>
                  <a:pt x="22987" y="6858"/>
                </a:cubicBezTo>
                <a:cubicBezTo>
                  <a:pt x="31495" y="5588"/>
                  <a:pt x="39878" y="4826"/>
                  <a:pt x="48387" y="4826"/>
                </a:cubicBezTo>
                <a:moveTo>
                  <a:pt x="70485" y="67056"/>
                </a:moveTo>
                <a:moveTo>
                  <a:pt x="622173" y="4572"/>
                </a:moveTo>
                <a:cubicBezTo>
                  <a:pt x="640207" y="4572"/>
                  <a:pt x="653795" y="9144"/>
                  <a:pt x="662940" y="18288"/>
                </a:cubicBezTo>
                <a:cubicBezTo>
                  <a:pt x="671957" y="27432"/>
                  <a:pt x="676529" y="40513"/>
                  <a:pt x="676529" y="57658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81" name="object 581"/>
          <p:cNvSpPr/>
          <p:nvPr/>
        </p:nvSpPr>
        <p:spPr>
          <a:xfrm>
            <a:off x="7504740" y="4956668"/>
            <a:ext cx="90677" cy="21717"/>
          </a:xfrm>
          <a:custGeom>
            <a:avLst/>
            <a:gdLst/>
            <a:ahLst/>
            <a:cxnLst/>
            <a:rect l="l" t="t" r="r" b="b"/>
            <a:pathLst>
              <a:path w="90677" h="21717">
                <a:moveTo>
                  <a:pt x="86106" y="4572"/>
                </a:moveTo>
                <a:lnTo>
                  <a:pt x="86106" y="17145"/>
                </a:lnTo>
                <a:lnTo>
                  <a:pt x="4572" y="17145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82" name="object 582"/>
          <p:cNvSpPr/>
          <p:nvPr/>
        </p:nvSpPr>
        <p:spPr>
          <a:xfrm>
            <a:off x="7504684" y="4969129"/>
            <a:ext cx="84708" cy="36068"/>
          </a:xfrm>
          <a:custGeom>
            <a:avLst/>
            <a:gdLst/>
            <a:ahLst/>
            <a:cxnLst/>
            <a:rect l="l" t="t" r="r" b="b"/>
            <a:pathLst>
              <a:path w="84708" h="36068">
                <a:moveTo>
                  <a:pt x="4572" y="4572"/>
                </a:moveTo>
                <a:cubicBezTo>
                  <a:pt x="5080" y="13208"/>
                  <a:pt x="8382" y="19939"/>
                  <a:pt x="14478" y="24511"/>
                </a:cubicBezTo>
                <a:cubicBezTo>
                  <a:pt x="20573" y="29083"/>
                  <a:pt x="29591" y="31496"/>
                  <a:pt x="41529" y="31496"/>
                </a:cubicBezTo>
                <a:cubicBezTo>
                  <a:pt x="49022" y="31496"/>
                  <a:pt x="56260" y="30099"/>
                  <a:pt x="63372" y="27432"/>
                </a:cubicBezTo>
                <a:cubicBezTo>
                  <a:pt x="70484" y="24638"/>
                  <a:pt x="75946" y="21717"/>
                  <a:pt x="80137" y="18669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83" name="object 583"/>
          <p:cNvSpPr/>
          <p:nvPr/>
        </p:nvSpPr>
        <p:spPr>
          <a:xfrm>
            <a:off x="7580249" y="4983338"/>
            <a:ext cx="13080" cy="37719"/>
          </a:xfrm>
          <a:custGeom>
            <a:avLst/>
            <a:gdLst/>
            <a:ahLst/>
            <a:cxnLst/>
            <a:rect l="l" t="t" r="r" b="b"/>
            <a:pathLst>
              <a:path w="13080" h="37719">
                <a:moveTo>
                  <a:pt x="4572" y="4572"/>
                </a:moveTo>
                <a:lnTo>
                  <a:pt x="8508" y="4572"/>
                </a:lnTo>
                <a:lnTo>
                  <a:pt x="8508" y="33147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84" name="object 584"/>
          <p:cNvSpPr/>
          <p:nvPr/>
        </p:nvSpPr>
        <p:spPr>
          <a:xfrm>
            <a:off x="6765293" y="4903470"/>
            <a:ext cx="828039" cy="126746"/>
          </a:xfrm>
          <a:custGeom>
            <a:avLst/>
            <a:gdLst/>
            <a:ahLst/>
            <a:cxnLst/>
            <a:rect l="l" t="t" r="r" b="b"/>
            <a:pathLst>
              <a:path w="828039" h="126746">
                <a:moveTo>
                  <a:pt x="823467" y="112903"/>
                </a:moveTo>
                <a:cubicBezTo>
                  <a:pt x="815340" y="116205"/>
                  <a:pt x="807847" y="118491"/>
                  <a:pt x="800735" y="120015"/>
                </a:cubicBezTo>
                <a:cubicBezTo>
                  <a:pt x="793496" y="121412"/>
                  <a:pt x="785622" y="122174"/>
                  <a:pt x="776986" y="122174"/>
                </a:cubicBezTo>
                <a:cubicBezTo>
                  <a:pt x="754761" y="122174"/>
                  <a:pt x="737616" y="117094"/>
                  <a:pt x="725804" y="107061"/>
                </a:cubicBezTo>
                <a:cubicBezTo>
                  <a:pt x="713866" y="97028"/>
                  <a:pt x="707898" y="82804"/>
                  <a:pt x="707898" y="64262"/>
                </a:cubicBezTo>
                <a:cubicBezTo>
                  <a:pt x="707898" y="45847"/>
                  <a:pt x="713613" y="31369"/>
                  <a:pt x="724789" y="20701"/>
                </a:cubicBezTo>
                <a:cubicBezTo>
                  <a:pt x="736091" y="9906"/>
                  <a:pt x="751459" y="4572"/>
                  <a:pt x="771144" y="4572"/>
                </a:cubicBezTo>
                <a:moveTo>
                  <a:pt x="219456" y="67056"/>
                </a:moveTo>
                <a:moveTo>
                  <a:pt x="4572" y="4572"/>
                </a:moveTo>
                <a:cubicBezTo>
                  <a:pt x="22606" y="4572"/>
                  <a:pt x="36195" y="9144"/>
                  <a:pt x="45339" y="18288"/>
                </a:cubicBezTo>
                <a:cubicBezTo>
                  <a:pt x="54356" y="27432"/>
                  <a:pt x="58928" y="40513"/>
                  <a:pt x="58928" y="57658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85" name="object 585"/>
          <p:cNvSpPr/>
          <p:nvPr/>
        </p:nvSpPr>
        <p:spPr>
          <a:xfrm>
            <a:off x="6738112" y="4956668"/>
            <a:ext cx="90678" cy="21717"/>
          </a:xfrm>
          <a:custGeom>
            <a:avLst/>
            <a:gdLst/>
            <a:ahLst/>
            <a:cxnLst/>
            <a:rect l="l" t="t" r="r" b="b"/>
            <a:pathLst>
              <a:path w="90678" h="21717">
                <a:moveTo>
                  <a:pt x="86106" y="4572"/>
                </a:moveTo>
                <a:lnTo>
                  <a:pt x="86106" y="17145"/>
                </a:lnTo>
                <a:lnTo>
                  <a:pt x="4572" y="17145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86" name="object 586"/>
          <p:cNvSpPr/>
          <p:nvPr/>
        </p:nvSpPr>
        <p:spPr>
          <a:xfrm>
            <a:off x="6738114" y="4969129"/>
            <a:ext cx="84709" cy="36068"/>
          </a:xfrm>
          <a:custGeom>
            <a:avLst/>
            <a:gdLst/>
            <a:ahLst/>
            <a:cxnLst/>
            <a:rect l="l" t="t" r="r" b="b"/>
            <a:pathLst>
              <a:path w="84709" h="36068">
                <a:moveTo>
                  <a:pt x="4572" y="4572"/>
                </a:moveTo>
                <a:cubicBezTo>
                  <a:pt x="5080" y="13208"/>
                  <a:pt x="8381" y="19939"/>
                  <a:pt x="14478" y="24511"/>
                </a:cubicBezTo>
                <a:cubicBezTo>
                  <a:pt x="20574" y="29083"/>
                  <a:pt x="29591" y="31496"/>
                  <a:pt x="41529" y="31496"/>
                </a:cubicBezTo>
                <a:cubicBezTo>
                  <a:pt x="49022" y="31496"/>
                  <a:pt x="56261" y="30099"/>
                  <a:pt x="63373" y="27432"/>
                </a:cubicBezTo>
                <a:cubicBezTo>
                  <a:pt x="70485" y="24638"/>
                  <a:pt x="75945" y="21717"/>
                  <a:pt x="80137" y="18669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87" name="object 587"/>
          <p:cNvSpPr/>
          <p:nvPr/>
        </p:nvSpPr>
        <p:spPr>
          <a:xfrm>
            <a:off x="6813677" y="4983338"/>
            <a:ext cx="13080" cy="37719"/>
          </a:xfrm>
          <a:custGeom>
            <a:avLst/>
            <a:gdLst/>
            <a:ahLst/>
            <a:cxnLst/>
            <a:rect l="l" t="t" r="r" b="b"/>
            <a:pathLst>
              <a:path w="13080" h="37719">
                <a:moveTo>
                  <a:pt x="4572" y="4572"/>
                </a:moveTo>
                <a:lnTo>
                  <a:pt x="8509" y="4572"/>
                </a:lnTo>
                <a:lnTo>
                  <a:pt x="8509" y="33147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88" name="object 588"/>
          <p:cNvSpPr/>
          <p:nvPr/>
        </p:nvSpPr>
        <p:spPr>
          <a:xfrm>
            <a:off x="6520184" y="4870704"/>
            <a:ext cx="469137" cy="159512"/>
          </a:xfrm>
          <a:custGeom>
            <a:avLst/>
            <a:gdLst/>
            <a:ahLst/>
            <a:cxnLst/>
            <a:rect l="l" t="t" r="r" b="b"/>
            <a:pathLst>
              <a:path w="469137" h="159512">
                <a:moveTo>
                  <a:pt x="302006" y="145669"/>
                </a:moveTo>
                <a:cubicBezTo>
                  <a:pt x="293877" y="148971"/>
                  <a:pt x="286385" y="151257"/>
                  <a:pt x="279273" y="152781"/>
                </a:cubicBezTo>
                <a:cubicBezTo>
                  <a:pt x="272034" y="154178"/>
                  <a:pt x="264160" y="154940"/>
                  <a:pt x="255524" y="154940"/>
                </a:cubicBezTo>
                <a:cubicBezTo>
                  <a:pt x="233299" y="154940"/>
                  <a:pt x="216154" y="149860"/>
                  <a:pt x="204343" y="139827"/>
                </a:cubicBezTo>
                <a:cubicBezTo>
                  <a:pt x="192405" y="129794"/>
                  <a:pt x="186436" y="115570"/>
                  <a:pt x="186436" y="97028"/>
                </a:cubicBezTo>
                <a:cubicBezTo>
                  <a:pt x="186436" y="78613"/>
                  <a:pt x="192151" y="64135"/>
                  <a:pt x="203326" y="53467"/>
                </a:cubicBezTo>
                <a:cubicBezTo>
                  <a:pt x="214630" y="42672"/>
                  <a:pt x="229997" y="37338"/>
                  <a:pt x="249682" y="37338"/>
                </a:cubicBezTo>
                <a:moveTo>
                  <a:pt x="464566" y="99822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89" name="object 589"/>
          <p:cNvSpPr/>
          <p:nvPr/>
        </p:nvSpPr>
        <p:spPr>
          <a:xfrm>
            <a:off x="6520180" y="4870704"/>
            <a:ext cx="53212" cy="9144"/>
          </a:xfrm>
          <a:custGeom>
            <a:avLst/>
            <a:gdLst/>
            <a:ahLst/>
            <a:cxnLst/>
            <a:rect l="l" t="t" r="r" b="b"/>
            <a:pathLst>
              <a:path w="53212" h="9144">
                <a:moveTo>
                  <a:pt x="4572" y="4572"/>
                </a:moveTo>
                <a:lnTo>
                  <a:pt x="48641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90" name="object 590"/>
          <p:cNvSpPr/>
          <p:nvPr/>
        </p:nvSpPr>
        <p:spPr>
          <a:xfrm>
            <a:off x="6564255" y="4870704"/>
            <a:ext cx="75438" cy="83058"/>
          </a:xfrm>
          <a:custGeom>
            <a:avLst/>
            <a:gdLst/>
            <a:ahLst/>
            <a:cxnLst/>
            <a:rect l="l" t="t" r="r" b="b"/>
            <a:pathLst>
              <a:path w="75438" h="83058">
                <a:moveTo>
                  <a:pt x="4572" y="4572"/>
                </a:moveTo>
                <a:lnTo>
                  <a:pt x="37845" y="78486"/>
                </a:lnTo>
                <a:lnTo>
                  <a:pt x="70866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91" name="object 591"/>
          <p:cNvSpPr/>
          <p:nvPr/>
        </p:nvSpPr>
        <p:spPr>
          <a:xfrm>
            <a:off x="6630543" y="4870704"/>
            <a:ext cx="53212" cy="156464"/>
          </a:xfrm>
          <a:custGeom>
            <a:avLst/>
            <a:gdLst/>
            <a:ahLst/>
            <a:cxnLst/>
            <a:rect l="l" t="t" r="r" b="b"/>
            <a:pathLst>
              <a:path w="53212" h="156464">
                <a:moveTo>
                  <a:pt x="4572" y="4572"/>
                </a:moveTo>
                <a:lnTo>
                  <a:pt x="48641" y="4572"/>
                </a:lnTo>
                <a:lnTo>
                  <a:pt x="48641" y="151892"/>
                </a:lnTo>
                <a:lnTo>
                  <a:pt x="10922" y="151892"/>
                </a:lnTo>
                <a:lnTo>
                  <a:pt x="10922" y="5321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92" name="object 592"/>
          <p:cNvSpPr/>
          <p:nvPr/>
        </p:nvSpPr>
        <p:spPr>
          <a:xfrm>
            <a:off x="6609591" y="4919457"/>
            <a:ext cx="36449" cy="73279"/>
          </a:xfrm>
          <a:custGeom>
            <a:avLst/>
            <a:gdLst/>
            <a:ahLst/>
            <a:cxnLst/>
            <a:rect l="l" t="t" r="r" b="b"/>
            <a:pathLst>
              <a:path w="36449" h="73279">
                <a:moveTo>
                  <a:pt x="31877" y="4572"/>
                </a:moveTo>
                <a:lnTo>
                  <a:pt x="4572" y="68707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93" name="object 593"/>
          <p:cNvSpPr/>
          <p:nvPr/>
        </p:nvSpPr>
        <p:spPr>
          <a:xfrm>
            <a:off x="6583299" y="4983480"/>
            <a:ext cx="35432" cy="9144"/>
          </a:xfrm>
          <a:custGeom>
            <a:avLst/>
            <a:gdLst/>
            <a:ahLst/>
            <a:cxnLst/>
            <a:rect l="l" t="t" r="r" b="b"/>
            <a:pathLst>
              <a:path w="35432" h="9144">
                <a:moveTo>
                  <a:pt x="30861" y="4572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94" name="object 594"/>
          <p:cNvSpPr/>
          <p:nvPr/>
        </p:nvSpPr>
        <p:spPr>
          <a:xfrm>
            <a:off x="6555994" y="4919457"/>
            <a:ext cx="36448" cy="73279"/>
          </a:xfrm>
          <a:custGeom>
            <a:avLst/>
            <a:gdLst/>
            <a:ahLst/>
            <a:cxnLst/>
            <a:rect l="l" t="t" r="r" b="b"/>
            <a:pathLst>
              <a:path w="36448" h="73279">
                <a:moveTo>
                  <a:pt x="31877" y="68707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95" name="object 595"/>
          <p:cNvSpPr/>
          <p:nvPr/>
        </p:nvSpPr>
        <p:spPr>
          <a:xfrm>
            <a:off x="6520233" y="4919457"/>
            <a:ext cx="44957" cy="107823"/>
          </a:xfrm>
          <a:custGeom>
            <a:avLst/>
            <a:gdLst/>
            <a:ahLst/>
            <a:cxnLst/>
            <a:rect l="l" t="t" r="r" b="b"/>
            <a:pathLst>
              <a:path w="44957" h="107823">
                <a:moveTo>
                  <a:pt x="40386" y="4572"/>
                </a:moveTo>
                <a:lnTo>
                  <a:pt x="40386" y="103251"/>
                </a:lnTo>
                <a:lnTo>
                  <a:pt x="4572" y="10325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96" name="object 596"/>
          <p:cNvSpPr/>
          <p:nvPr/>
        </p:nvSpPr>
        <p:spPr>
          <a:xfrm>
            <a:off x="6520180" y="4864100"/>
            <a:ext cx="751458" cy="163068"/>
          </a:xfrm>
          <a:custGeom>
            <a:avLst/>
            <a:gdLst/>
            <a:ahLst/>
            <a:cxnLst/>
            <a:rect l="l" t="t" r="r" b="b"/>
            <a:pathLst>
              <a:path w="751458" h="163068">
                <a:moveTo>
                  <a:pt x="4572" y="158496"/>
                </a:moveTo>
                <a:moveTo>
                  <a:pt x="464566" y="106426"/>
                </a:moveTo>
                <a:moveTo>
                  <a:pt x="746887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97" name="object 597"/>
          <p:cNvSpPr/>
          <p:nvPr/>
        </p:nvSpPr>
        <p:spPr>
          <a:xfrm>
            <a:off x="7262495" y="4864212"/>
            <a:ext cx="46735" cy="36195"/>
          </a:xfrm>
          <a:custGeom>
            <a:avLst/>
            <a:gdLst/>
            <a:ahLst/>
            <a:cxnLst/>
            <a:rect l="l" t="t" r="r" b="b"/>
            <a:pathLst>
              <a:path w="46735" h="36195">
                <a:moveTo>
                  <a:pt x="4572" y="4572"/>
                </a:moveTo>
                <a:lnTo>
                  <a:pt x="42164" y="4572"/>
                </a:lnTo>
                <a:lnTo>
                  <a:pt x="42164" y="31623"/>
                </a:lnTo>
                <a:lnTo>
                  <a:pt x="4572" y="3162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98" name="object 598"/>
          <p:cNvSpPr/>
          <p:nvPr/>
        </p:nvSpPr>
        <p:spPr>
          <a:xfrm>
            <a:off x="6844285" y="4864100"/>
            <a:ext cx="427354" cy="110998"/>
          </a:xfrm>
          <a:custGeom>
            <a:avLst/>
            <a:gdLst/>
            <a:ahLst/>
            <a:cxnLst/>
            <a:rect l="l" t="t" r="r" b="b"/>
            <a:pathLst>
              <a:path w="427354" h="110998">
                <a:moveTo>
                  <a:pt x="422783" y="31623"/>
                </a:moveTo>
                <a:moveTo>
                  <a:pt x="140462" y="106426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99" name="object 599"/>
          <p:cNvSpPr/>
          <p:nvPr/>
        </p:nvSpPr>
        <p:spPr>
          <a:xfrm>
            <a:off x="6844317" y="4864100"/>
            <a:ext cx="44957" cy="163068"/>
          </a:xfrm>
          <a:custGeom>
            <a:avLst/>
            <a:gdLst/>
            <a:ahLst/>
            <a:cxnLst/>
            <a:rect l="l" t="t" r="r" b="b"/>
            <a:pathLst>
              <a:path w="44957" h="163068">
                <a:moveTo>
                  <a:pt x="4572" y="4572"/>
                </a:moveTo>
                <a:lnTo>
                  <a:pt x="40385" y="4572"/>
                </a:lnTo>
                <a:lnTo>
                  <a:pt x="40385" y="158496"/>
                </a:lnTo>
                <a:lnTo>
                  <a:pt x="4572" y="158496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00" name="object 600"/>
          <p:cNvSpPr/>
          <p:nvPr/>
        </p:nvSpPr>
        <p:spPr>
          <a:xfrm>
            <a:off x="6844340" y="4965954"/>
            <a:ext cx="145033" cy="61214"/>
          </a:xfrm>
          <a:custGeom>
            <a:avLst/>
            <a:gdLst/>
            <a:ahLst/>
            <a:cxnLst/>
            <a:rect l="l" t="t" r="r" b="b"/>
            <a:pathLst>
              <a:path w="145033" h="61214">
                <a:moveTo>
                  <a:pt x="4572" y="56642"/>
                </a:moveTo>
                <a:moveTo>
                  <a:pt x="14046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01" name="object 601"/>
          <p:cNvSpPr/>
          <p:nvPr/>
        </p:nvSpPr>
        <p:spPr>
          <a:xfrm>
            <a:off x="7689215" y="4868672"/>
            <a:ext cx="181102" cy="153924"/>
          </a:xfrm>
          <a:custGeom>
            <a:avLst/>
            <a:gdLst/>
            <a:ahLst/>
            <a:cxnLst/>
            <a:rect l="l" t="t" r="r" b="b"/>
            <a:pathLst>
              <a:path w="181102" h="153924">
                <a:moveTo>
                  <a:pt x="889" y="42799"/>
                </a:moveTo>
                <a:lnTo>
                  <a:pt x="36703" y="42799"/>
                </a:lnTo>
                <a:lnTo>
                  <a:pt x="36703" y="153924"/>
                </a:lnTo>
                <a:lnTo>
                  <a:pt x="889" y="153924"/>
                </a:lnTo>
                <a:close/>
                <a:moveTo>
                  <a:pt x="142875" y="39751"/>
                </a:moveTo>
                <a:cubicBezTo>
                  <a:pt x="154940" y="39751"/>
                  <a:pt x="164211" y="43307"/>
                  <a:pt x="171069" y="50292"/>
                </a:cubicBezTo>
                <a:cubicBezTo>
                  <a:pt x="177800" y="57277"/>
                  <a:pt x="181102" y="67691"/>
                  <a:pt x="181102" y="81661"/>
                </a:cubicBezTo>
                <a:lnTo>
                  <a:pt x="181102" y="153924"/>
                </a:lnTo>
                <a:lnTo>
                  <a:pt x="145415" y="153924"/>
                </a:lnTo>
                <a:lnTo>
                  <a:pt x="145415" y="98806"/>
                </a:lnTo>
                <a:cubicBezTo>
                  <a:pt x="145415" y="94361"/>
                  <a:pt x="145161" y="89916"/>
                  <a:pt x="144779" y="85471"/>
                </a:cubicBezTo>
                <a:cubicBezTo>
                  <a:pt x="144272" y="81026"/>
                  <a:pt x="143510" y="77724"/>
                  <a:pt x="142366" y="75565"/>
                </a:cubicBezTo>
                <a:cubicBezTo>
                  <a:pt x="140970" y="73152"/>
                  <a:pt x="139065" y="71374"/>
                  <a:pt x="136525" y="70231"/>
                </a:cubicBezTo>
                <a:cubicBezTo>
                  <a:pt x="133985" y="69088"/>
                  <a:pt x="130428" y="68580"/>
                  <a:pt x="125857" y="68580"/>
                </a:cubicBezTo>
                <a:cubicBezTo>
                  <a:pt x="122682" y="68580"/>
                  <a:pt x="119379" y="69088"/>
                  <a:pt x="116078" y="70104"/>
                </a:cubicBezTo>
                <a:cubicBezTo>
                  <a:pt x="112776" y="71247"/>
                  <a:pt x="109092" y="72898"/>
                  <a:pt x="105283" y="75184"/>
                </a:cubicBezTo>
                <a:lnTo>
                  <a:pt x="105283" y="153924"/>
                </a:lnTo>
                <a:lnTo>
                  <a:pt x="69469" y="153924"/>
                </a:lnTo>
                <a:lnTo>
                  <a:pt x="69469" y="42799"/>
                </a:lnTo>
                <a:lnTo>
                  <a:pt x="105283" y="42799"/>
                </a:lnTo>
                <a:lnTo>
                  <a:pt x="105283" y="55118"/>
                </a:lnTo>
                <a:cubicBezTo>
                  <a:pt x="111506" y="50165"/>
                  <a:pt x="117602" y="46355"/>
                  <a:pt x="123444" y="43688"/>
                </a:cubicBezTo>
                <a:cubicBezTo>
                  <a:pt x="129286" y="41021"/>
                  <a:pt x="135763" y="39751"/>
                  <a:pt x="142875" y="39751"/>
                </a:cubicBezTo>
                <a:close/>
                <a:moveTo>
                  <a:pt x="0" y="0"/>
                </a:moveTo>
                <a:lnTo>
                  <a:pt x="37591" y="0"/>
                </a:lnTo>
                <a:lnTo>
                  <a:pt x="37591" y="27051"/>
                </a:lnTo>
                <a:lnTo>
                  <a:pt x="0" y="2705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02" name="object 602"/>
          <p:cNvSpPr/>
          <p:nvPr/>
        </p:nvSpPr>
        <p:spPr>
          <a:xfrm>
            <a:off x="7685588" y="4903963"/>
            <a:ext cx="151129" cy="123317"/>
          </a:xfrm>
          <a:custGeom>
            <a:avLst/>
            <a:gdLst/>
            <a:ahLst/>
            <a:cxnLst/>
            <a:rect l="l" t="t" r="r" b="b"/>
            <a:pathLst>
              <a:path w="151129" h="123317">
                <a:moveTo>
                  <a:pt x="4572" y="7620"/>
                </a:moveTo>
                <a:lnTo>
                  <a:pt x="40386" y="7620"/>
                </a:lnTo>
                <a:lnTo>
                  <a:pt x="40386" y="118745"/>
                </a:lnTo>
                <a:lnTo>
                  <a:pt x="4572" y="118745"/>
                </a:lnTo>
                <a:moveTo>
                  <a:pt x="4572" y="7620"/>
                </a:moveTo>
                <a:moveTo>
                  <a:pt x="146558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03" name="object 603"/>
          <p:cNvSpPr/>
          <p:nvPr/>
        </p:nvSpPr>
        <p:spPr>
          <a:xfrm>
            <a:off x="7827518" y="4903851"/>
            <a:ext cx="47370" cy="51054"/>
          </a:xfrm>
          <a:custGeom>
            <a:avLst/>
            <a:gdLst/>
            <a:ahLst/>
            <a:cxnLst/>
            <a:rect l="l" t="t" r="r" b="b"/>
            <a:pathLst>
              <a:path w="47370" h="51054">
                <a:moveTo>
                  <a:pt x="4572" y="4572"/>
                </a:moveTo>
                <a:cubicBezTo>
                  <a:pt x="16637" y="4572"/>
                  <a:pt x="25908" y="8128"/>
                  <a:pt x="32766" y="15113"/>
                </a:cubicBezTo>
                <a:cubicBezTo>
                  <a:pt x="39497" y="22098"/>
                  <a:pt x="42799" y="32512"/>
                  <a:pt x="42799" y="4648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04" name="object 604"/>
          <p:cNvSpPr/>
          <p:nvPr/>
        </p:nvSpPr>
        <p:spPr>
          <a:xfrm>
            <a:off x="7830058" y="4945873"/>
            <a:ext cx="44830" cy="81407"/>
          </a:xfrm>
          <a:custGeom>
            <a:avLst/>
            <a:gdLst/>
            <a:ahLst/>
            <a:cxnLst/>
            <a:rect l="l" t="t" r="r" b="b"/>
            <a:pathLst>
              <a:path w="44830" h="81407">
                <a:moveTo>
                  <a:pt x="40259" y="4572"/>
                </a:moveTo>
                <a:lnTo>
                  <a:pt x="40259" y="76835"/>
                </a:lnTo>
                <a:lnTo>
                  <a:pt x="4572" y="76835"/>
                </a:lnTo>
                <a:lnTo>
                  <a:pt x="4572" y="21717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05" name="object 605"/>
          <p:cNvSpPr/>
          <p:nvPr/>
        </p:nvSpPr>
        <p:spPr>
          <a:xfrm>
            <a:off x="7789926" y="4932680"/>
            <a:ext cx="49276" cy="39370"/>
          </a:xfrm>
          <a:custGeom>
            <a:avLst/>
            <a:gdLst/>
            <a:ahLst/>
            <a:cxnLst/>
            <a:rect l="l" t="t" r="r" b="b"/>
            <a:pathLst>
              <a:path w="49276" h="39370">
                <a:moveTo>
                  <a:pt x="44704" y="34798"/>
                </a:moveTo>
                <a:cubicBezTo>
                  <a:pt x="44704" y="30353"/>
                  <a:pt x="44450" y="25908"/>
                  <a:pt x="44068" y="21463"/>
                </a:cubicBezTo>
                <a:cubicBezTo>
                  <a:pt x="43561" y="17018"/>
                  <a:pt x="42799" y="13716"/>
                  <a:pt x="41655" y="11557"/>
                </a:cubicBezTo>
                <a:cubicBezTo>
                  <a:pt x="40259" y="9144"/>
                  <a:pt x="38354" y="7366"/>
                  <a:pt x="35814" y="6223"/>
                </a:cubicBezTo>
                <a:cubicBezTo>
                  <a:pt x="33274" y="5080"/>
                  <a:pt x="29717" y="4572"/>
                  <a:pt x="25146" y="4572"/>
                </a:cubicBezTo>
                <a:cubicBezTo>
                  <a:pt x="21971" y="4572"/>
                  <a:pt x="18668" y="5080"/>
                  <a:pt x="15367" y="6096"/>
                </a:cubicBezTo>
                <a:cubicBezTo>
                  <a:pt x="12065" y="7239"/>
                  <a:pt x="8381" y="8890"/>
                  <a:pt x="4572" y="11176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06" name="object 606"/>
          <p:cNvSpPr/>
          <p:nvPr/>
        </p:nvSpPr>
        <p:spPr>
          <a:xfrm>
            <a:off x="7754168" y="4907011"/>
            <a:ext cx="44957" cy="120269"/>
          </a:xfrm>
          <a:custGeom>
            <a:avLst/>
            <a:gdLst/>
            <a:ahLst/>
            <a:cxnLst/>
            <a:rect l="l" t="t" r="r" b="b"/>
            <a:pathLst>
              <a:path w="44957" h="120269">
                <a:moveTo>
                  <a:pt x="40386" y="36957"/>
                </a:moveTo>
                <a:lnTo>
                  <a:pt x="40386" y="115697"/>
                </a:lnTo>
                <a:lnTo>
                  <a:pt x="4572" y="115697"/>
                </a:lnTo>
                <a:lnTo>
                  <a:pt x="4572" y="4572"/>
                </a:lnTo>
                <a:lnTo>
                  <a:pt x="40386" y="4572"/>
                </a:lnTo>
                <a:lnTo>
                  <a:pt x="40386" y="1689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07" name="object 607"/>
          <p:cNvSpPr/>
          <p:nvPr/>
        </p:nvSpPr>
        <p:spPr>
          <a:xfrm>
            <a:off x="7684643" y="4864100"/>
            <a:ext cx="152018" cy="64262"/>
          </a:xfrm>
          <a:custGeom>
            <a:avLst/>
            <a:gdLst/>
            <a:ahLst/>
            <a:cxnLst/>
            <a:rect l="l" t="t" r="r" b="b"/>
            <a:pathLst>
              <a:path w="152018" h="64262">
                <a:moveTo>
                  <a:pt x="109855" y="59690"/>
                </a:moveTo>
                <a:cubicBezTo>
                  <a:pt x="116078" y="54737"/>
                  <a:pt x="122174" y="50927"/>
                  <a:pt x="128016" y="48260"/>
                </a:cubicBezTo>
                <a:cubicBezTo>
                  <a:pt x="133858" y="45593"/>
                  <a:pt x="140335" y="44323"/>
                  <a:pt x="147447" y="44323"/>
                </a:cubicBezTo>
                <a:moveTo>
                  <a:pt x="5461" y="47371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08" name="object 608"/>
          <p:cNvSpPr/>
          <p:nvPr/>
        </p:nvSpPr>
        <p:spPr>
          <a:xfrm>
            <a:off x="7684643" y="4864212"/>
            <a:ext cx="46735" cy="36195"/>
          </a:xfrm>
          <a:custGeom>
            <a:avLst/>
            <a:gdLst/>
            <a:ahLst/>
            <a:cxnLst/>
            <a:rect l="l" t="t" r="r" b="b"/>
            <a:pathLst>
              <a:path w="46735" h="36195">
                <a:moveTo>
                  <a:pt x="4572" y="4572"/>
                </a:moveTo>
                <a:lnTo>
                  <a:pt x="42163" y="4572"/>
                </a:lnTo>
                <a:lnTo>
                  <a:pt x="42163" y="31623"/>
                </a:lnTo>
                <a:lnTo>
                  <a:pt x="4572" y="3162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09" name="object 609"/>
          <p:cNvSpPr/>
          <p:nvPr/>
        </p:nvSpPr>
        <p:spPr>
          <a:xfrm>
            <a:off x="7684643" y="4891151"/>
            <a:ext cx="10032" cy="24892"/>
          </a:xfrm>
          <a:custGeom>
            <a:avLst/>
            <a:gdLst/>
            <a:ahLst/>
            <a:cxnLst/>
            <a:rect l="l" t="t" r="r" b="b"/>
            <a:pathLst>
              <a:path w="10032" h="24892">
                <a:moveTo>
                  <a:pt x="4572" y="4572"/>
                </a:moveTo>
                <a:moveTo>
                  <a:pt x="5461" y="20320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10" name="object 610"/>
          <p:cNvSpPr/>
          <p:nvPr/>
        </p:nvSpPr>
        <p:spPr>
          <a:xfrm>
            <a:off x="6612643" y="5112512"/>
            <a:ext cx="470027" cy="153924"/>
          </a:xfrm>
          <a:custGeom>
            <a:avLst/>
            <a:gdLst/>
            <a:ahLst/>
            <a:cxnLst/>
            <a:rect l="l" t="t" r="r" b="b"/>
            <a:pathLst>
              <a:path w="470027" h="153924">
                <a:moveTo>
                  <a:pt x="214883" y="42799"/>
                </a:moveTo>
                <a:lnTo>
                  <a:pt x="250698" y="42799"/>
                </a:lnTo>
                <a:lnTo>
                  <a:pt x="250698" y="153924"/>
                </a:lnTo>
                <a:lnTo>
                  <a:pt x="214883" y="153924"/>
                </a:lnTo>
                <a:close/>
                <a:moveTo>
                  <a:pt x="71882" y="39751"/>
                </a:moveTo>
                <a:cubicBezTo>
                  <a:pt x="79120" y="39751"/>
                  <a:pt x="85598" y="41402"/>
                  <a:pt x="91186" y="44704"/>
                </a:cubicBezTo>
                <a:cubicBezTo>
                  <a:pt x="96774" y="47879"/>
                  <a:pt x="101219" y="52705"/>
                  <a:pt x="104394" y="59055"/>
                </a:cubicBezTo>
                <a:cubicBezTo>
                  <a:pt x="111506" y="53086"/>
                  <a:pt x="118364" y="48387"/>
                  <a:pt x="125095" y="44958"/>
                </a:cubicBezTo>
                <a:cubicBezTo>
                  <a:pt x="131826" y="41529"/>
                  <a:pt x="138430" y="39751"/>
                  <a:pt x="144907" y="39751"/>
                </a:cubicBezTo>
                <a:cubicBezTo>
                  <a:pt x="156845" y="39751"/>
                  <a:pt x="165989" y="43307"/>
                  <a:pt x="172212" y="50546"/>
                </a:cubicBezTo>
                <a:cubicBezTo>
                  <a:pt x="178435" y="57785"/>
                  <a:pt x="181610" y="68072"/>
                  <a:pt x="181610" y="81661"/>
                </a:cubicBezTo>
                <a:lnTo>
                  <a:pt x="181610" y="153924"/>
                </a:lnTo>
                <a:lnTo>
                  <a:pt x="145795" y="153924"/>
                </a:lnTo>
                <a:lnTo>
                  <a:pt x="145795" y="98425"/>
                </a:lnTo>
                <a:cubicBezTo>
                  <a:pt x="145795" y="92964"/>
                  <a:pt x="145669" y="88392"/>
                  <a:pt x="145415" y="84582"/>
                </a:cubicBezTo>
                <a:cubicBezTo>
                  <a:pt x="145288" y="80772"/>
                  <a:pt x="144526" y="77724"/>
                  <a:pt x="143382" y="75438"/>
                </a:cubicBezTo>
                <a:cubicBezTo>
                  <a:pt x="142240" y="73025"/>
                  <a:pt x="140462" y="71247"/>
                  <a:pt x="138049" y="70231"/>
                </a:cubicBezTo>
                <a:cubicBezTo>
                  <a:pt x="135508" y="69088"/>
                  <a:pt x="132080" y="68580"/>
                  <a:pt x="127762" y="68580"/>
                </a:cubicBezTo>
                <a:cubicBezTo>
                  <a:pt x="124714" y="68580"/>
                  <a:pt x="121793" y="69088"/>
                  <a:pt x="118999" y="70104"/>
                </a:cubicBezTo>
                <a:cubicBezTo>
                  <a:pt x="116205" y="71120"/>
                  <a:pt x="112649" y="72771"/>
                  <a:pt x="108585" y="75184"/>
                </a:cubicBezTo>
                <a:lnTo>
                  <a:pt x="108585" y="153924"/>
                </a:lnTo>
                <a:lnTo>
                  <a:pt x="72898" y="153924"/>
                </a:lnTo>
                <a:lnTo>
                  <a:pt x="72898" y="98425"/>
                </a:lnTo>
                <a:cubicBezTo>
                  <a:pt x="72898" y="93091"/>
                  <a:pt x="72770" y="88392"/>
                  <a:pt x="72517" y="84582"/>
                </a:cubicBezTo>
                <a:cubicBezTo>
                  <a:pt x="72263" y="80899"/>
                  <a:pt x="71501" y="77724"/>
                  <a:pt x="70357" y="75438"/>
                </a:cubicBezTo>
                <a:cubicBezTo>
                  <a:pt x="69088" y="73025"/>
                  <a:pt x="67310" y="71247"/>
                  <a:pt x="64896" y="70231"/>
                </a:cubicBezTo>
                <a:cubicBezTo>
                  <a:pt x="62483" y="69088"/>
                  <a:pt x="59182" y="68580"/>
                  <a:pt x="54737" y="68580"/>
                </a:cubicBezTo>
                <a:cubicBezTo>
                  <a:pt x="51307" y="68580"/>
                  <a:pt x="47879" y="69215"/>
                  <a:pt x="44577" y="70739"/>
                </a:cubicBezTo>
                <a:cubicBezTo>
                  <a:pt x="41275" y="72136"/>
                  <a:pt x="38354" y="73660"/>
                  <a:pt x="35687" y="75184"/>
                </a:cubicBezTo>
                <a:lnTo>
                  <a:pt x="35687" y="153924"/>
                </a:lnTo>
                <a:lnTo>
                  <a:pt x="0" y="153924"/>
                </a:lnTo>
                <a:lnTo>
                  <a:pt x="0" y="42799"/>
                </a:lnTo>
                <a:lnTo>
                  <a:pt x="35687" y="42799"/>
                </a:lnTo>
                <a:lnTo>
                  <a:pt x="35687" y="55118"/>
                </a:lnTo>
                <a:cubicBezTo>
                  <a:pt x="41782" y="50292"/>
                  <a:pt x="47625" y="46482"/>
                  <a:pt x="53213" y="43815"/>
                </a:cubicBezTo>
                <a:cubicBezTo>
                  <a:pt x="58801" y="41148"/>
                  <a:pt x="65024" y="39751"/>
                  <a:pt x="71882" y="39751"/>
                </a:cubicBezTo>
                <a:close/>
                <a:moveTo>
                  <a:pt x="352044" y="0"/>
                </a:moveTo>
                <a:lnTo>
                  <a:pt x="387857" y="0"/>
                </a:lnTo>
                <a:lnTo>
                  <a:pt x="387857" y="91821"/>
                </a:lnTo>
                <a:lnTo>
                  <a:pt x="426085" y="42799"/>
                </a:lnTo>
                <a:lnTo>
                  <a:pt x="467232" y="42799"/>
                </a:lnTo>
                <a:lnTo>
                  <a:pt x="427228" y="90678"/>
                </a:lnTo>
                <a:lnTo>
                  <a:pt x="470027" y="153924"/>
                </a:lnTo>
                <a:lnTo>
                  <a:pt x="428625" y="153924"/>
                </a:lnTo>
                <a:lnTo>
                  <a:pt x="397382" y="105664"/>
                </a:lnTo>
                <a:lnTo>
                  <a:pt x="387857" y="117475"/>
                </a:lnTo>
                <a:lnTo>
                  <a:pt x="387857" y="153924"/>
                </a:lnTo>
                <a:lnTo>
                  <a:pt x="352044" y="153924"/>
                </a:lnTo>
                <a:close/>
                <a:moveTo>
                  <a:pt x="283464" y="0"/>
                </a:moveTo>
                <a:lnTo>
                  <a:pt x="319278" y="0"/>
                </a:lnTo>
                <a:lnTo>
                  <a:pt x="319278" y="153924"/>
                </a:lnTo>
                <a:lnTo>
                  <a:pt x="283464" y="153924"/>
                </a:lnTo>
                <a:close/>
                <a:moveTo>
                  <a:pt x="213995" y="0"/>
                </a:moveTo>
                <a:lnTo>
                  <a:pt x="251587" y="0"/>
                </a:lnTo>
                <a:lnTo>
                  <a:pt x="251587" y="27051"/>
                </a:lnTo>
                <a:lnTo>
                  <a:pt x="213995" y="27051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11" name="object 611"/>
          <p:cNvSpPr/>
          <p:nvPr/>
        </p:nvSpPr>
        <p:spPr>
          <a:xfrm>
            <a:off x="6679949" y="5147803"/>
            <a:ext cx="187959" cy="123317"/>
          </a:xfrm>
          <a:custGeom>
            <a:avLst/>
            <a:gdLst/>
            <a:ahLst/>
            <a:cxnLst/>
            <a:rect l="l" t="t" r="r" b="b"/>
            <a:pathLst>
              <a:path w="187959" h="123317">
                <a:moveTo>
                  <a:pt x="147573" y="7620"/>
                </a:moveTo>
                <a:lnTo>
                  <a:pt x="183388" y="7620"/>
                </a:lnTo>
                <a:lnTo>
                  <a:pt x="183388" y="118745"/>
                </a:lnTo>
                <a:lnTo>
                  <a:pt x="147573" y="118745"/>
                </a:lnTo>
                <a:moveTo>
                  <a:pt x="147573" y="7620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12" name="object 612"/>
          <p:cNvSpPr/>
          <p:nvPr/>
        </p:nvSpPr>
        <p:spPr>
          <a:xfrm>
            <a:off x="6680002" y="5147691"/>
            <a:ext cx="118871" cy="51054"/>
          </a:xfrm>
          <a:custGeom>
            <a:avLst/>
            <a:gdLst/>
            <a:ahLst/>
            <a:cxnLst/>
            <a:rect l="l" t="t" r="r" b="b"/>
            <a:pathLst>
              <a:path w="118871" h="51054">
                <a:moveTo>
                  <a:pt x="4572" y="4572"/>
                </a:moveTo>
                <a:cubicBezTo>
                  <a:pt x="11810" y="4572"/>
                  <a:pt x="18288" y="6223"/>
                  <a:pt x="23876" y="9525"/>
                </a:cubicBezTo>
                <a:cubicBezTo>
                  <a:pt x="29464" y="12700"/>
                  <a:pt x="33909" y="17526"/>
                  <a:pt x="37084" y="23876"/>
                </a:cubicBezTo>
                <a:cubicBezTo>
                  <a:pt x="44196" y="17907"/>
                  <a:pt x="51054" y="13208"/>
                  <a:pt x="57785" y="9779"/>
                </a:cubicBezTo>
                <a:cubicBezTo>
                  <a:pt x="64516" y="6350"/>
                  <a:pt x="71120" y="4572"/>
                  <a:pt x="77597" y="4572"/>
                </a:cubicBezTo>
                <a:cubicBezTo>
                  <a:pt x="89535" y="4572"/>
                  <a:pt x="98679" y="8128"/>
                  <a:pt x="104902" y="15367"/>
                </a:cubicBezTo>
                <a:cubicBezTo>
                  <a:pt x="111125" y="22606"/>
                  <a:pt x="114300" y="32893"/>
                  <a:pt x="114300" y="4648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13" name="object 613"/>
          <p:cNvSpPr/>
          <p:nvPr/>
        </p:nvSpPr>
        <p:spPr>
          <a:xfrm>
            <a:off x="6753873" y="5189713"/>
            <a:ext cx="44957" cy="81407"/>
          </a:xfrm>
          <a:custGeom>
            <a:avLst/>
            <a:gdLst/>
            <a:ahLst/>
            <a:cxnLst/>
            <a:rect l="l" t="t" r="r" b="b"/>
            <a:pathLst>
              <a:path w="44957" h="81407">
                <a:moveTo>
                  <a:pt x="40386" y="4572"/>
                </a:moveTo>
                <a:lnTo>
                  <a:pt x="40386" y="76835"/>
                </a:lnTo>
                <a:lnTo>
                  <a:pt x="4571" y="76835"/>
                </a:lnTo>
                <a:lnTo>
                  <a:pt x="4571" y="21336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14" name="object 614"/>
          <p:cNvSpPr/>
          <p:nvPr/>
        </p:nvSpPr>
        <p:spPr>
          <a:xfrm>
            <a:off x="6716653" y="5176632"/>
            <a:ext cx="46354" cy="38989"/>
          </a:xfrm>
          <a:custGeom>
            <a:avLst/>
            <a:gdLst/>
            <a:ahLst/>
            <a:cxnLst/>
            <a:rect l="l" t="t" r="r" b="b"/>
            <a:pathLst>
              <a:path w="46354" h="38989">
                <a:moveTo>
                  <a:pt x="41782" y="34417"/>
                </a:moveTo>
                <a:cubicBezTo>
                  <a:pt x="41782" y="28956"/>
                  <a:pt x="41656" y="24384"/>
                  <a:pt x="41402" y="20574"/>
                </a:cubicBezTo>
                <a:cubicBezTo>
                  <a:pt x="41275" y="16764"/>
                  <a:pt x="40513" y="13716"/>
                  <a:pt x="39369" y="11430"/>
                </a:cubicBezTo>
                <a:cubicBezTo>
                  <a:pt x="38227" y="9017"/>
                  <a:pt x="36449" y="7239"/>
                  <a:pt x="34036" y="6223"/>
                </a:cubicBezTo>
                <a:cubicBezTo>
                  <a:pt x="31495" y="5080"/>
                  <a:pt x="28067" y="4572"/>
                  <a:pt x="23749" y="4572"/>
                </a:cubicBezTo>
                <a:cubicBezTo>
                  <a:pt x="20701" y="4572"/>
                  <a:pt x="17780" y="5080"/>
                  <a:pt x="14986" y="6096"/>
                </a:cubicBezTo>
                <a:cubicBezTo>
                  <a:pt x="12192" y="7112"/>
                  <a:pt x="8636" y="8763"/>
                  <a:pt x="4572" y="11176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15" name="object 615"/>
          <p:cNvSpPr/>
          <p:nvPr/>
        </p:nvSpPr>
        <p:spPr>
          <a:xfrm>
            <a:off x="6680962" y="5183124"/>
            <a:ext cx="44830" cy="87884"/>
          </a:xfrm>
          <a:custGeom>
            <a:avLst/>
            <a:gdLst/>
            <a:ahLst/>
            <a:cxnLst/>
            <a:rect l="l" t="t" r="r" b="b"/>
            <a:pathLst>
              <a:path w="44830" h="87884">
                <a:moveTo>
                  <a:pt x="40259" y="4572"/>
                </a:moveTo>
                <a:lnTo>
                  <a:pt x="40259" y="83312"/>
                </a:lnTo>
                <a:lnTo>
                  <a:pt x="4572" y="83312"/>
                </a:lnTo>
                <a:lnTo>
                  <a:pt x="4572" y="2781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16" name="object 616"/>
          <p:cNvSpPr/>
          <p:nvPr/>
        </p:nvSpPr>
        <p:spPr>
          <a:xfrm>
            <a:off x="6643753" y="5176632"/>
            <a:ext cx="46354" cy="38989"/>
          </a:xfrm>
          <a:custGeom>
            <a:avLst/>
            <a:gdLst/>
            <a:ahLst/>
            <a:cxnLst/>
            <a:rect l="l" t="t" r="r" b="b"/>
            <a:pathLst>
              <a:path w="46354" h="38989">
                <a:moveTo>
                  <a:pt x="41783" y="34417"/>
                </a:moveTo>
                <a:cubicBezTo>
                  <a:pt x="41783" y="29083"/>
                  <a:pt x="41655" y="24384"/>
                  <a:pt x="41402" y="20574"/>
                </a:cubicBezTo>
                <a:cubicBezTo>
                  <a:pt x="41148" y="16891"/>
                  <a:pt x="40386" y="13716"/>
                  <a:pt x="39242" y="11430"/>
                </a:cubicBezTo>
                <a:cubicBezTo>
                  <a:pt x="37973" y="9017"/>
                  <a:pt x="36195" y="7239"/>
                  <a:pt x="33781" y="6223"/>
                </a:cubicBezTo>
                <a:cubicBezTo>
                  <a:pt x="31368" y="5080"/>
                  <a:pt x="28067" y="4572"/>
                  <a:pt x="23622" y="4572"/>
                </a:cubicBezTo>
                <a:cubicBezTo>
                  <a:pt x="20192" y="4572"/>
                  <a:pt x="16764" y="5207"/>
                  <a:pt x="13462" y="6731"/>
                </a:cubicBezTo>
                <a:cubicBezTo>
                  <a:pt x="10160" y="8128"/>
                  <a:pt x="7239" y="9652"/>
                  <a:pt x="4572" y="11176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17" name="object 617"/>
          <p:cNvSpPr/>
          <p:nvPr/>
        </p:nvSpPr>
        <p:spPr>
          <a:xfrm>
            <a:off x="6608064" y="5150851"/>
            <a:ext cx="44830" cy="120269"/>
          </a:xfrm>
          <a:custGeom>
            <a:avLst/>
            <a:gdLst/>
            <a:ahLst/>
            <a:cxnLst/>
            <a:rect l="l" t="t" r="r" b="b"/>
            <a:pathLst>
              <a:path w="44830" h="120269">
                <a:moveTo>
                  <a:pt x="40259" y="36957"/>
                </a:moveTo>
                <a:lnTo>
                  <a:pt x="40259" y="115697"/>
                </a:lnTo>
                <a:lnTo>
                  <a:pt x="4572" y="115697"/>
                </a:lnTo>
                <a:lnTo>
                  <a:pt x="4572" y="4572"/>
                </a:lnTo>
                <a:lnTo>
                  <a:pt x="40259" y="4572"/>
                </a:lnTo>
                <a:lnTo>
                  <a:pt x="40259" y="1689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18" name="object 618"/>
          <p:cNvSpPr/>
          <p:nvPr/>
        </p:nvSpPr>
        <p:spPr>
          <a:xfrm>
            <a:off x="6643758" y="5107940"/>
            <a:ext cx="325501" cy="64262"/>
          </a:xfrm>
          <a:custGeom>
            <a:avLst/>
            <a:gdLst/>
            <a:ahLst/>
            <a:cxnLst/>
            <a:rect l="l" t="t" r="r" b="b"/>
            <a:pathLst>
              <a:path w="325501" h="64262">
                <a:moveTo>
                  <a:pt x="4572" y="59690"/>
                </a:moveTo>
                <a:cubicBezTo>
                  <a:pt x="10667" y="54864"/>
                  <a:pt x="16510" y="51054"/>
                  <a:pt x="22098" y="48387"/>
                </a:cubicBezTo>
                <a:cubicBezTo>
                  <a:pt x="27686" y="45720"/>
                  <a:pt x="33909" y="44323"/>
                  <a:pt x="40767" y="44323"/>
                </a:cubicBezTo>
                <a:moveTo>
                  <a:pt x="183768" y="47371"/>
                </a:moveTo>
                <a:moveTo>
                  <a:pt x="320929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19" name="object 619"/>
          <p:cNvSpPr/>
          <p:nvPr/>
        </p:nvSpPr>
        <p:spPr>
          <a:xfrm>
            <a:off x="6960164" y="5108052"/>
            <a:ext cx="44957" cy="100965"/>
          </a:xfrm>
          <a:custGeom>
            <a:avLst/>
            <a:gdLst/>
            <a:ahLst/>
            <a:cxnLst/>
            <a:rect l="l" t="t" r="r" b="b"/>
            <a:pathLst>
              <a:path w="44957" h="100965">
                <a:moveTo>
                  <a:pt x="4572" y="4572"/>
                </a:moveTo>
                <a:lnTo>
                  <a:pt x="40385" y="4572"/>
                </a:lnTo>
                <a:lnTo>
                  <a:pt x="40385" y="9639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20" name="object 620"/>
          <p:cNvSpPr/>
          <p:nvPr/>
        </p:nvSpPr>
        <p:spPr>
          <a:xfrm>
            <a:off x="6995922" y="5150739"/>
            <a:ext cx="47370" cy="58166"/>
          </a:xfrm>
          <a:custGeom>
            <a:avLst/>
            <a:gdLst/>
            <a:ahLst/>
            <a:cxnLst/>
            <a:rect l="l" t="t" r="r" b="b"/>
            <a:pathLst>
              <a:path w="47370" h="58166">
                <a:moveTo>
                  <a:pt x="4571" y="53594"/>
                </a:moveTo>
                <a:lnTo>
                  <a:pt x="42799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21" name="object 621"/>
          <p:cNvSpPr/>
          <p:nvPr/>
        </p:nvSpPr>
        <p:spPr>
          <a:xfrm>
            <a:off x="7034155" y="5150739"/>
            <a:ext cx="50291" cy="9144"/>
          </a:xfrm>
          <a:custGeom>
            <a:avLst/>
            <a:gdLst/>
            <a:ahLst/>
            <a:cxnLst/>
            <a:rect l="l" t="t" r="r" b="b"/>
            <a:pathLst>
              <a:path w="50291" h="9144">
                <a:moveTo>
                  <a:pt x="4572" y="4572"/>
                </a:moveTo>
                <a:lnTo>
                  <a:pt x="45719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22" name="object 622"/>
          <p:cNvSpPr/>
          <p:nvPr/>
        </p:nvSpPr>
        <p:spPr>
          <a:xfrm>
            <a:off x="7035292" y="5150851"/>
            <a:ext cx="51942" cy="120269"/>
          </a:xfrm>
          <a:custGeom>
            <a:avLst/>
            <a:gdLst/>
            <a:ahLst/>
            <a:cxnLst/>
            <a:rect l="l" t="t" r="r" b="b"/>
            <a:pathLst>
              <a:path w="51942" h="120269">
                <a:moveTo>
                  <a:pt x="44576" y="4572"/>
                </a:moveTo>
                <a:lnTo>
                  <a:pt x="4572" y="52451"/>
                </a:lnTo>
                <a:lnTo>
                  <a:pt x="47371" y="115697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23" name="object 623"/>
          <p:cNvSpPr/>
          <p:nvPr/>
        </p:nvSpPr>
        <p:spPr>
          <a:xfrm>
            <a:off x="7036689" y="5261864"/>
            <a:ext cx="50546" cy="9144"/>
          </a:xfrm>
          <a:custGeom>
            <a:avLst/>
            <a:gdLst/>
            <a:ahLst/>
            <a:cxnLst/>
            <a:rect l="l" t="t" r="r" b="b"/>
            <a:pathLst>
              <a:path w="50546" h="9144">
                <a:moveTo>
                  <a:pt x="45974" y="4572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24" name="object 624"/>
          <p:cNvSpPr/>
          <p:nvPr/>
        </p:nvSpPr>
        <p:spPr>
          <a:xfrm>
            <a:off x="6995927" y="5213604"/>
            <a:ext cx="49910" cy="57404"/>
          </a:xfrm>
          <a:custGeom>
            <a:avLst/>
            <a:gdLst/>
            <a:ahLst/>
            <a:cxnLst/>
            <a:rect l="l" t="t" r="r" b="b"/>
            <a:pathLst>
              <a:path w="49910" h="57404">
                <a:moveTo>
                  <a:pt x="45339" y="52832"/>
                </a:moveTo>
                <a:lnTo>
                  <a:pt x="14096" y="4572"/>
                </a:lnTo>
                <a:lnTo>
                  <a:pt x="4571" y="1638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25" name="object 625"/>
          <p:cNvSpPr/>
          <p:nvPr/>
        </p:nvSpPr>
        <p:spPr>
          <a:xfrm>
            <a:off x="6960164" y="5225527"/>
            <a:ext cx="44957" cy="45593"/>
          </a:xfrm>
          <a:custGeom>
            <a:avLst/>
            <a:gdLst/>
            <a:ahLst/>
            <a:cxnLst/>
            <a:rect l="l" t="t" r="r" b="b"/>
            <a:pathLst>
              <a:path w="44957" h="45593">
                <a:moveTo>
                  <a:pt x="40385" y="4572"/>
                </a:moveTo>
                <a:lnTo>
                  <a:pt x="40385" y="41021"/>
                </a:lnTo>
                <a:lnTo>
                  <a:pt x="4572" y="4102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26" name="object 626"/>
          <p:cNvSpPr/>
          <p:nvPr/>
        </p:nvSpPr>
        <p:spPr>
          <a:xfrm>
            <a:off x="6822948" y="5107940"/>
            <a:ext cx="146304" cy="163068"/>
          </a:xfrm>
          <a:custGeom>
            <a:avLst/>
            <a:gdLst/>
            <a:ahLst/>
            <a:cxnLst/>
            <a:rect l="l" t="t" r="r" b="b"/>
            <a:pathLst>
              <a:path w="146304" h="163068">
                <a:moveTo>
                  <a:pt x="141732" y="158496"/>
                </a:moveTo>
                <a:moveTo>
                  <a:pt x="4571" y="47371"/>
                </a:moveTo>
                <a:moveTo>
                  <a:pt x="7315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27" name="object 627"/>
          <p:cNvSpPr/>
          <p:nvPr/>
        </p:nvSpPr>
        <p:spPr>
          <a:xfrm>
            <a:off x="6891531" y="5107940"/>
            <a:ext cx="44958" cy="163068"/>
          </a:xfrm>
          <a:custGeom>
            <a:avLst/>
            <a:gdLst/>
            <a:ahLst/>
            <a:cxnLst/>
            <a:rect l="l" t="t" r="r" b="b"/>
            <a:pathLst>
              <a:path w="44958" h="163068">
                <a:moveTo>
                  <a:pt x="4572" y="4572"/>
                </a:moveTo>
                <a:lnTo>
                  <a:pt x="40386" y="4572"/>
                </a:lnTo>
                <a:lnTo>
                  <a:pt x="40386" y="158496"/>
                </a:lnTo>
                <a:lnTo>
                  <a:pt x="4572" y="158496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28" name="object 628"/>
          <p:cNvSpPr/>
          <p:nvPr/>
        </p:nvSpPr>
        <p:spPr>
          <a:xfrm>
            <a:off x="6822060" y="5107940"/>
            <a:ext cx="78612" cy="163068"/>
          </a:xfrm>
          <a:custGeom>
            <a:avLst/>
            <a:gdLst/>
            <a:ahLst/>
            <a:cxnLst/>
            <a:rect l="l" t="t" r="r" b="b"/>
            <a:pathLst>
              <a:path w="78612" h="163068">
                <a:moveTo>
                  <a:pt x="74041" y="158496"/>
                </a:moveTo>
                <a:moveTo>
                  <a:pt x="5460" y="47371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29" name="object 629"/>
          <p:cNvSpPr/>
          <p:nvPr/>
        </p:nvSpPr>
        <p:spPr>
          <a:xfrm>
            <a:off x="6822059" y="5108052"/>
            <a:ext cx="46735" cy="36195"/>
          </a:xfrm>
          <a:custGeom>
            <a:avLst/>
            <a:gdLst/>
            <a:ahLst/>
            <a:cxnLst/>
            <a:rect l="l" t="t" r="r" b="b"/>
            <a:pathLst>
              <a:path w="46735" h="36195">
                <a:moveTo>
                  <a:pt x="4572" y="4572"/>
                </a:moveTo>
                <a:lnTo>
                  <a:pt x="42164" y="4572"/>
                </a:lnTo>
                <a:lnTo>
                  <a:pt x="42164" y="31623"/>
                </a:lnTo>
                <a:lnTo>
                  <a:pt x="4572" y="3162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30" name="object 630"/>
          <p:cNvSpPr/>
          <p:nvPr/>
        </p:nvSpPr>
        <p:spPr>
          <a:xfrm>
            <a:off x="6822059" y="5134991"/>
            <a:ext cx="10032" cy="24892"/>
          </a:xfrm>
          <a:custGeom>
            <a:avLst/>
            <a:gdLst/>
            <a:ahLst/>
            <a:cxnLst/>
            <a:rect l="l" t="t" r="r" b="b"/>
            <a:pathLst>
              <a:path w="10032" h="24892">
                <a:moveTo>
                  <a:pt x="4572" y="4572"/>
                </a:moveTo>
                <a:moveTo>
                  <a:pt x="5460" y="20320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31" name="object 631"/>
          <p:cNvSpPr/>
          <p:nvPr/>
        </p:nvSpPr>
        <p:spPr>
          <a:xfrm>
            <a:off x="7166870" y="5112512"/>
            <a:ext cx="613664" cy="156972"/>
          </a:xfrm>
          <a:custGeom>
            <a:avLst/>
            <a:gdLst/>
            <a:ahLst/>
            <a:cxnLst/>
            <a:rect l="l" t="t" r="r" b="b"/>
            <a:pathLst>
              <a:path w="613664" h="156972">
                <a:moveTo>
                  <a:pt x="578358" y="101854"/>
                </a:moveTo>
                <a:cubicBezTo>
                  <a:pt x="573532" y="102235"/>
                  <a:pt x="568325" y="102743"/>
                  <a:pt x="562737" y="103378"/>
                </a:cubicBezTo>
                <a:cubicBezTo>
                  <a:pt x="557149" y="104140"/>
                  <a:pt x="552830" y="104902"/>
                  <a:pt x="550037" y="105918"/>
                </a:cubicBezTo>
                <a:cubicBezTo>
                  <a:pt x="546480" y="106934"/>
                  <a:pt x="543687" y="108585"/>
                  <a:pt x="541782" y="110744"/>
                </a:cubicBezTo>
                <a:cubicBezTo>
                  <a:pt x="539877" y="112903"/>
                  <a:pt x="538988" y="115697"/>
                  <a:pt x="538988" y="119126"/>
                </a:cubicBezTo>
                <a:cubicBezTo>
                  <a:pt x="538988" y="121539"/>
                  <a:pt x="539242" y="123317"/>
                  <a:pt x="539623" y="124841"/>
                </a:cubicBezTo>
                <a:cubicBezTo>
                  <a:pt x="540004" y="126238"/>
                  <a:pt x="541020" y="127635"/>
                  <a:pt x="542543" y="128905"/>
                </a:cubicBezTo>
                <a:cubicBezTo>
                  <a:pt x="544067" y="130302"/>
                  <a:pt x="545846" y="131191"/>
                  <a:pt x="548004" y="131826"/>
                </a:cubicBezTo>
                <a:cubicBezTo>
                  <a:pt x="550164" y="132461"/>
                  <a:pt x="553466" y="132842"/>
                  <a:pt x="557911" y="132842"/>
                </a:cubicBezTo>
                <a:cubicBezTo>
                  <a:pt x="561467" y="132842"/>
                  <a:pt x="565023" y="132080"/>
                  <a:pt x="568705" y="130556"/>
                </a:cubicBezTo>
                <a:cubicBezTo>
                  <a:pt x="572389" y="129159"/>
                  <a:pt x="575564" y="127254"/>
                  <a:pt x="578358" y="124841"/>
                </a:cubicBezTo>
                <a:close/>
                <a:moveTo>
                  <a:pt x="297688" y="42799"/>
                </a:moveTo>
                <a:lnTo>
                  <a:pt x="333502" y="42799"/>
                </a:lnTo>
                <a:lnTo>
                  <a:pt x="333502" y="153924"/>
                </a:lnTo>
                <a:lnTo>
                  <a:pt x="297688" y="153924"/>
                </a:lnTo>
                <a:close/>
                <a:moveTo>
                  <a:pt x="439674" y="39751"/>
                </a:moveTo>
                <a:cubicBezTo>
                  <a:pt x="451739" y="39751"/>
                  <a:pt x="461010" y="43307"/>
                  <a:pt x="467867" y="50292"/>
                </a:cubicBezTo>
                <a:cubicBezTo>
                  <a:pt x="474599" y="57277"/>
                  <a:pt x="477901" y="67691"/>
                  <a:pt x="477901" y="81661"/>
                </a:cubicBezTo>
                <a:lnTo>
                  <a:pt x="477901" y="153924"/>
                </a:lnTo>
                <a:lnTo>
                  <a:pt x="442214" y="153924"/>
                </a:lnTo>
                <a:lnTo>
                  <a:pt x="442214" y="98806"/>
                </a:lnTo>
                <a:cubicBezTo>
                  <a:pt x="442214" y="94361"/>
                  <a:pt x="441960" y="89916"/>
                  <a:pt x="441579" y="85471"/>
                </a:cubicBezTo>
                <a:cubicBezTo>
                  <a:pt x="441071" y="81026"/>
                  <a:pt x="440309" y="77724"/>
                  <a:pt x="439166" y="75565"/>
                </a:cubicBezTo>
                <a:cubicBezTo>
                  <a:pt x="437768" y="73152"/>
                  <a:pt x="435864" y="71374"/>
                  <a:pt x="433324" y="70231"/>
                </a:cubicBezTo>
                <a:cubicBezTo>
                  <a:pt x="430784" y="69088"/>
                  <a:pt x="427228" y="68580"/>
                  <a:pt x="422655" y="68580"/>
                </a:cubicBezTo>
                <a:cubicBezTo>
                  <a:pt x="419480" y="68580"/>
                  <a:pt x="416179" y="69088"/>
                  <a:pt x="412877" y="70104"/>
                </a:cubicBezTo>
                <a:cubicBezTo>
                  <a:pt x="409575" y="71247"/>
                  <a:pt x="405892" y="72898"/>
                  <a:pt x="402082" y="75184"/>
                </a:cubicBezTo>
                <a:lnTo>
                  <a:pt x="402082" y="153924"/>
                </a:lnTo>
                <a:lnTo>
                  <a:pt x="366267" y="153924"/>
                </a:lnTo>
                <a:lnTo>
                  <a:pt x="366267" y="42799"/>
                </a:lnTo>
                <a:lnTo>
                  <a:pt x="402082" y="42799"/>
                </a:lnTo>
                <a:lnTo>
                  <a:pt x="402082" y="55118"/>
                </a:lnTo>
                <a:cubicBezTo>
                  <a:pt x="408304" y="50165"/>
                  <a:pt x="414401" y="46355"/>
                  <a:pt x="420242" y="43688"/>
                </a:cubicBezTo>
                <a:cubicBezTo>
                  <a:pt x="426085" y="41021"/>
                  <a:pt x="432562" y="39751"/>
                  <a:pt x="439674" y="39751"/>
                </a:cubicBezTo>
                <a:close/>
                <a:moveTo>
                  <a:pt x="556260" y="39624"/>
                </a:moveTo>
                <a:cubicBezTo>
                  <a:pt x="576579" y="39624"/>
                  <a:pt x="591185" y="42799"/>
                  <a:pt x="600202" y="49022"/>
                </a:cubicBezTo>
                <a:cubicBezTo>
                  <a:pt x="609218" y="55245"/>
                  <a:pt x="613664" y="65024"/>
                  <a:pt x="613664" y="78359"/>
                </a:cubicBezTo>
                <a:lnTo>
                  <a:pt x="613664" y="153924"/>
                </a:lnTo>
                <a:lnTo>
                  <a:pt x="578358" y="153924"/>
                </a:lnTo>
                <a:lnTo>
                  <a:pt x="578358" y="142240"/>
                </a:lnTo>
                <a:cubicBezTo>
                  <a:pt x="576453" y="143637"/>
                  <a:pt x="574040" y="145415"/>
                  <a:pt x="571246" y="147447"/>
                </a:cubicBezTo>
                <a:cubicBezTo>
                  <a:pt x="568452" y="149479"/>
                  <a:pt x="565785" y="151130"/>
                  <a:pt x="563245" y="152273"/>
                </a:cubicBezTo>
                <a:cubicBezTo>
                  <a:pt x="559689" y="153924"/>
                  <a:pt x="556133" y="155067"/>
                  <a:pt x="552323" y="155829"/>
                </a:cubicBezTo>
                <a:cubicBezTo>
                  <a:pt x="548640" y="156591"/>
                  <a:pt x="544449" y="156972"/>
                  <a:pt x="540004" y="156972"/>
                </a:cubicBezTo>
                <a:cubicBezTo>
                  <a:pt x="529463" y="156972"/>
                  <a:pt x="520573" y="153670"/>
                  <a:pt x="513461" y="147193"/>
                </a:cubicBezTo>
                <a:cubicBezTo>
                  <a:pt x="506349" y="140589"/>
                  <a:pt x="502792" y="132207"/>
                  <a:pt x="502792" y="122047"/>
                </a:cubicBezTo>
                <a:cubicBezTo>
                  <a:pt x="502792" y="114046"/>
                  <a:pt x="504571" y="107315"/>
                  <a:pt x="508254" y="102235"/>
                </a:cubicBezTo>
                <a:cubicBezTo>
                  <a:pt x="511810" y="97028"/>
                  <a:pt x="517017" y="92964"/>
                  <a:pt x="523621" y="90043"/>
                </a:cubicBezTo>
                <a:cubicBezTo>
                  <a:pt x="530225" y="87122"/>
                  <a:pt x="538479" y="84963"/>
                  <a:pt x="548259" y="83693"/>
                </a:cubicBezTo>
                <a:cubicBezTo>
                  <a:pt x="557911" y="82423"/>
                  <a:pt x="568071" y="81534"/>
                  <a:pt x="578612" y="80899"/>
                </a:cubicBezTo>
                <a:lnTo>
                  <a:pt x="578612" y="80391"/>
                </a:lnTo>
                <a:cubicBezTo>
                  <a:pt x="578612" y="74168"/>
                  <a:pt x="576072" y="69977"/>
                  <a:pt x="571118" y="67564"/>
                </a:cubicBezTo>
                <a:cubicBezTo>
                  <a:pt x="566039" y="65278"/>
                  <a:pt x="558673" y="64135"/>
                  <a:pt x="548893" y="64135"/>
                </a:cubicBezTo>
                <a:cubicBezTo>
                  <a:pt x="543052" y="64135"/>
                  <a:pt x="536702" y="65151"/>
                  <a:pt x="530098" y="67183"/>
                </a:cubicBezTo>
                <a:cubicBezTo>
                  <a:pt x="523367" y="69342"/>
                  <a:pt x="518667" y="70866"/>
                  <a:pt x="515747" y="72009"/>
                </a:cubicBezTo>
                <a:lnTo>
                  <a:pt x="512445" y="72009"/>
                </a:lnTo>
                <a:lnTo>
                  <a:pt x="512445" y="45212"/>
                </a:lnTo>
                <a:cubicBezTo>
                  <a:pt x="516254" y="44196"/>
                  <a:pt x="522351" y="43053"/>
                  <a:pt x="530860" y="41656"/>
                </a:cubicBezTo>
                <a:cubicBezTo>
                  <a:pt x="539368" y="40386"/>
                  <a:pt x="547751" y="39624"/>
                  <a:pt x="556260" y="39624"/>
                </a:cubicBezTo>
                <a:close/>
                <a:moveTo>
                  <a:pt x="75311" y="3683"/>
                </a:moveTo>
                <a:cubicBezTo>
                  <a:pt x="81534" y="3683"/>
                  <a:pt x="87122" y="4064"/>
                  <a:pt x="92075" y="4826"/>
                </a:cubicBezTo>
                <a:cubicBezTo>
                  <a:pt x="97028" y="5461"/>
                  <a:pt x="101727" y="6350"/>
                  <a:pt x="105917" y="7493"/>
                </a:cubicBezTo>
                <a:cubicBezTo>
                  <a:pt x="110363" y="8763"/>
                  <a:pt x="114300" y="10160"/>
                  <a:pt x="117983" y="11684"/>
                </a:cubicBezTo>
                <a:cubicBezTo>
                  <a:pt x="121539" y="13208"/>
                  <a:pt x="124714" y="14732"/>
                  <a:pt x="127380" y="16002"/>
                </a:cubicBezTo>
                <a:lnTo>
                  <a:pt x="127380" y="51689"/>
                </a:lnTo>
                <a:lnTo>
                  <a:pt x="123063" y="51689"/>
                </a:lnTo>
                <a:cubicBezTo>
                  <a:pt x="121158" y="50165"/>
                  <a:pt x="118872" y="48260"/>
                  <a:pt x="116078" y="46101"/>
                </a:cubicBezTo>
                <a:cubicBezTo>
                  <a:pt x="113284" y="43942"/>
                  <a:pt x="110109" y="41783"/>
                  <a:pt x="106553" y="39751"/>
                </a:cubicBezTo>
                <a:cubicBezTo>
                  <a:pt x="102870" y="37592"/>
                  <a:pt x="98933" y="35814"/>
                  <a:pt x="94742" y="34417"/>
                </a:cubicBezTo>
                <a:cubicBezTo>
                  <a:pt x="90551" y="32893"/>
                  <a:pt x="85979" y="32258"/>
                  <a:pt x="81153" y="32258"/>
                </a:cubicBezTo>
                <a:cubicBezTo>
                  <a:pt x="75818" y="32258"/>
                  <a:pt x="70739" y="33020"/>
                  <a:pt x="65913" y="34798"/>
                </a:cubicBezTo>
                <a:cubicBezTo>
                  <a:pt x="61087" y="36449"/>
                  <a:pt x="56642" y="39243"/>
                  <a:pt x="52578" y="43053"/>
                </a:cubicBezTo>
                <a:cubicBezTo>
                  <a:pt x="48641" y="46863"/>
                  <a:pt x="45466" y="51816"/>
                  <a:pt x="43053" y="58039"/>
                </a:cubicBezTo>
                <a:cubicBezTo>
                  <a:pt x="40767" y="64262"/>
                  <a:pt x="39497" y="71755"/>
                  <a:pt x="39497" y="80518"/>
                </a:cubicBezTo>
                <a:cubicBezTo>
                  <a:pt x="39497" y="89789"/>
                  <a:pt x="40767" y="97409"/>
                  <a:pt x="43434" y="103632"/>
                </a:cubicBezTo>
                <a:cubicBezTo>
                  <a:pt x="45974" y="109855"/>
                  <a:pt x="49276" y="114681"/>
                  <a:pt x="53213" y="118237"/>
                </a:cubicBezTo>
                <a:cubicBezTo>
                  <a:pt x="57277" y="121920"/>
                  <a:pt x="61722" y="124460"/>
                  <a:pt x="66675" y="125984"/>
                </a:cubicBezTo>
                <a:cubicBezTo>
                  <a:pt x="71628" y="127508"/>
                  <a:pt x="76580" y="128397"/>
                  <a:pt x="81407" y="128397"/>
                </a:cubicBezTo>
                <a:cubicBezTo>
                  <a:pt x="85979" y="128397"/>
                  <a:pt x="90551" y="127635"/>
                  <a:pt x="95123" y="126238"/>
                </a:cubicBezTo>
                <a:cubicBezTo>
                  <a:pt x="99567" y="124841"/>
                  <a:pt x="103759" y="123063"/>
                  <a:pt x="107568" y="120650"/>
                </a:cubicBezTo>
                <a:cubicBezTo>
                  <a:pt x="110871" y="118745"/>
                  <a:pt x="113792" y="116713"/>
                  <a:pt x="116586" y="114554"/>
                </a:cubicBezTo>
                <a:cubicBezTo>
                  <a:pt x="119379" y="112395"/>
                  <a:pt x="121666" y="110490"/>
                  <a:pt x="123443" y="108966"/>
                </a:cubicBezTo>
                <a:lnTo>
                  <a:pt x="127380" y="108966"/>
                </a:lnTo>
                <a:lnTo>
                  <a:pt x="127380" y="144145"/>
                </a:lnTo>
                <a:cubicBezTo>
                  <a:pt x="123698" y="145796"/>
                  <a:pt x="120142" y="147320"/>
                  <a:pt x="116840" y="148844"/>
                </a:cubicBezTo>
                <a:cubicBezTo>
                  <a:pt x="113411" y="150241"/>
                  <a:pt x="109854" y="151511"/>
                  <a:pt x="106172" y="152527"/>
                </a:cubicBezTo>
                <a:cubicBezTo>
                  <a:pt x="101346" y="153924"/>
                  <a:pt x="96901" y="155067"/>
                  <a:pt x="92710" y="155702"/>
                </a:cubicBezTo>
                <a:cubicBezTo>
                  <a:pt x="88392" y="156464"/>
                  <a:pt x="82677" y="156845"/>
                  <a:pt x="75184" y="156845"/>
                </a:cubicBezTo>
                <a:cubicBezTo>
                  <a:pt x="64262" y="156845"/>
                  <a:pt x="54102" y="155194"/>
                  <a:pt x="44830" y="152019"/>
                </a:cubicBezTo>
                <a:cubicBezTo>
                  <a:pt x="35687" y="148717"/>
                  <a:pt x="27686" y="143891"/>
                  <a:pt x="20954" y="137541"/>
                </a:cubicBezTo>
                <a:cubicBezTo>
                  <a:pt x="14351" y="131191"/>
                  <a:pt x="9143" y="123190"/>
                  <a:pt x="5461" y="113538"/>
                </a:cubicBezTo>
                <a:cubicBezTo>
                  <a:pt x="1904" y="104013"/>
                  <a:pt x="0" y="92964"/>
                  <a:pt x="0" y="80391"/>
                </a:cubicBezTo>
                <a:cubicBezTo>
                  <a:pt x="0" y="68707"/>
                  <a:pt x="1778" y="58166"/>
                  <a:pt x="5207" y="48641"/>
                </a:cubicBezTo>
                <a:cubicBezTo>
                  <a:pt x="8763" y="39116"/>
                  <a:pt x="13842" y="30988"/>
                  <a:pt x="20447" y="24257"/>
                </a:cubicBezTo>
                <a:cubicBezTo>
                  <a:pt x="26924" y="17653"/>
                  <a:pt x="34798" y="12700"/>
                  <a:pt x="44323" y="9017"/>
                </a:cubicBezTo>
                <a:cubicBezTo>
                  <a:pt x="53721" y="5461"/>
                  <a:pt x="64135" y="3683"/>
                  <a:pt x="75311" y="3683"/>
                </a:cubicBezTo>
                <a:close/>
                <a:moveTo>
                  <a:pt x="296799" y="0"/>
                </a:moveTo>
                <a:lnTo>
                  <a:pt x="334391" y="0"/>
                </a:lnTo>
                <a:lnTo>
                  <a:pt x="334391" y="27051"/>
                </a:lnTo>
                <a:lnTo>
                  <a:pt x="296799" y="27051"/>
                </a:lnTo>
                <a:close/>
                <a:moveTo>
                  <a:pt x="152908" y="0"/>
                </a:moveTo>
                <a:lnTo>
                  <a:pt x="188722" y="0"/>
                </a:lnTo>
                <a:lnTo>
                  <a:pt x="188722" y="55118"/>
                </a:lnTo>
                <a:cubicBezTo>
                  <a:pt x="194945" y="50165"/>
                  <a:pt x="201041" y="46355"/>
                  <a:pt x="206883" y="43688"/>
                </a:cubicBezTo>
                <a:cubicBezTo>
                  <a:pt x="212725" y="41021"/>
                  <a:pt x="219202" y="39751"/>
                  <a:pt x="226314" y="39751"/>
                </a:cubicBezTo>
                <a:cubicBezTo>
                  <a:pt x="238379" y="39751"/>
                  <a:pt x="247650" y="43307"/>
                  <a:pt x="254508" y="50292"/>
                </a:cubicBezTo>
                <a:cubicBezTo>
                  <a:pt x="261239" y="57277"/>
                  <a:pt x="264541" y="67691"/>
                  <a:pt x="264541" y="81661"/>
                </a:cubicBezTo>
                <a:lnTo>
                  <a:pt x="264541" y="153924"/>
                </a:lnTo>
                <a:lnTo>
                  <a:pt x="228854" y="153924"/>
                </a:lnTo>
                <a:lnTo>
                  <a:pt x="228854" y="98806"/>
                </a:lnTo>
                <a:cubicBezTo>
                  <a:pt x="228854" y="94361"/>
                  <a:pt x="228600" y="89916"/>
                  <a:pt x="228218" y="85471"/>
                </a:cubicBezTo>
                <a:cubicBezTo>
                  <a:pt x="227711" y="81026"/>
                  <a:pt x="226949" y="77724"/>
                  <a:pt x="225805" y="75565"/>
                </a:cubicBezTo>
                <a:cubicBezTo>
                  <a:pt x="224409" y="73152"/>
                  <a:pt x="222504" y="71374"/>
                  <a:pt x="219964" y="70231"/>
                </a:cubicBezTo>
                <a:cubicBezTo>
                  <a:pt x="217424" y="69088"/>
                  <a:pt x="213867" y="68580"/>
                  <a:pt x="209296" y="68580"/>
                </a:cubicBezTo>
                <a:cubicBezTo>
                  <a:pt x="206121" y="68580"/>
                  <a:pt x="202818" y="69088"/>
                  <a:pt x="199517" y="70104"/>
                </a:cubicBezTo>
                <a:cubicBezTo>
                  <a:pt x="196215" y="71247"/>
                  <a:pt x="192532" y="72898"/>
                  <a:pt x="188722" y="75184"/>
                </a:cubicBezTo>
                <a:lnTo>
                  <a:pt x="188722" y="153924"/>
                </a:lnTo>
                <a:lnTo>
                  <a:pt x="152908" y="15392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32" name="object 632"/>
          <p:cNvSpPr/>
          <p:nvPr/>
        </p:nvSpPr>
        <p:spPr>
          <a:xfrm>
            <a:off x="7740706" y="5209794"/>
            <a:ext cx="9143" cy="9144"/>
          </a:xfrm>
          <a:custGeom>
            <a:avLst/>
            <a:gdLst/>
            <a:ahLst/>
            <a:cxnLst/>
            <a:rect l="l" t="t" r="r" b="b"/>
            <a:pathLst>
              <a:path w="9143" h="9144"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33" name="object 633"/>
          <p:cNvSpPr/>
          <p:nvPr/>
        </p:nvSpPr>
        <p:spPr>
          <a:xfrm>
            <a:off x="7701284" y="5209794"/>
            <a:ext cx="48513" cy="40132"/>
          </a:xfrm>
          <a:custGeom>
            <a:avLst/>
            <a:gdLst/>
            <a:ahLst/>
            <a:cxnLst/>
            <a:rect l="l" t="t" r="r" b="b"/>
            <a:pathLst>
              <a:path w="48513" h="40132">
                <a:moveTo>
                  <a:pt x="43942" y="4572"/>
                </a:moveTo>
                <a:cubicBezTo>
                  <a:pt x="39116" y="4953"/>
                  <a:pt x="33909" y="5461"/>
                  <a:pt x="28321" y="6096"/>
                </a:cubicBezTo>
                <a:cubicBezTo>
                  <a:pt x="22733" y="6858"/>
                  <a:pt x="18414" y="7620"/>
                  <a:pt x="15621" y="8636"/>
                </a:cubicBezTo>
                <a:cubicBezTo>
                  <a:pt x="12064" y="9652"/>
                  <a:pt x="9271" y="11303"/>
                  <a:pt x="7366" y="13462"/>
                </a:cubicBezTo>
                <a:cubicBezTo>
                  <a:pt x="5461" y="15621"/>
                  <a:pt x="4572" y="18415"/>
                  <a:pt x="4572" y="21844"/>
                </a:cubicBezTo>
                <a:cubicBezTo>
                  <a:pt x="4572" y="24257"/>
                  <a:pt x="4826" y="26035"/>
                  <a:pt x="5207" y="27559"/>
                </a:cubicBezTo>
                <a:cubicBezTo>
                  <a:pt x="5588" y="28956"/>
                  <a:pt x="6604" y="30353"/>
                  <a:pt x="8127" y="31623"/>
                </a:cubicBezTo>
                <a:cubicBezTo>
                  <a:pt x="9651" y="33020"/>
                  <a:pt x="11430" y="33909"/>
                  <a:pt x="13588" y="34544"/>
                </a:cubicBezTo>
                <a:cubicBezTo>
                  <a:pt x="15748" y="35179"/>
                  <a:pt x="19050" y="35560"/>
                  <a:pt x="23495" y="35560"/>
                </a:cubicBezTo>
                <a:cubicBezTo>
                  <a:pt x="27051" y="35560"/>
                  <a:pt x="30607" y="34798"/>
                  <a:pt x="34289" y="33274"/>
                </a:cubicBezTo>
                <a:cubicBezTo>
                  <a:pt x="37973" y="31877"/>
                  <a:pt x="41148" y="29972"/>
                  <a:pt x="43942" y="27559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34" name="object 634"/>
          <p:cNvSpPr/>
          <p:nvPr/>
        </p:nvSpPr>
        <p:spPr>
          <a:xfrm>
            <a:off x="7459986" y="5150851"/>
            <a:ext cx="289813" cy="120269"/>
          </a:xfrm>
          <a:custGeom>
            <a:avLst/>
            <a:gdLst/>
            <a:ahLst/>
            <a:cxnLst/>
            <a:rect l="l" t="t" r="r" b="b"/>
            <a:pathLst>
              <a:path w="289813" h="120269">
                <a:moveTo>
                  <a:pt x="285242" y="86614"/>
                </a:moveTo>
                <a:moveTo>
                  <a:pt x="285242" y="63627"/>
                </a:moveTo>
                <a:moveTo>
                  <a:pt x="4572" y="4572"/>
                </a:moveTo>
                <a:lnTo>
                  <a:pt x="40386" y="4572"/>
                </a:lnTo>
                <a:lnTo>
                  <a:pt x="40386" y="115697"/>
                </a:lnTo>
                <a:lnTo>
                  <a:pt x="4572" y="115697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35" name="object 635"/>
          <p:cNvSpPr/>
          <p:nvPr/>
        </p:nvSpPr>
        <p:spPr>
          <a:xfrm>
            <a:off x="7459986" y="5147803"/>
            <a:ext cx="289813" cy="123317"/>
          </a:xfrm>
          <a:custGeom>
            <a:avLst/>
            <a:gdLst/>
            <a:ahLst/>
            <a:cxnLst/>
            <a:rect l="l" t="t" r="r" b="b"/>
            <a:pathLst>
              <a:path w="289813" h="123317">
                <a:moveTo>
                  <a:pt x="4572" y="118745"/>
                </a:moveTo>
                <a:moveTo>
                  <a:pt x="285242" y="66675"/>
                </a:moveTo>
                <a:moveTo>
                  <a:pt x="146558" y="4572"/>
                </a:moveTo>
                <a:cubicBezTo>
                  <a:pt x="158623" y="4572"/>
                  <a:pt x="167894" y="8128"/>
                  <a:pt x="174751" y="15113"/>
                </a:cubicBezTo>
                <a:cubicBezTo>
                  <a:pt x="181483" y="22098"/>
                  <a:pt x="184785" y="32512"/>
                  <a:pt x="184785" y="4648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36" name="object 636"/>
          <p:cNvSpPr/>
          <p:nvPr/>
        </p:nvSpPr>
        <p:spPr>
          <a:xfrm>
            <a:off x="7604506" y="5189713"/>
            <a:ext cx="44830" cy="81407"/>
          </a:xfrm>
          <a:custGeom>
            <a:avLst/>
            <a:gdLst/>
            <a:ahLst/>
            <a:cxnLst/>
            <a:rect l="l" t="t" r="r" b="b"/>
            <a:pathLst>
              <a:path w="44830" h="81407">
                <a:moveTo>
                  <a:pt x="40259" y="4572"/>
                </a:moveTo>
                <a:lnTo>
                  <a:pt x="40259" y="76835"/>
                </a:lnTo>
                <a:lnTo>
                  <a:pt x="4572" y="76835"/>
                </a:lnTo>
                <a:lnTo>
                  <a:pt x="4572" y="21717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37" name="object 637"/>
          <p:cNvSpPr/>
          <p:nvPr/>
        </p:nvSpPr>
        <p:spPr>
          <a:xfrm>
            <a:off x="7564374" y="5176520"/>
            <a:ext cx="49276" cy="39370"/>
          </a:xfrm>
          <a:custGeom>
            <a:avLst/>
            <a:gdLst/>
            <a:ahLst/>
            <a:cxnLst/>
            <a:rect l="l" t="t" r="r" b="b"/>
            <a:pathLst>
              <a:path w="49276" h="39370">
                <a:moveTo>
                  <a:pt x="44704" y="34798"/>
                </a:moveTo>
                <a:cubicBezTo>
                  <a:pt x="44704" y="30353"/>
                  <a:pt x="44450" y="25908"/>
                  <a:pt x="44069" y="21463"/>
                </a:cubicBezTo>
                <a:cubicBezTo>
                  <a:pt x="43561" y="17018"/>
                  <a:pt x="42799" y="13716"/>
                  <a:pt x="41656" y="11557"/>
                </a:cubicBezTo>
                <a:cubicBezTo>
                  <a:pt x="40258" y="9144"/>
                  <a:pt x="38354" y="7366"/>
                  <a:pt x="35814" y="6223"/>
                </a:cubicBezTo>
                <a:cubicBezTo>
                  <a:pt x="33274" y="5080"/>
                  <a:pt x="29718" y="4572"/>
                  <a:pt x="25145" y="4572"/>
                </a:cubicBezTo>
                <a:cubicBezTo>
                  <a:pt x="21970" y="4572"/>
                  <a:pt x="18669" y="5080"/>
                  <a:pt x="15367" y="6096"/>
                </a:cubicBezTo>
                <a:cubicBezTo>
                  <a:pt x="12065" y="7239"/>
                  <a:pt x="8382" y="8890"/>
                  <a:pt x="4572" y="11176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38" name="object 638"/>
          <p:cNvSpPr/>
          <p:nvPr/>
        </p:nvSpPr>
        <p:spPr>
          <a:xfrm>
            <a:off x="7528616" y="5150851"/>
            <a:ext cx="44957" cy="120269"/>
          </a:xfrm>
          <a:custGeom>
            <a:avLst/>
            <a:gdLst/>
            <a:ahLst/>
            <a:cxnLst/>
            <a:rect l="l" t="t" r="r" b="b"/>
            <a:pathLst>
              <a:path w="44957" h="120269">
                <a:moveTo>
                  <a:pt x="40386" y="36957"/>
                </a:moveTo>
                <a:lnTo>
                  <a:pt x="40386" y="115697"/>
                </a:lnTo>
                <a:lnTo>
                  <a:pt x="4571" y="115697"/>
                </a:lnTo>
                <a:lnTo>
                  <a:pt x="4571" y="4572"/>
                </a:lnTo>
                <a:lnTo>
                  <a:pt x="40386" y="4572"/>
                </a:lnTo>
                <a:lnTo>
                  <a:pt x="40386" y="1689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39" name="object 639"/>
          <p:cNvSpPr/>
          <p:nvPr/>
        </p:nvSpPr>
        <p:spPr>
          <a:xfrm>
            <a:off x="7564374" y="5147564"/>
            <a:ext cx="220726" cy="71374"/>
          </a:xfrm>
          <a:custGeom>
            <a:avLst/>
            <a:gdLst/>
            <a:ahLst/>
            <a:cxnLst/>
            <a:rect l="l" t="t" r="r" b="b"/>
            <a:pathLst>
              <a:path w="220726" h="71374">
                <a:moveTo>
                  <a:pt x="4572" y="20066"/>
                </a:moveTo>
                <a:cubicBezTo>
                  <a:pt x="10794" y="15113"/>
                  <a:pt x="16891" y="11303"/>
                  <a:pt x="22732" y="8636"/>
                </a:cubicBezTo>
                <a:cubicBezTo>
                  <a:pt x="28575" y="5969"/>
                  <a:pt x="35052" y="4699"/>
                  <a:pt x="42164" y="4699"/>
                </a:cubicBezTo>
                <a:moveTo>
                  <a:pt x="180848" y="66802"/>
                </a:moveTo>
                <a:moveTo>
                  <a:pt x="158750" y="4572"/>
                </a:moveTo>
                <a:cubicBezTo>
                  <a:pt x="179069" y="4572"/>
                  <a:pt x="193675" y="7747"/>
                  <a:pt x="202692" y="13970"/>
                </a:cubicBezTo>
                <a:cubicBezTo>
                  <a:pt x="211708" y="20193"/>
                  <a:pt x="216154" y="29972"/>
                  <a:pt x="216154" y="43307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40" name="object 640"/>
          <p:cNvSpPr/>
          <p:nvPr/>
        </p:nvSpPr>
        <p:spPr>
          <a:xfrm>
            <a:off x="7740650" y="5186411"/>
            <a:ext cx="44450" cy="84709"/>
          </a:xfrm>
          <a:custGeom>
            <a:avLst/>
            <a:gdLst/>
            <a:ahLst/>
            <a:cxnLst/>
            <a:rect l="l" t="t" r="r" b="b"/>
            <a:pathLst>
              <a:path w="44450" h="84709">
                <a:moveTo>
                  <a:pt x="39878" y="4572"/>
                </a:moveTo>
                <a:lnTo>
                  <a:pt x="39878" y="80137"/>
                </a:lnTo>
                <a:lnTo>
                  <a:pt x="4572" y="80137"/>
                </a:lnTo>
                <a:lnTo>
                  <a:pt x="4572" y="6845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41" name="object 641"/>
          <p:cNvSpPr/>
          <p:nvPr/>
        </p:nvSpPr>
        <p:spPr>
          <a:xfrm>
            <a:off x="7665141" y="5188951"/>
            <a:ext cx="84963" cy="85217"/>
          </a:xfrm>
          <a:custGeom>
            <a:avLst/>
            <a:gdLst/>
            <a:ahLst/>
            <a:cxnLst/>
            <a:rect l="l" t="t" r="r" b="b"/>
            <a:pathLst>
              <a:path w="84963" h="85217">
                <a:moveTo>
                  <a:pt x="80137" y="65913"/>
                </a:moveTo>
                <a:cubicBezTo>
                  <a:pt x="78232" y="67310"/>
                  <a:pt x="75819" y="69088"/>
                  <a:pt x="73025" y="71120"/>
                </a:cubicBezTo>
                <a:cubicBezTo>
                  <a:pt x="70231" y="73152"/>
                  <a:pt x="67564" y="74803"/>
                  <a:pt x="65024" y="75946"/>
                </a:cubicBezTo>
                <a:cubicBezTo>
                  <a:pt x="61468" y="77597"/>
                  <a:pt x="57912" y="78740"/>
                  <a:pt x="54102" y="79502"/>
                </a:cubicBezTo>
                <a:cubicBezTo>
                  <a:pt x="50419" y="80264"/>
                  <a:pt x="46228" y="80645"/>
                  <a:pt x="41783" y="80645"/>
                </a:cubicBezTo>
                <a:cubicBezTo>
                  <a:pt x="31242" y="80645"/>
                  <a:pt x="22352" y="77343"/>
                  <a:pt x="15240" y="70866"/>
                </a:cubicBezTo>
                <a:cubicBezTo>
                  <a:pt x="8128" y="64262"/>
                  <a:pt x="4571" y="55880"/>
                  <a:pt x="4571" y="45720"/>
                </a:cubicBezTo>
                <a:cubicBezTo>
                  <a:pt x="4571" y="37719"/>
                  <a:pt x="6350" y="30988"/>
                  <a:pt x="10033" y="25908"/>
                </a:cubicBezTo>
                <a:cubicBezTo>
                  <a:pt x="13589" y="20701"/>
                  <a:pt x="18796" y="16637"/>
                  <a:pt x="25400" y="13716"/>
                </a:cubicBezTo>
                <a:cubicBezTo>
                  <a:pt x="32004" y="10795"/>
                  <a:pt x="40258" y="8636"/>
                  <a:pt x="50038" y="7366"/>
                </a:cubicBezTo>
                <a:cubicBezTo>
                  <a:pt x="59690" y="6096"/>
                  <a:pt x="69850" y="5207"/>
                  <a:pt x="80391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42" name="object 642"/>
          <p:cNvSpPr/>
          <p:nvPr/>
        </p:nvSpPr>
        <p:spPr>
          <a:xfrm>
            <a:off x="7740904" y="5188331"/>
            <a:ext cx="9144" cy="9652"/>
          </a:xfrm>
          <a:custGeom>
            <a:avLst/>
            <a:gdLst/>
            <a:ahLst/>
            <a:cxnLst/>
            <a:rect l="l" t="t" r="r" b="b"/>
            <a:pathLst>
              <a:path w="9144" h="9652">
                <a:moveTo>
                  <a:pt x="4572" y="5080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43" name="object 643"/>
          <p:cNvSpPr/>
          <p:nvPr/>
        </p:nvSpPr>
        <p:spPr>
          <a:xfrm>
            <a:off x="7678040" y="5172075"/>
            <a:ext cx="72009" cy="25400"/>
          </a:xfrm>
          <a:custGeom>
            <a:avLst/>
            <a:gdLst/>
            <a:ahLst/>
            <a:cxnLst/>
            <a:rect l="l" t="t" r="r" b="b"/>
            <a:pathLst>
              <a:path w="72009" h="25400">
                <a:moveTo>
                  <a:pt x="67437" y="20828"/>
                </a:moveTo>
                <a:cubicBezTo>
                  <a:pt x="67437" y="14605"/>
                  <a:pt x="64897" y="10414"/>
                  <a:pt x="59943" y="8001"/>
                </a:cubicBezTo>
                <a:cubicBezTo>
                  <a:pt x="54864" y="5715"/>
                  <a:pt x="47498" y="4572"/>
                  <a:pt x="37718" y="4572"/>
                </a:cubicBezTo>
                <a:cubicBezTo>
                  <a:pt x="31877" y="4572"/>
                  <a:pt x="25527" y="5588"/>
                  <a:pt x="18923" y="7620"/>
                </a:cubicBezTo>
                <a:cubicBezTo>
                  <a:pt x="12192" y="9779"/>
                  <a:pt x="7492" y="11303"/>
                  <a:pt x="4572" y="12446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44" name="object 644"/>
          <p:cNvSpPr/>
          <p:nvPr/>
        </p:nvSpPr>
        <p:spPr>
          <a:xfrm>
            <a:off x="7674738" y="5153264"/>
            <a:ext cx="12445" cy="35941"/>
          </a:xfrm>
          <a:custGeom>
            <a:avLst/>
            <a:gdLst/>
            <a:ahLst/>
            <a:cxnLst/>
            <a:rect l="l" t="t" r="r" b="b"/>
            <a:pathLst>
              <a:path w="12445" h="35941">
                <a:moveTo>
                  <a:pt x="7874" y="31369"/>
                </a:moveTo>
                <a:lnTo>
                  <a:pt x="4572" y="31369"/>
                </a:ln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45" name="object 645"/>
          <p:cNvSpPr/>
          <p:nvPr/>
        </p:nvSpPr>
        <p:spPr>
          <a:xfrm>
            <a:off x="7237603" y="5111735"/>
            <a:ext cx="512190" cy="107315"/>
          </a:xfrm>
          <a:custGeom>
            <a:avLst/>
            <a:gdLst/>
            <a:ahLst/>
            <a:cxnLst/>
            <a:rect l="l" t="t" r="r" b="b"/>
            <a:pathLst>
              <a:path w="512190" h="107315">
                <a:moveTo>
                  <a:pt x="441706" y="46101"/>
                </a:moveTo>
                <a:cubicBezTo>
                  <a:pt x="445515" y="45085"/>
                  <a:pt x="451612" y="43942"/>
                  <a:pt x="460121" y="42545"/>
                </a:cubicBezTo>
                <a:cubicBezTo>
                  <a:pt x="468629" y="41275"/>
                  <a:pt x="477012" y="40513"/>
                  <a:pt x="485521" y="40513"/>
                </a:cubicBezTo>
                <a:moveTo>
                  <a:pt x="507619" y="102743"/>
                </a:moveTo>
                <a:moveTo>
                  <a:pt x="4572" y="4572"/>
                </a:moveTo>
                <a:cubicBezTo>
                  <a:pt x="10795" y="4572"/>
                  <a:pt x="16383" y="4953"/>
                  <a:pt x="21336" y="5715"/>
                </a:cubicBezTo>
                <a:cubicBezTo>
                  <a:pt x="26289" y="6350"/>
                  <a:pt x="30988" y="7239"/>
                  <a:pt x="35178" y="8382"/>
                </a:cubicBezTo>
                <a:cubicBezTo>
                  <a:pt x="39624" y="9652"/>
                  <a:pt x="43561" y="11049"/>
                  <a:pt x="47244" y="12573"/>
                </a:cubicBezTo>
                <a:cubicBezTo>
                  <a:pt x="50800" y="14097"/>
                  <a:pt x="53975" y="15621"/>
                  <a:pt x="56641" y="16891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46" name="object 646"/>
          <p:cNvSpPr/>
          <p:nvPr/>
        </p:nvSpPr>
        <p:spPr>
          <a:xfrm>
            <a:off x="7285411" y="5124054"/>
            <a:ext cx="13461" cy="44831"/>
          </a:xfrm>
          <a:custGeom>
            <a:avLst/>
            <a:gdLst/>
            <a:ahLst/>
            <a:cxnLst/>
            <a:rect l="l" t="t" r="r" b="b"/>
            <a:pathLst>
              <a:path w="13461" h="44831">
                <a:moveTo>
                  <a:pt x="8889" y="4572"/>
                </a:moveTo>
                <a:lnTo>
                  <a:pt x="8889" y="40259"/>
                </a:lnTo>
                <a:lnTo>
                  <a:pt x="4572" y="40259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47" name="object 647"/>
          <p:cNvSpPr/>
          <p:nvPr/>
        </p:nvSpPr>
        <p:spPr>
          <a:xfrm>
            <a:off x="7201789" y="5140310"/>
            <a:ext cx="93090" cy="105283"/>
          </a:xfrm>
          <a:custGeom>
            <a:avLst/>
            <a:gdLst/>
            <a:ahLst/>
            <a:cxnLst/>
            <a:rect l="l" t="t" r="r" b="b"/>
            <a:pathLst>
              <a:path w="93090" h="105283">
                <a:moveTo>
                  <a:pt x="88138" y="24003"/>
                </a:moveTo>
                <a:cubicBezTo>
                  <a:pt x="86233" y="22479"/>
                  <a:pt x="83947" y="20574"/>
                  <a:pt x="81153" y="18415"/>
                </a:cubicBezTo>
                <a:cubicBezTo>
                  <a:pt x="78359" y="16256"/>
                  <a:pt x="75184" y="14097"/>
                  <a:pt x="71628" y="12065"/>
                </a:cubicBezTo>
                <a:cubicBezTo>
                  <a:pt x="67945" y="9906"/>
                  <a:pt x="64008" y="8128"/>
                  <a:pt x="59817" y="6731"/>
                </a:cubicBezTo>
                <a:cubicBezTo>
                  <a:pt x="55626" y="5207"/>
                  <a:pt x="51054" y="4572"/>
                  <a:pt x="46228" y="4572"/>
                </a:cubicBezTo>
                <a:cubicBezTo>
                  <a:pt x="40893" y="4572"/>
                  <a:pt x="35814" y="5334"/>
                  <a:pt x="30988" y="7112"/>
                </a:cubicBezTo>
                <a:cubicBezTo>
                  <a:pt x="26162" y="8763"/>
                  <a:pt x="21717" y="11557"/>
                  <a:pt x="17653" y="15367"/>
                </a:cubicBezTo>
                <a:cubicBezTo>
                  <a:pt x="13716" y="19177"/>
                  <a:pt x="10541" y="24130"/>
                  <a:pt x="8128" y="30353"/>
                </a:cubicBezTo>
                <a:cubicBezTo>
                  <a:pt x="5842" y="36576"/>
                  <a:pt x="4572" y="44069"/>
                  <a:pt x="4572" y="52832"/>
                </a:cubicBezTo>
                <a:cubicBezTo>
                  <a:pt x="4572" y="62103"/>
                  <a:pt x="5842" y="69723"/>
                  <a:pt x="8509" y="75946"/>
                </a:cubicBezTo>
                <a:cubicBezTo>
                  <a:pt x="11049" y="82169"/>
                  <a:pt x="14351" y="86995"/>
                  <a:pt x="18288" y="90551"/>
                </a:cubicBezTo>
                <a:cubicBezTo>
                  <a:pt x="22352" y="94234"/>
                  <a:pt x="26797" y="96774"/>
                  <a:pt x="31750" y="98298"/>
                </a:cubicBezTo>
                <a:cubicBezTo>
                  <a:pt x="36703" y="99822"/>
                  <a:pt x="41655" y="100711"/>
                  <a:pt x="46482" y="100711"/>
                </a:cubicBezTo>
                <a:cubicBezTo>
                  <a:pt x="51054" y="100711"/>
                  <a:pt x="55626" y="99949"/>
                  <a:pt x="60198" y="98552"/>
                </a:cubicBezTo>
                <a:cubicBezTo>
                  <a:pt x="64642" y="97155"/>
                  <a:pt x="68834" y="95377"/>
                  <a:pt x="72643" y="92964"/>
                </a:cubicBezTo>
                <a:cubicBezTo>
                  <a:pt x="75946" y="91059"/>
                  <a:pt x="78867" y="89027"/>
                  <a:pt x="81661" y="86868"/>
                </a:cubicBezTo>
                <a:cubicBezTo>
                  <a:pt x="84454" y="84709"/>
                  <a:pt x="86741" y="82804"/>
                  <a:pt x="88518" y="81280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48" name="object 648"/>
          <p:cNvSpPr/>
          <p:nvPr/>
        </p:nvSpPr>
        <p:spPr>
          <a:xfrm>
            <a:off x="7285736" y="5217018"/>
            <a:ext cx="13080" cy="44323"/>
          </a:xfrm>
          <a:custGeom>
            <a:avLst/>
            <a:gdLst/>
            <a:ahLst/>
            <a:cxnLst/>
            <a:rect l="l" t="t" r="r" b="b"/>
            <a:pathLst>
              <a:path w="13080" h="44323">
                <a:moveTo>
                  <a:pt x="4571" y="4572"/>
                </a:moveTo>
                <a:lnTo>
                  <a:pt x="8508" y="4572"/>
                </a:lnTo>
                <a:lnTo>
                  <a:pt x="8508" y="3975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49" name="object 649"/>
          <p:cNvSpPr/>
          <p:nvPr/>
        </p:nvSpPr>
        <p:spPr>
          <a:xfrm>
            <a:off x="7162348" y="5108052"/>
            <a:ext cx="587501" cy="165989"/>
          </a:xfrm>
          <a:custGeom>
            <a:avLst/>
            <a:gdLst/>
            <a:ahLst/>
            <a:cxnLst/>
            <a:rect l="l" t="t" r="r" b="b"/>
            <a:pathLst>
              <a:path w="587501" h="165989">
                <a:moveTo>
                  <a:pt x="131952" y="148717"/>
                </a:moveTo>
                <a:cubicBezTo>
                  <a:pt x="128270" y="150368"/>
                  <a:pt x="124714" y="151892"/>
                  <a:pt x="121412" y="153416"/>
                </a:cubicBezTo>
                <a:cubicBezTo>
                  <a:pt x="117983" y="154813"/>
                  <a:pt x="114426" y="156083"/>
                  <a:pt x="110744" y="157099"/>
                </a:cubicBezTo>
                <a:cubicBezTo>
                  <a:pt x="105918" y="158496"/>
                  <a:pt x="101473" y="159639"/>
                  <a:pt x="97282" y="160274"/>
                </a:cubicBezTo>
                <a:cubicBezTo>
                  <a:pt x="92964" y="161036"/>
                  <a:pt x="87249" y="161417"/>
                  <a:pt x="79756" y="161417"/>
                </a:cubicBezTo>
                <a:cubicBezTo>
                  <a:pt x="68834" y="161417"/>
                  <a:pt x="58674" y="159766"/>
                  <a:pt x="49402" y="156591"/>
                </a:cubicBezTo>
                <a:cubicBezTo>
                  <a:pt x="40259" y="153289"/>
                  <a:pt x="32258" y="148463"/>
                  <a:pt x="25526" y="142113"/>
                </a:cubicBezTo>
                <a:cubicBezTo>
                  <a:pt x="18923" y="135763"/>
                  <a:pt x="13715" y="127762"/>
                  <a:pt x="10033" y="118110"/>
                </a:cubicBezTo>
                <a:cubicBezTo>
                  <a:pt x="6476" y="108585"/>
                  <a:pt x="4572" y="97536"/>
                  <a:pt x="4572" y="84963"/>
                </a:cubicBezTo>
                <a:cubicBezTo>
                  <a:pt x="4572" y="73279"/>
                  <a:pt x="6350" y="62738"/>
                  <a:pt x="9779" y="53213"/>
                </a:cubicBezTo>
                <a:cubicBezTo>
                  <a:pt x="13335" y="43688"/>
                  <a:pt x="18414" y="35560"/>
                  <a:pt x="25019" y="28829"/>
                </a:cubicBezTo>
                <a:cubicBezTo>
                  <a:pt x="31496" y="22225"/>
                  <a:pt x="39370" y="17272"/>
                  <a:pt x="48895" y="13589"/>
                </a:cubicBezTo>
                <a:cubicBezTo>
                  <a:pt x="58293" y="10033"/>
                  <a:pt x="68707" y="8255"/>
                  <a:pt x="79883" y="8255"/>
                </a:cubicBezTo>
                <a:moveTo>
                  <a:pt x="582930" y="106426"/>
                </a:moveTo>
                <a:moveTo>
                  <a:pt x="301371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50" name="object 650"/>
          <p:cNvSpPr/>
          <p:nvPr/>
        </p:nvSpPr>
        <p:spPr>
          <a:xfrm>
            <a:off x="7459094" y="5108052"/>
            <a:ext cx="46736" cy="36195"/>
          </a:xfrm>
          <a:custGeom>
            <a:avLst/>
            <a:gdLst/>
            <a:ahLst/>
            <a:cxnLst/>
            <a:rect l="l" t="t" r="r" b="b"/>
            <a:pathLst>
              <a:path w="46736" h="36195">
                <a:moveTo>
                  <a:pt x="4572" y="4572"/>
                </a:moveTo>
                <a:lnTo>
                  <a:pt x="42164" y="4572"/>
                </a:lnTo>
                <a:lnTo>
                  <a:pt x="42164" y="31623"/>
                </a:lnTo>
                <a:lnTo>
                  <a:pt x="4572" y="3162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51" name="object 651"/>
          <p:cNvSpPr/>
          <p:nvPr/>
        </p:nvSpPr>
        <p:spPr>
          <a:xfrm>
            <a:off x="7315256" y="5107940"/>
            <a:ext cx="434593" cy="110998"/>
          </a:xfrm>
          <a:custGeom>
            <a:avLst/>
            <a:gdLst/>
            <a:ahLst/>
            <a:cxnLst/>
            <a:rect l="l" t="t" r="r" b="b"/>
            <a:pathLst>
              <a:path w="434593" h="110998">
                <a:moveTo>
                  <a:pt x="148463" y="31623"/>
                </a:moveTo>
                <a:moveTo>
                  <a:pt x="430022" y="106426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52" name="object 652"/>
          <p:cNvSpPr/>
          <p:nvPr/>
        </p:nvSpPr>
        <p:spPr>
          <a:xfrm>
            <a:off x="7315245" y="5107940"/>
            <a:ext cx="44957" cy="64262"/>
          </a:xfrm>
          <a:custGeom>
            <a:avLst/>
            <a:gdLst/>
            <a:ahLst/>
            <a:cxnLst/>
            <a:rect l="l" t="t" r="r" b="b"/>
            <a:pathLst>
              <a:path w="44957" h="64262">
                <a:moveTo>
                  <a:pt x="4572" y="4572"/>
                </a:moveTo>
                <a:lnTo>
                  <a:pt x="40386" y="4572"/>
                </a:lnTo>
                <a:lnTo>
                  <a:pt x="40386" y="59690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53" name="object 653"/>
          <p:cNvSpPr/>
          <p:nvPr/>
        </p:nvSpPr>
        <p:spPr>
          <a:xfrm>
            <a:off x="7351070" y="5147691"/>
            <a:ext cx="84963" cy="51054"/>
          </a:xfrm>
          <a:custGeom>
            <a:avLst/>
            <a:gdLst/>
            <a:ahLst/>
            <a:cxnLst/>
            <a:rect l="l" t="t" r="r" b="b"/>
            <a:pathLst>
              <a:path w="84963" h="51054">
                <a:moveTo>
                  <a:pt x="4572" y="19939"/>
                </a:moveTo>
                <a:cubicBezTo>
                  <a:pt x="10795" y="14986"/>
                  <a:pt x="16891" y="11176"/>
                  <a:pt x="22733" y="8509"/>
                </a:cubicBezTo>
                <a:cubicBezTo>
                  <a:pt x="28575" y="5842"/>
                  <a:pt x="35052" y="4572"/>
                  <a:pt x="42164" y="4572"/>
                </a:cubicBezTo>
                <a:cubicBezTo>
                  <a:pt x="54229" y="4572"/>
                  <a:pt x="63500" y="8128"/>
                  <a:pt x="70358" y="15113"/>
                </a:cubicBezTo>
                <a:cubicBezTo>
                  <a:pt x="77089" y="22098"/>
                  <a:pt x="80391" y="32512"/>
                  <a:pt x="80391" y="4648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54" name="object 654"/>
          <p:cNvSpPr/>
          <p:nvPr/>
        </p:nvSpPr>
        <p:spPr>
          <a:xfrm>
            <a:off x="7391146" y="5189713"/>
            <a:ext cx="44830" cy="81407"/>
          </a:xfrm>
          <a:custGeom>
            <a:avLst/>
            <a:gdLst/>
            <a:ahLst/>
            <a:cxnLst/>
            <a:rect l="l" t="t" r="r" b="b"/>
            <a:pathLst>
              <a:path w="44830" h="81407">
                <a:moveTo>
                  <a:pt x="40259" y="4572"/>
                </a:moveTo>
                <a:lnTo>
                  <a:pt x="40259" y="76835"/>
                </a:lnTo>
                <a:lnTo>
                  <a:pt x="4572" y="76835"/>
                </a:lnTo>
                <a:lnTo>
                  <a:pt x="4572" y="21717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55" name="object 655"/>
          <p:cNvSpPr/>
          <p:nvPr/>
        </p:nvSpPr>
        <p:spPr>
          <a:xfrm>
            <a:off x="7351014" y="5176520"/>
            <a:ext cx="49276" cy="39370"/>
          </a:xfrm>
          <a:custGeom>
            <a:avLst/>
            <a:gdLst/>
            <a:ahLst/>
            <a:cxnLst/>
            <a:rect l="l" t="t" r="r" b="b"/>
            <a:pathLst>
              <a:path w="49276" h="39370">
                <a:moveTo>
                  <a:pt x="44704" y="34798"/>
                </a:moveTo>
                <a:cubicBezTo>
                  <a:pt x="44704" y="30353"/>
                  <a:pt x="44450" y="25908"/>
                  <a:pt x="44068" y="21463"/>
                </a:cubicBezTo>
                <a:cubicBezTo>
                  <a:pt x="43561" y="17018"/>
                  <a:pt x="42799" y="13716"/>
                  <a:pt x="41655" y="11557"/>
                </a:cubicBezTo>
                <a:cubicBezTo>
                  <a:pt x="40259" y="9144"/>
                  <a:pt x="38354" y="7366"/>
                  <a:pt x="35814" y="6223"/>
                </a:cubicBezTo>
                <a:cubicBezTo>
                  <a:pt x="33274" y="5080"/>
                  <a:pt x="29717" y="4572"/>
                  <a:pt x="25146" y="4572"/>
                </a:cubicBezTo>
                <a:cubicBezTo>
                  <a:pt x="21971" y="4572"/>
                  <a:pt x="18668" y="5080"/>
                  <a:pt x="15367" y="6096"/>
                </a:cubicBezTo>
                <a:cubicBezTo>
                  <a:pt x="12065" y="7239"/>
                  <a:pt x="8382" y="8890"/>
                  <a:pt x="4572" y="11176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56" name="object 656"/>
          <p:cNvSpPr/>
          <p:nvPr/>
        </p:nvSpPr>
        <p:spPr>
          <a:xfrm>
            <a:off x="7315245" y="5183124"/>
            <a:ext cx="44957" cy="87884"/>
          </a:xfrm>
          <a:custGeom>
            <a:avLst/>
            <a:gdLst/>
            <a:ahLst/>
            <a:cxnLst/>
            <a:rect l="l" t="t" r="r" b="b"/>
            <a:pathLst>
              <a:path w="44957" h="87884">
                <a:moveTo>
                  <a:pt x="40386" y="4572"/>
                </a:moveTo>
                <a:lnTo>
                  <a:pt x="40386" y="83312"/>
                </a:lnTo>
                <a:lnTo>
                  <a:pt x="4572" y="8331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57" name="object 657"/>
          <p:cNvSpPr/>
          <p:nvPr/>
        </p:nvSpPr>
        <p:spPr>
          <a:xfrm>
            <a:off x="7315256" y="5209794"/>
            <a:ext cx="434593" cy="61214"/>
          </a:xfrm>
          <a:custGeom>
            <a:avLst/>
            <a:gdLst/>
            <a:ahLst/>
            <a:cxnLst/>
            <a:rect l="l" t="t" r="r" b="b"/>
            <a:pathLst>
              <a:path w="434593" h="61214">
                <a:moveTo>
                  <a:pt x="4572" y="56642"/>
                </a:moveTo>
                <a:moveTo>
                  <a:pt x="43002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58" name="object 658"/>
          <p:cNvSpPr/>
          <p:nvPr/>
        </p:nvSpPr>
        <p:spPr>
          <a:xfrm>
            <a:off x="6594912" y="5579349"/>
            <a:ext cx="1216659" cy="150889"/>
          </a:xfrm>
          <a:custGeom>
            <a:avLst/>
            <a:gdLst/>
            <a:ahLst/>
            <a:cxnLst/>
            <a:rect l="l" t="t" r="r" b="b"/>
            <a:pathLst>
              <a:path w="1216659" h="150889">
                <a:moveTo>
                  <a:pt x="1077213" y="95262"/>
                </a:moveTo>
                <a:cubicBezTo>
                  <a:pt x="1072387" y="95656"/>
                  <a:pt x="1067181" y="96202"/>
                  <a:pt x="1061593" y="96901"/>
                </a:cubicBezTo>
                <a:cubicBezTo>
                  <a:pt x="1056005" y="97587"/>
                  <a:pt x="1051687" y="98387"/>
                  <a:pt x="1048893" y="99314"/>
                </a:cubicBezTo>
                <a:cubicBezTo>
                  <a:pt x="1045337" y="100431"/>
                  <a:pt x="1042543" y="102057"/>
                  <a:pt x="1040637" y="104191"/>
                </a:cubicBezTo>
                <a:cubicBezTo>
                  <a:pt x="1038733" y="106337"/>
                  <a:pt x="1037844" y="109144"/>
                  <a:pt x="1037844" y="112636"/>
                </a:cubicBezTo>
                <a:cubicBezTo>
                  <a:pt x="1037844" y="114935"/>
                  <a:pt x="1038098" y="116802"/>
                  <a:pt x="1038479" y="118250"/>
                </a:cubicBezTo>
                <a:cubicBezTo>
                  <a:pt x="1038860" y="119697"/>
                  <a:pt x="1039875" y="121082"/>
                  <a:pt x="1041400" y="122402"/>
                </a:cubicBezTo>
                <a:cubicBezTo>
                  <a:pt x="1042924" y="123711"/>
                  <a:pt x="1044701" y="124688"/>
                  <a:pt x="1046861" y="125311"/>
                </a:cubicBezTo>
                <a:cubicBezTo>
                  <a:pt x="1049020" y="125933"/>
                  <a:pt x="1052322" y="126251"/>
                  <a:pt x="1056767" y="126251"/>
                </a:cubicBezTo>
                <a:cubicBezTo>
                  <a:pt x="1060323" y="126251"/>
                  <a:pt x="1063879" y="125527"/>
                  <a:pt x="1067562" y="124079"/>
                </a:cubicBezTo>
                <a:cubicBezTo>
                  <a:pt x="1071245" y="122631"/>
                  <a:pt x="1074420" y="120726"/>
                  <a:pt x="1077213" y="118351"/>
                </a:cubicBezTo>
                <a:close/>
                <a:moveTo>
                  <a:pt x="219963" y="57658"/>
                </a:moveTo>
                <a:cubicBezTo>
                  <a:pt x="216535" y="57658"/>
                  <a:pt x="213487" y="58115"/>
                  <a:pt x="210820" y="59042"/>
                </a:cubicBezTo>
                <a:cubicBezTo>
                  <a:pt x="208153" y="59969"/>
                  <a:pt x="205486" y="61811"/>
                  <a:pt x="203073" y="64592"/>
                </a:cubicBezTo>
                <a:cubicBezTo>
                  <a:pt x="200913" y="67157"/>
                  <a:pt x="199136" y="70688"/>
                  <a:pt x="197866" y="75171"/>
                </a:cubicBezTo>
                <a:cubicBezTo>
                  <a:pt x="196596" y="79667"/>
                  <a:pt x="195961" y="85306"/>
                  <a:pt x="195961" y="92100"/>
                </a:cubicBezTo>
                <a:cubicBezTo>
                  <a:pt x="195961" y="98171"/>
                  <a:pt x="196469" y="103429"/>
                  <a:pt x="197612" y="107886"/>
                </a:cubicBezTo>
                <a:cubicBezTo>
                  <a:pt x="198755" y="112344"/>
                  <a:pt x="200406" y="115913"/>
                  <a:pt x="202565" y="118618"/>
                </a:cubicBezTo>
                <a:cubicBezTo>
                  <a:pt x="204724" y="121196"/>
                  <a:pt x="207263" y="123076"/>
                  <a:pt x="210185" y="124269"/>
                </a:cubicBezTo>
                <a:cubicBezTo>
                  <a:pt x="213106" y="125450"/>
                  <a:pt x="216408" y="126047"/>
                  <a:pt x="220218" y="126047"/>
                </a:cubicBezTo>
                <a:cubicBezTo>
                  <a:pt x="223393" y="126047"/>
                  <a:pt x="226568" y="125501"/>
                  <a:pt x="229488" y="124409"/>
                </a:cubicBezTo>
                <a:cubicBezTo>
                  <a:pt x="232410" y="123330"/>
                  <a:pt x="234950" y="121488"/>
                  <a:pt x="236982" y="118923"/>
                </a:cubicBezTo>
                <a:cubicBezTo>
                  <a:pt x="239268" y="116078"/>
                  <a:pt x="241046" y="112674"/>
                  <a:pt x="242188" y="108674"/>
                </a:cubicBezTo>
                <a:cubicBezTo>
                  <a:pt x="243332" y="104686"/>
                  <a:pt x="243840" y="99161"/>
                  <a:pt x="243840" y="92100"/>
                </a:cubicBezTo>
                <a:cubicBezTo>
                  <a:pt x="243840" y="85572"/>
                  <a:pt x="243332" y="80086"/>
                  <a:pt x="242062" y="75666"/>
                </a:cubicBezTo>
                <a:cubicBezTo>
                  <a:pt x="240919" y="71247"/>
                  <a:pt x="239268" y="67716"/>
                  <a:pt x="237109" y="65087"/>
                </a:cubicBezTo>
                <a:cubicBezTo>
                  <a:pt x="235076" y="62370"/>
                  <a:pt x="232537" y="60465"/>
                  <a:pt x="229488" y="59347"/>
                </a:cubicBezTo>
                <a:cubicBezTo>
                  <a:pt x="226568" y="58217"/>
                  <a:pt x="223393" y="57658"/>
                  <a:pt x="219963" y="57658"/>
                </a:cubicBezTo>
                <a:close/>
                <a:moveTo>
                  <a:pt x="927988" y="55080"/>
                </a:moveTo>
                <a:cubicBezTo>
                  <a:pt x="921131" y="55080"/>
                  <a:pt x="915543" y="56870"/>
                  <a:pt x="911098" y="60426"/>
                </a:cubicBezTo>
                <a:cubicBezTo>
                  <a:pt x="906653" y="63995"/>
                  <a:pt x="904112" y="69697"/>
                  <a:pt x="903605" y="77546"/>
                </a:cubicBezTo>
                <a:lnTo>
                  <a:pt x="949833" y="77546"/>
                </a:lnTo>
                <a:cubicBezTo>
                  <a:pt x="949706" y="70091"/>
                  <a:pt x="947800" y="64490"/>
                  <a:pt x="944372" y="60731"/>
                </a:cubicBezTo>
                <a:cubicBezTo>
                  <a:pt x="940816" y="56959"/>
                  <a:pt x="935355" y="55080"/>
                  <a:pt x="927988" y="55080"/>
                </a:cubicBezTo>
                <a:close/>
                <a:moveTo>
                  <a:pt x="578993" y="55080"/>
                </a:moveTo>
                <a:cubicBezTo>
                  <a:pt x="572135" y="55080"/>
                  <a:pt x="566547" y="56870"/>
                  <a:pt x="562101" y="60426"/>
                </a:cubicBezTo>
                <a:cubicBezTo>
                  <a:pt x="557657" y="63995"/>
                  <a:pt x="555117" y="69697"/>
                  <a:pt x="554609" y="77546"/>
                </a:cubicBezTo>
                <a:lnTo>
                  <a:pt x="600837" y="77546"/>
                </a:lnTo>
                <a:cubicBezTo>
                  <a:pt x="600710" y="70091"/>
                  <a:pt x="598805" y="64490"/>
                  <a:pt x="595375" y="60731"/>
                </a:cubicBezTo>
                <a:cubicBezTo>
                  <a:pt x="591820" y="56959"/>
                  <a:pt x="586359" y="55080"/>
                  <a:pt x="578993" y="55080"/>
                </a:cubicBezTo>
                <a:close/>
                <a:moveTo>
                  <a:pt x="378079" y="35890"/>
                </a:moveTo>
                <a:cubicBezTo>
                  <a:pt x="379222" y="35890"/>
                  <a:pt x="380746" y="35915"/>
                  <a:pt x="382270" y="35979"/>
                </a:cubicBezTo>
                <a:cubicBezTo>
                  <a:pt x="383794" y="36055"/>
                  <a:pt x="385191" y="36144"/>
                  <a:pt x="386461" y="36284"/>
                </a:cubicBezTo>
                <a:lnTo>
                  <a:pt x="386461" y="70231"/>
                </a:lnTo>
                <a:lnTo>
                  <a:pt x="383286" y="70231"/>
                </a:lnTo>
                <a:cubicBezTo>
                  <a:pt x="381762" y="69697"/>
                  <a:pt x="379349" y="69304"/>
                  <a:pt x="375920" y="69037"/>
                </a:cubicBezTo>
                <a:cubicBezTo>
                  <a:pt x="372618" y="68770"/>
                  <a:pt x="369824" y="68643"/>
                  <a:pt x="367537" y="68643"/>
                </a:cubicBezTo>
                <a:cubicBezTo>
                  <a:pt x="362458" y="68643"/>
                  <a:pt x="358012" y="68973"/>
                  <a:pt x="354075" y="69634"/>
                </a:cubicBezTo>
                <a:cubicBezTo>
                  <a:pt x="350266" y="70294"/>
                  <a:pt x="346075" y="71412"/>
                  <a:pt x="341630" y="72999"/>
                </a:cubicBezTo>
                <a:lnTo>
                  <a:pt x="341630" y="147421"/>
                </a:lnTo>
                <a:lnTo>
                  <a:pt x="305816" y="147421"/>
                </a:lnTo>
                <a:lnTo>
                  <a:pt x="305816" y="36284"/>
                </a:lnTo>
                <a:lnTo>
                  <a:pt x="341630" y="36284"/>
                </a:lnTo>
                <a:lnTo>
                  <a:pt x="341630" y="52616"/>
                </a:lnTo>
                <a:cubicBezTo>
                  <a:pt x="349376" y="45885"/>
                  <a:pt x="356235" y="41415"/>
                  <a:pt x="362076" y="39205"/>
                </a:cubicBezTo>
                <a:cubicBezTo>
                  <a:pt x="367792" y="36995"/>
                  <a:pt x="373125" y="35890"/>
                  <a:pt x="378079" y="35890"/>
                </a:cubicBezTo>
                <a:close/>
                <a:moveTo>
                  <a:pt x="732790" y="33210"/>
                </a:moveTo>
                <a:cubicBezTo>
                  <a:pt x="740029" y="33210"/>
                  <a:pt x="746506" y="34849"/>
                  <a:pt x="752094" y="38112"/>
                </a:cubicBezTo>
                <a:cubicBezTo>
                  <a:pt x="757682" y="41376"/>
                  <a:pt x="762126" y="46177"/>
                  <a:pt x="765301" y="52514"/>
                </a:cubicBezTo>
                <a:cubicBezTo>
                  <a:pt x="772413" y="46507"/>
                  <a:pt x="779272" y="41795"/>
                  <a:pt x="786003" y="38354"/>
                </a:cubicBezTo>
                <a:cubicBezTo>
                  <a:pt x="792734" y="34925"/>
                  <a:pt x="799337" y="33210"/>
                  <a:pt x="805815" y="33210"/>
                </a:cubicBezTo>
                <a:cubicBezTo>
                  <a:pt x="817753" y="33210"/>
                  <a:pt x="826897" y="36804"/>
                  <a:pt x="833120" y="44005"/>
                </a:cubicBezTo>
                <a:cubicBezTo>
                  <a:pt x="839343" y="51194"/>
                  <a:pt x="842518" y="61557"/>
                  <a:pt x="842518" y="75082"/>
                </a:cubicBezTo>
                <a:lnTo>
                  <a:pt x="842518" y="147421"/>
                </a:lnTo>
                <a:lnTo>
                  <a:pt x="806704" y="147421"/>
                </a:lnTo>
                <a:lnTo>
                  <a:pt x="806704" y="91897"/>
                </a:lnTo>
                <a:cubicBezTo>
                  <a:pt x="806704" y="86423"/>
                  <a:pt x="806576" y="81801"/>
                  <a:pt x="806323" y="78041"/>
                </a:cubicBezTo>
                <a:cubicBezTo>
                  <a:pt x="806196" y="74282"/>
                  <a:pt x="805434" y="71221"/>
                  <a:pt x="804291" y="68847"/>
                </a:cubicBezTo>
                <a:cubicBezTo>
                  <a:pt x="803148" y="66472"/>
                  <a:pt x="801370" y="64732"/>
                  <a:pt x="798957" y="63640"/>
                </a:cubicBezTo>
                <a:cubicBezTo>
                  <a:pt x="796417" y="62560"/>
                  <a:pt x="792987" y="62014"/>
                  <a:pt x="788670" y="62014"/>
                </a:cubicBezTo>
                <a:cubicBezTo>
                  <a:pt x="785622" y="62014"/>
                  <a:pt x="782700" y="62522"/>
                  <a:pt x="779907" y="63551"/>
                </a:cubicBezTo>
                <a:cubicBezTo>
                  <a:pt x="777112" y="64567"/>
                  <a:pt x="773557" y="66268"/>
                  <a:pt x="769493" y="68643"/>
                </a:cubicBezTo>
                <a:lnTo>
                  <a:pt x="769493" y="147421"/>
                </a:lnTo>
                <a:lnTo>
                  <a:pt x="733806" y="147421"/>
                </a:lnTo>
                <a:lnTo>
                  <a:pt x="733806" y="91897"/>
                </a:lnTo>
                <a:cubicBezTo>
                  <a:pt x="733806" y="86487"/>
                  <a:pt x="733679" y="81889"/>
                  <a:pt x="733425" y="78092"/>
                </a:cubicBezTo>
                <a:cubicBezTo>
                  <a:pt x="733171" y="74308"/>
                  <a:pt x="732409" y="71221"/>
                  <a:pt x="731266" y="68847"/>
                </a:cubicBezTo>
                <a:cubicBezTo>
                  <a:pt x="729996" y="66472"/>
                  <a:pt x="728218" y="64732"/>
                  <a:pt x="725805" y="63640"/>
                </a:cubicBezTo>
                <a:cubicBezTo>
                  <a:pt x="723392" y="62560"/>
                  <a:pt x="720090" y="62014"/>
                  <a:pt x="715645" y="62014"/>
                </a:cubicBezTo>
                <a:cubicBezTo>
                  <a:pt x="712216" y="62014"/>
                  <a:pt x="708787" y="62725"/>
                  <a:pt x="705485" y="64135"/>
                </a:cubicBezTo>
                <a:cubicBezTo>
                  <a:pt x="702183" y="65557"/>
                  <a:pt x="699262" y="67056"/>
                  <a:pt x="696595" y="68643"/>
                </a:cubicBezTo>
                <a:lnTo>
                  <a:pt x="696595" y="147421"/>
                </a:lnTo>
                <a:lnTo>
                  <a:pt x="660908" y="147421"/>
                </a:lnTo>
                <a:lnTo>
                  <a:pt x="660908" y="36284"/>
                </a:lnTo>
                <a:lnTo>
                  <a:pt x="696595" y="36284"/>
                </a:lnTo>
                <a:lnTo>
                  <a:pt x="696595" y="48552"/>
                </a:lnTo>
                <a:cubicBezTo>
                  <a:pt x="702691" y="43739"/>
                  <a:pt x="708533" y="39979"/>
                  <a:pt x="714121" y="37274"/>
                </a:cubicBezTo>
                <a:cubicBezTo>
                  <a:pt x="719709" y="34569"/>
                  <a:pt x="725932" y="33210"/>
                  <a:pt x="732790" y="33210"/>
                </a:cubicBezTo>
                <a:close/>
                <a:moveTo>
                  <a:pt x="456184" y="33210"/>
                </a:moveTo>
                <a:cubicBezTo>
                  <a:pt x="464566" y="33210"/>
                  <a:pt x="472440" y="34048"/>
                  <a:pt x="480060" y="35738"/>
                </a:cubicBezTo>
                <a:cubicBezTo>
                  <a:pt x="487680" y="37414"/>
                  <a:pt x="493649" y="39217"/>
                  <a:pt x="497967" y="41135"/>
                </a:cubicBezTo>
                <a:lnTo>
                  <a:pt x="497967" y="69240"/>
                </a:lnTo>
                <a:lnTo>
                  <a:pt x="494919" y="69240"/>
                </a:lnTo>
                <a:cubicBezTo>
                  <a:pt x="489585" y="65608"/>
                  <a:pt x="483616" y="62662"/>
                  <a:pt x="476885" y="60376"/>
                </a:cubicBezTo>
                <a:cubicBezTo>
                  <a:pt x="470154" y="58102"/>
                  <a:pt x="463296" y="56959"/>
                  <a:pt x="456311" y="56959"/>
                </a:cubicBezTo>
                <a:cubicBezTo>
                  <a:pt x="450596" y="56959"/>
                  <a:pt x="445770" y="57759"/>
                  <a:pt x="441833" y="59347"/>
                </a:cubicBezTo>
                <a:cubicBezTo>
                  <a:pt x="437896" y="60922"/>
                  <a:pt x="435991" y="63170"/>
                  <a:pt x="435991" y="66065"/>
                </a:cubicBezTo>
                <a:cubicBezTo>
                  <a:pt x="435991" y="68707"/>
                  <a:pt x="436880" y="70726"/>
                  <a:pt x="438658" y="72110"/>
                </a:cubicBezTo>
                <a:cubicBezTo>
                  <a:pt x="440436" y="73495"/>
                  <a:pt x="444626" y="74879"/>
                  <a:pt x="451231" y="76263"/>
                </a:cubicBezTo>
                <a:cubicBezTo>
                  <a:pt x="454787" y="76987"/>
                  <a:pt x="458724" y="77698"/>
                  <a:pt x="462915" y="78397"/>
                </a:cubicBezTo>
                <a:cubicBezTo>
                  <a:pt x="467106" y="79083"/>
                  <a:pt x="471297" y="79959"/>
                  <a:pt x="475487" y="81013"/>
                </a:cubicBezTo>
                <a:cubicBezTo>
                  <a:pt x="484886" y="83451"/>
                  <a:pt x="491871" y="87300"/>
                  <a:pt x="496316" y="92545"/>
                </a:cubicBezTo>
                <a:cubicBezTo>
                  <a:pt x="500761" y="97790"/>
                  <a:pt x="503047" y="104343"/>
                  <a:pt x="503047" y="112192"/>
                </a:cubicBezTo>
                <a:cubicBezTo>
                  <a:pt x="503047" y="123672"/>
                  <a:pt x="497840" y="132931"/>
                  <a:pt x="487553" y="139954"/>
                </a:cubicBezTo>
                <a:cubicBezTo>
                  <a:pt x="477266" y="146977"/>
                  <a:pt x="463169" y="150495"/>
                  <a:pt x="445388" y="150495"/>
                </a:cubicBezTo>
                <a:cubicBezTo>
                  <a:pt x="435483" y="150495"/>
                  <a:pt x="426466" y="149568"/>
                  <a:pt x="418465" y="147726"/>
                </a:cubicBezTo>
                <a:cubicBezTo>
                  <a:pt x="410337" y="145872"/>
                  <a:pt x="403860" y="143827"/>
                  <a:pt x="399034" y="141579"/>
                </a:cubicBezTo>
                <a:lnTo>
                  <a:pt x="399034" y="112293"/>
                </a:lnTo>
                <a:lnTo>
                  <a:pt x="402336" y="112293"/>
                </a:lnTo>
                <a:cubicBezTo>
                  <a:pt x="404113" y="113538"/>
                  <a:pt x="406146" y="114909"/>
                  <a:pt x="408432" y="116395"/>
                </a:cubicBezTo>
                <a:cubicBezTo>
                  <a:pt x="410845" y="117881"/>
                  <a:pt x="414147" y="119481"/>
                  <a:pt x="418465" y="121196"/>
                </a:cubicBezTo>
                <a:cubicBezTo>
                  <a:pt x="422148" y="122720"/>
                  <a:pt x="426338" y="124015"/>
                  <a:pt x="431037" y="125108"/>
                </a:cubicBezTo>
                <a:cubicBezTo>
                  <a:pt x="435610" y="126200"/>
                  <a:pt x="440690" y="126746"/>
                  <a:pt x="446024" y="126746"/>
                </a:cubicBezTo>
                <a:cubicBezTo>
                  <a:pt x="453009" y="126746"/>
                  <a:pt x="458216" y="125958"/>
                  <a:pt x="461518" y="124409"/>
                </a:cubicBezTo>
                <a:cubicBezTo>
                  <a:pt x="464947" y="122860"/>
                  <a:pt x="466598" y="120574"/>
                  <a:pt x="466598" y="117538"/>
                </a:cubicBezTo>
                <a:cubicBezTo>
                  <a:pt x="466598" y="114833"/>
                  <a:pt x="465582" y="112865"/>
                  <a:pt x="463676" y="111645"/>
                </a:cubicBezTo>
                <a:cubicBezTo>
                  <a:pt x="461645" y="110426"/>
                  <a:pt x="457962" y="109258"/>
                  <a:pt x="452374" y="108128"/>
                </a:cubicBezTo>
                <a:cubicBezTo>
                  <a:pt x="449707" y="107543"/>
                  <a:pt x="446150" y="106896"/>
                  <a:pt x="441579" y="106197"/>
                </a:cubicBezTo>
                <a:cubicBezTo>
                  <a:pt x="437134" y="105511"/>
                  <a:pt x="432943" y="104673"/>
                  <a:pt x="429260" y="103683"/>
                </a:cubicBezTo>
                <a:cubicBezTo>
                  <a:pt x="419226" y="101041"/>
                  <a:pt x="411734" y="96939"/>
                  <a:pt x="406781" y="91364"/>
                </a:cubicBezTo>
                <a:cubicBezTo>
                  <a:pt x="401955" y="85788"/>
                  <a:pt x="399542" y="78841"/>
                  <a:pt x="399542" y="70523"/>
                </a:cubicBezTo>
                <a:cubicBezTo>
                  <a:pt x="399542" y="59830"/>
                  <a:pt x="404622" y="50940"/>
                  <a:pt x="414655" y="43853"/>
                </a:cubicBezTo>
                <a:cubicBezTo>
                  <a:pt x="424815" y="36754"/>
                  <a:pt x="438658" y="33210"/>
                  <a:pt x="456184" y="33210"/>
                </a:cubicBezTo>
                <a:close/>
                <a:moveTo>
                  <a:pt x="1055116" y="33109"/>
                </a:moveTo>
                <a:cubicBezTo>
                  <a:pt x="1075436" y="33109"/>
                  <a:pt x="1090041" y="36233"/>
                  <a:pt x="1099058" y="42469"/>
                </a:cubicBezTo>
                <a:cubicBezTo>
                  <a:pt x="1108075" y="48704"/>
                  <a:pt x="1112520" y="58483"/>
                  <a:pt x="1112520" y="71806"/>
                </a:cubicBezTo>
                <a:lnTo>
                  <a:pt x="1112520" y="147421"/>
                </a:lnTo>
                <a:lnTo>
                  <a:pt x="1077213" y="147421"/>
                </a:lnTo>
                <a:lnTo>
                  <a:pt x="1077213" y="135648"/>
                </a:lnTo>
                <a:cubicBezTo>
                  <a:pt x="1075309" y="137096"/>
                  <a:pt x="1072896" y="138849"/>
                  <a:pt x="1070101" y="140894"/>
                </a:cubicBezTo>
                <a:cubicBezTo>
                  <a:pt x="1067308" y="142938"/>
                  <a:pt x="1064641" y="144551"/>
                  <a:pt x="1062100" y="145745"/>
                </a:cubicBezTo>
                <a:cubicBezTo>
                  <a:pt x="1058545" y="147320"/>
                  <a:pt x="1054988" y="148501"/>
                  <a:pt x="1051179" y="149250"/>
                </a:cubicBezTo>
                <a:cubicBezTo>
                  <a:pt x="1047496" y="150012"/>
                  <a:pt x="1043305" y="150393"/>
                  <a:pt x="1038860" y="150393"/>
                </a:cubicBezTo>
                <a:cubicBezTo>
                  <a:pt x="1028319" y="150393"/>
                  <a:pt x="1019429" y="147129"/>
                  <a:pt x="1012317" y="140601"/>
                </a:cubicBezTo>
                <a:cubicBezTo>
                  <a:pt x="1005205" y="134061"/>
                  <a:pt x="1001649" y="125717"/>
                  <a:pt x="1001649" y="115557"/>
                </a:cubicBezTo>
                <a:cubicBezTo>
                  <a:pt x="1001649" y="107442"/>
                  <a:pt x="1003426" y="100812"/>
                  <a:pt x="1007110" y="95669"/>
                </a:cubicBezTo>
                <a:cubicBezTo>
                  <a:pt x="1010666" y="90513"/>
                  <a:pt x="1015873" y="86461"/>
                  <a:pt x="1022476" y="83490"/>
                </a:cubicBezTo>
                <a:cubicBezTo>
                  <a:pt x="1029081" y="80518"/>
                  <a:pt x="1037336" y="78410"/>
                  <a:pt x="1047115" y="77152"/>
                </a:cubicBezTo>
                <a:cubicBezTo>
                  <a:pt x="1056767" y="75908"/>
                  <a:pt x="1066926" y="74981"/>
                  <a:pt x="1077468" y="74384"/>
                </a:cubicBezTo>
                <a:lnTo>
                  <a:pt x="1077468" y="73787"/>
                </a:lnTo>
                <a:cubicBezTo>
                  <a:pt x="1077468" y="67653"/>
                  <a:pt x="1074928" y="63411"/>
                  <a:pt x="1069975" y="61074"/>
                </a:cubicBezTo>
                <a:cubicBezTo>
                  <a:pt x="1064895" y="58725"/>
                  <a:pt x="1057529" y="57556"/>
                  <a:pt x="1047750" y="57556"/>
                </a:cubicBezTo>
                <a:cubicBezTo>
                  <a:pt x="1041908" y="57556"/>
                  <a:pt x="1035558" y="58598"/>
                  <a:pt x="1028954" y="60680"/>
                </a:cubicBezTo>
                <a:cubicBezTo>
                  <a:pt x="1022223" y="62751"/>
                  <a:pt x="1017524" y="64351"/>
                  <a:pt x="1014603" y="65481"/>
                </a:cubicBezTo>
                <a:lnTo>
                  <a:pt x="1011300" y="65481"/>
                </a:lnTo>
                <a:lnTo>
                  <a:pt x="1011300" y="38659"/>
                </a:lnTo>
                <a:cubicBezTo>
                  <a:pt x="1015111" y="37668"/>
                  <a:pt x="1021207" y="36500"/>
                  <a:pt x="1029716" y="35141"/>
                </a:cubicBezTo>
                <a:cubicBezTo>
                  <a:pt x="1038225" y="33795"/>
                  <a:pt x="1046607" y="33109"/>
                  <a:pt x="1055116" y="33109"/>
                </a:cubicBezTo>
                <a:close/>
                <a:moveTo>
                  <a:pt x="930910" y="32817"/>
                </a:moveTo>
                <a:cubicBezTo>
                  <a:pt x="948944" y="32817"/>
                  <a:pt x="962533" y="37389"/>
                  <a:pt x="971676" y="46520"/>
                </a:cubicBezTo>
                <a:cubicBezTo>
                  <a:pt x="980694" y="55664"/>
                  <a:pt x="985266" y="68808"/>
                  <a:pt x="985266" y="85966"/>
                </a:cubicBezTo>
                <a:lnTo>
                  <a:pt x="985266" y="98437"/>
                </a:lnTo>
                <a:lnTo>
                  <a:pt x="903732" y="98437"/>
                </a:lnTo>
                <a:cubicBezTo>
                  <a:pt x="904240" y="107150"/>
                  <a:pt x="907542" y="113805"/>
                  <a:pt x="913637" y="118427"/>
                </a:cubicBezTo>
                <a:cubicBezTo>
                  <a:pt x="919734" y="123050"/>
                  <a:pt x="928750" y="125349"/>
                  <a:pt x="940688" y="125349"/>
                </a:cubicBezTo>
                <a:cubicBezTo>
                  <a:pt x="948182" y="125349"/>
                  <a:pt x="955421" y="124003"/>
                  <a:pt x="962533" y="121298"/>
                </a:cubicBezTo>
                <a:cubicBezTo>
                  <a:pt x="969645" y="118592"/>
                  <a:pt x="975106" y="115684"/>
                  <a:pt x="979297" y="112585"/>
                </a:cubicBezTo>
                <a:lnTo>
                  <a:pt x="983234" y="112585"/>
                </a:lnTo>
                <a:lnTo>
                  <a:pt x="983234" y="141186"/>
                </a:lnTo>
                <a:cubicBezTo>
                  <a:pt x="975106" y="144424"/>
                  <a:pt x="967612" y="146761"/>
                  <a:pt x="960500" y="148222"/>
                </a:cubicBezTo>
                <a:cubicBezTo>
                  <a:pt x="953262" y="149669"/>
                  <a:pt x="945387" y="150393"/>
                  <a:pt x="936751" y="150393"/>
                </a:cubicBezTo>
                <a:cubicBezTo>
                  <a:pt x="914526" y="150393"/>
                  <a:pt x="897382" y="145377"/>
                  <a:pt x="885571" y="135344"/>
                </a:cubicBezTo>
                <a:cubicBezTo>
                  <a:pt x="873633" y="125323"/>
                  <a:pt x="867663" y="111036"/>
                  <a:pt x="867663" y="92494"/>
                </a:cubicBezTo>
                <a:cubicBezTo>
                  <a:pt x="867663" y="74155"/>
                  <a:pt x="873379" y="59626"/>
                  <a:pt x="884555" y="48895"/>
                </a:cubicBezTo>
                <a:cubicBezTo>
                  <a:pt x="895858" y="38176"/>
                  <a:pt x="911225" y="32817"/>
                  <a:pt x="930910" y="32817"/>
                </a:cubicBezTo>
                <a:close/>
                <a:moveTo>
                  <a:pt x="581913" y="32817"/>
                </a:moveTo>
                <a:cubicBezTo>
                  <a:pt x="599948" y="32817"/>
                  <a:pt x="613537" y="37389"/>
                  <a:pt x="622681" y="46520"/>
                </a:cubicBezTo>
                <a:cubicBezTo>
                  <a:pt x="631698" y="55664"/>
                  <a:pt x="636270" y="68808"/>
                  <a:pt x="636270" y="85966"/>
                </a:cubicBezTo>
                <a:lnTo>
                  <a:pt x="636270" y="98437"/>
                </a:lnTo>
                <a:lnTo>
                  <a:pt x="554736" y="98437"/>
                </a:lnTo>
                <a:cubicBezTo>
                  <a:pt x="555244" y="107150"/>
                  <a:pt x="558546" y="113805"/>
                  <a:pt x="564642" y="118427"/>
                </a:cubicBezTo>
                <a:cubicBezTo>
                  <a:pt x="570737" y="123050"/>
                  <a:pt x="579755" y="125349"/>
                  <a:pt x="591693" y="125349"/>
                </a:cubicBezTo>
                <a:cubicBezTo>
                  <a:pt x="599186" y="125349"/>
                  <a:pt x="606425" y="124003"/>
                  <a:pt x="613537" y="121298"/>
                </a:cubicBezTo>
                <a:cubicBezTo>
                  <a:pt x="620649" y="118592"/>
                  <a:pt x="626110" y="115684"/>
                  <a:pt x="630300" y="112585"/>
                </a:cubicBezTo>
                <a:lnTo>
                  <a:pt x="634237" y="112585"/>
                </a:lnTo>
                <a:lnTo>
                  <a:pt x="634237" y="141186"/>
                </a:lnTo>
                <a:cubicBezTo>
                  <a:pt x="626110" y="144424"/>
                  <a:pt x="618617" y="146761"/>
                  <a:pt x="611505" y="148222"/>
                </a:cubicBezTo>
                <a:cubicBezTo>
                  <a:pt x="604266" y="149669"/>
                  <a:pt x="596392" y="150393"/>
                  <a:pt x="587756" y="150393"/>
                </a:cubicBezTo>
                <a:cubicBezTo>
                  <a:pt x="565531" y="150393"/>
                  <a:pt x="548386" y="145377"/>
                  <a:pt x="536575" y="135344"/>
                </a:cubicBezTo>
                <a:cubicBezTo>
                  <a:pt x="524637" y="125323"/>
                  <a:pt x="518668" y="111036"/>
                  <a:pt x="518668" y="92494"/>
                </a:cubicBezTo>
                <a:cubicBezTo>
                  <a:pt x="518668" y="74155"/>
                  <a:pt x="524383" y="59626"/>
                  <a:pt x="535559" y="48895"/>
                </a:cubicBezTo>
                <a:cubicBezTo>
                  <a:pt x="546862" y="38176"/>
                  <a:pt x="562229" y="32817"/>
                  <a:pt x="581913" y="32817"/>
                </a:cubicBezTo>
                <a:close/>
                <a:moveTo>
                  <a:pt x="219963" y="32817"/>
                </a:moveTo>
                <a:cubicBezTo>
                  <a:pt x="239268" y="32817"/>
                  <a:pt x="254254" y="38100"/>
                  <a:pt x="264922" y="48653"/>
                </a:cubicBezTo>
                <a:cubicBezTo>
                  <a:pt x="275462" y="59207"/>
                  <a:pt x="280797" y="73622"/>
                  <a:pt x="280797" y="91897"/>
                </a:cubicBezTo>
                <a:cubicBezTo>
                  <a:pt x="280797" y="110185"/>
                  <a:pt x="275462" y="124574"/>
                  <a:pt x="264795" y="135102"/>
                </a:cubicBezTo>
                <a:cubicBezTo>
                  <a:pt x="254126" y="145631"/>
                  <a:pt x="239141" y="150889"/>
                  <a:pt x="219963" y="150889"/>
                </a:cubicBezTo>
                <a:cubicBezTo>
                  <a:pt x="200660" y="150889"/>
                  <a:pt x="185674" y="145631"/>
                  <a:pt x="175006" y="135102"/>
                </a:cubicBezTo>
                <a:cubicBezTo>
                  <a:pt x="164337" y="124574"/>
                  <a:pt x="159004" y="110185"/>
                  <a:pt x="159004" y="91897"/>
                </a:cubicBezTo>
                <a:cubicBezTo>
                  <a:pt x="159004" y="73495"/>
                  <a:pt x="164465" y="59042"/>
                  <a:pt x="175133" y="48552"/>
                </a:cubicBezTo>
                <a:cubicBezTo>
                  <a:pt x="185800" y="38062"/>
                  <a:pt x="200787" y="32817"/>
                  <a:pt x="219963" y="32817"/>
                </a:cubicBezTo>
                <a:close/>
                <a:moveTo>
                  <a:pt x="1147699" y="4572"/>
                </a:moveTo>
                <a:lnTo>
                  <a:pt x="1183386" y="4572"/>
                </a:lnTo>
                <a:lnTo>
                  <a:pt x="1183386" y="36284"/>
                </a:lnTo>
                <a:lnTo>
                  <a:pt x="1216660" y="36284"/>
                </a:lnTo>
                <a:lnTo>
                  <a:pt x="1216660" y="60426"/>
                </a:lnTo>
                <a:lnTo>
                  <a:pt x="1183386" y="60426"/>
                </a:lnTo>
                <a:lnTo>
                  <a:pt x="1183386" y="99885"/>
                </a:lnTo>
                <a:cubicBezTo>
                  <a:pt x="1183386" y="103784"/>
                  <a:pt x="1183386" y="107188"/>
                  <a:pt x="1183512" y="110083"/>
                </a:cubicBezTo>
                <a:cubicBezTo>
                  <a:pt x="1183512" y="112992"/>
                  <a:pt x="1184021" y="115608"/>
                  <a:pt x="1185037" y="117919"/>
                </a:cubicBezTo>
                <a:cubicBezTo>
                  <a:pt x="1185925" y="120231"/>
                  <a:pt x="1187576" y="122072"/>
                  <a:pt x="1189990" y="123418"/>
                </a:cubicBezTo>
                <a:cubicBezTo>
                  <a:pt x="1192275" y="124777"/>
                  <a:pt x="1195705" y="125450"/>
                  <a:pt x="1200150" y="125450"/>
                </a:cubicBezTo>
                <a:cubicBezTo>
                  <a:pt x="1202055" y="125450"/>
                  <a:pt x="1204468" y="125057"/>
                  <a:pt x="1207388" y="124269"/>
                </a:cubicBezTo>
                <a:cubicBezTo>
                  <a:pt x="1210437" y="123469"/>
                  <a:pt x="1212469" y="122745"/>
                  <a:pt x="1213738" y="122085"/>
                </a:cubicBezTo>
                <a:lnTo>
                  <a:pt x="1216660" y="122085"/>
                </a:lnTo>
                <a:lnTo>
                  <a:pt x="1216660" y="146444"/>
                </a:lnTo>
                <a:cubicBezTo>
                  <a:pt x="1212850" y="147434"/>
                  <a:pt x="1208786" y="148209"/>
                  <a:pt x="1204468" y="148768"/>
                </a:cubicBezTo>
                <a:cubicBezTo>
                  <a:pt x="1200150" y="149326"/>
                  <a:pt x="1194943" y="149606"/>
                  <a:pt x="1188720" y="149606"/>
                </a:cubicBezTo>
                <a:cubicBezTo>
                  <a:pt x="1174876" y="149606"/>
                  <a:pt x="1164590" y="146799"/>
                  <a:pt x="1157859" y="141186"/>
                </a:cubicBezTo>
                <a:cubicBezTo>
                  <a:pt x="1151000" y="135585"/>
                  <a:pt x="1147699" y="125984"/>
                  <a:pt x="1147699" y="112395"/>
                </a:cubicBezTo>
                <a:lnTo>
                  <a:pt x="1147699" y="60426"/>
                </a:lnTo>
                <a:lnTo>
                  <a:pt x="1132967" y="60426"/>
                </a:lnTo>
                <a:lnTo>
                  <a:pt x="1132967" y="36284"/>
                </a:lnTo>
                <a:lnTo>
                  <a:pt x="1147699" y="36284"/>
                </a:lnTo>
                <a:close/>
                <a:moveTo>
                  <a:pt x="0" y="0"/>
                </a:moveTo>
                <a:lnTo>
                  <a:pt x="37973" y="0"/>
                </a:lnTo>
                <a:lnTo>
                  <a:pt x="37973" y="54000"/>
                </a:lnTo>
                <a:lnTo>
                  <a:pt x="94107" y="54000"/>
                </a:lnTo>
                <a:lnTo>
                  <a:pt x="94107" y="0"/>
                </a:lnTo>
                <a:lnTo>
                  <a:pt x="132080" y="0"/>
                </a:lnTo>
                <a:lnTo>
                  <a:pt x="132080" y="147421"/>
                </a:lnTo>
                <a:lnTo>
                  <a:pt x="94107" y="147421"/>
                </a:lnTo>
                <a:lnTo>
                  <a:pt x="94107" y="82499"/>
                </a:lnTo>
                <a:lnTo>
                  <a:pt x="37973" y="82499"/>
                </a:lnTo>
                <a:lnTo>
                  <a:pt x="37973" y="147421"/>
                </a:lnTo>
                <a:lnTo>
                  <a:pt x="0" y="147421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59" name="object 659"/>
          <p:cNvSpPr/>
          <p:nvPr/>
        </p:nvSpPr>
        <p:spPr>
          <a:xfrm>
            <a:off x="7667554" y="5669927"/>
            <a:ext cx="9143" cy="9144"/>
          </a:xfrm>
          <a:custGeom>
            <a:avLst/>
            <a:gdLst/>
            <a:ahLst/>
            <a:cxnLst/>
            <a:rect l="l" t="t" r="r" b="b"/>
            <a:pathLst>
              <a:path w="9143" h="9144">
                <a:moveTo>
                  <a:pt x="4571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60" name="object 660"/>
          <p:cNvSpPr/>
          <p:nvPr/>
        </p:nvSpPr>
        <p:spPr>
          <a:xfrm>
            <a:off x="7628132" y="5669927"/>
            <a:ext cx="48513" cy="40132"/>
          </a:xfrm>
          <a:custGeom>
            <a:avLst/>
            <a:gdLst/>
            <a:ahLst/>
            <a:cxnLst/>
            <a:rect l="l" t="t" r="r" b="b"/>
            <a:pathLst>
              <a:path w="48513" h="40132">
                <a:moveTo>
                  <a:pt x="43941" y="4572"/>
                </a:moveTo>
                <a:cubicBezTo>
                  <a:pt x="39115" y="4966"/>
                  <a:pt x="33909" y="5512"/>
                  <a:pt x="28321" y="6211"/>
                </a:cubicBezTo>
                <a:cubicBezTo>
                  <a:pt x="22733" y="6897"/>
                  <a:pt x="18415" y="7697"/>
                  <a:pt x="15621" y="8624"/>
                </a:cubicBezTo>
                <a:cubicBezTo>
                  <a:pt x="12065" y="9741"/>
                  <a:pt x="9271" y="11367"/>
                  <a:pt x="7365" y="13501"/>
                </a:cubicBezTo>
                <a:cubicBezTo>
                  <a:pt x="5461" y="15647"/>
                  <a:pt x="4572" y="18454"/>
                  <a:pt x="4572" y="21946"/>
                </a:cubicBezTo>
                <a:cubicBezTo>
                  <a:pt x="4572" y="24245"/>
                  <a:pt x="4826" y="26112"/>
                  <a:pt x="5207" y="27560"/>
                </a:cubicBezTo>
                <a:cubicBezTo>
                  <a:pt x="5588" y="29007"/>
                  <a:pt x="6603" y="30392"/>
                  <a:pt x="8128" y="31712"/>
                </a:cubicBezTo>
                <a:cubicBezTo>
                  <a:pt x="9652" y="33021"/>
                  <a:pt x="11429" y="33998"/>
                  <a:pt x="13589" y="34621"/>
                </a:cubicBezTo>
                <a:cubicBezTo>
                  <a:pt x="15748" y="35243"/>
                  <a:pt x="19050" y="35561"/>
                  <a:pt x="23495" y="35561"/>
                </a:cubicBezTo>
                <a:cubicBezTo>
                  <a:pt x="27051" y="35561"/>
                  <a:pt x="30607" y="34837"/>
                  <a:pt x="34290" y="33389"/>
                </a:cubicBezTo>
                <a:cubicBezTo>
                  <a:pt x="37973" y="31941"/>
                  <a:pt x="41148" y="30036"/>
                  <a:pt x="43941" y="27661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61" name="object 661"/>
          <p:cNvSpPr/>
          <p:nvPr/>
        </p:nvSpPr>
        <p:spPr>
          <a:xfrm>
            <a:off x="6810248" y="5632435"/>
            <a:ext cx="866393" cy="69837"/>
          </a:xfrm>
          <a:custGeom>
            <a:avLst/>
            <a:gdLst/>
            <a:ahLst/>
            <a:cxnLst/>
            <a:rect l="l" t="t" r="r" b="b"/>
            <a:pathLst>
              <a:path w="866393" h="69837">
                <a:moveTo>
                  <a:pt x="861821" y="65265"/>
                </a:moveTo>
                <a:moveTo>
                  <a:pt x="861821" y="42176"/>
                </a:moveTo>
                <a:moveTo>
                  <a:pt x="4571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62" name="object 662"/>
          <p:cNvSpPr/>
          <p:nvPr/>
        </p:nvSpPr>
        <p:spPr>
          <a:xfrm>
            <a:off x="6786245" y="5629857"/>
            <a:ext cx="890396" cy="80111"/>
          </a:xfrm>
          <a:custGeom>
            <a:avLst/>
            <a:gdLst/>
            <a:ahLst/>
            <a:cxnLst/>
            <a:rect l="l" t="t" r="r" b="b"/>
            <a:pathLst>
              <a:path w="890396" h="80111">
                <a:moveTo>
                  <a:pt x="28574" y="7150"/>
                </a:moveTo>
                <a:cubicBezTo>
                  <a:pt x="25146" y="7150"/>
                  <a:pt x="22098" y="7607"/>
                  <a:pt x="19431" y="8534"/>
                </a:cubicBezTo>
                <a:cubicBezTo>
                  <a:pt x="16764" y="9461"/>
                  <a:pt x="14097" y="11303"/>
                  <a:pt x="11684" y="14084"/>
                </a:cubicBezTo>
                <a:cubicBezTo>
                  <a:pt x="9524" y="16649"/>
                  <a:pt x="7747" y="20180"/>
                  <a:pt x="6477" y="24663"/>
                </a:cubicBezTo>
                <a:cubicBezTo>
                  <a:pt x="5207" y="29159"/>
                  <a:pt x="4572" y="34798"/>
                  <a:pt x="4572" y="41592"/>
                </a:cubicBezTo>
                <a:cubicBezTo>
                  <a:pt x="4572" y="47663"/>
                  <a:pt x="5080" y="52921"/>
                  <a:pt x="6223" y="57378"/>
                </a:cubicBezTo>
                <a:cubicBezTo>
                  <a:pt x="7366" y="61836"/>
                  <a:pt x="9017" y="65405"/>
                  <a:pt x="11176" y="68110"/>
                </a:cubicBezTo>
                <a:cubicBezTo>
                  <a:pt x="13335" y="70688"/>
                  <a:pt x="15874" y="72568"/>
                  <a:pt x="18796" y="73761"/>
                </a:cubicBezTo>
                <a:cubicBezTo>
                  <a:pt x="21717" y="74942"/>
                  <a:pt x="25019" y="75539"/>
                  <a:pt x="28829" y="75539"/>
                </a:cubicBezTo>
                <a:cubicBezTo>
                  <a:pt x="32004" y="75539"/>
                  <a:pt x="35179" y="74993"/>
                  <a:pt x="38099" y="73901"/>
                </a:cubicBezTo>
                <a:cubicBezTo>
                  <a:pt x="41021" y="72822"/>
                  <a:pt x="43561" y="70980"/>
                  <a:pt x="45593" y="68415"/>
                </a:cubicBezTo>
                <a:cubicBezTo>
                  <a:pt x="47879" y="65570"/>
                  <a:pt x="49657" y="62166"/>
                  <a:pt x="50799" y="58166"/>
                </a:cubicBezTo>
                <a:cubicBezTo>
                  <a:pt x="51943" y="54178"/>
                  <a:pt x="52451" y="48653"/>
                  <a:pt x="52451" y="41592"/>
                </a:cubicBezTo>
                <a:cubicBezTo>
                  <a:pt x="52451" y="35064"/>
                  <a:pt x="51943" y="29578"/>
                  <a:pt x="50673" y="25158"/>
                </a:cubicBezTo>
                <a:cubicBezTo>
                  <a:pt x="49530" y="20739"/>
                  <a:pt x="47879" y="17208"/>
                  <a:pt x="45720" y="14579"/>
                </a:cubicBezTo>
                <a:cubicBezTo>
                  <a:pt x="43687" y="11862"/>
                  <a:pt x="41148" y="9957"/>
                  <a:pt x="38099" y="8839"/>
                </a:cubicBezTo>
                <a:cubicBezTo>
                  <a:pt x="35179" y="7709"/>
                  <a:pt x="32004" y="7150"/>
                  <a:pt x="28574" y="7150"/>
                </a:cubicBezTo>
                <a:moveTo>
                  <a:pt x="885824" y="44754"/>
                </a:moveTo>
                <a:moveTo>
                  <a:pt x="736599" y="4572"/>
                </a:moveTo>
                <a:cubicBezTo>
                  <a:pt x="729742" y="4572"/>
                  <a:pt x="724154" y="6362"/>
                  <a:pt x="719709" y="9918"/>
                </a:cubicBezTo>
                <a:cubicBezTo>
                  <a:pt x="715264" y="13487"/>
                  <a:pt x="712723" y="19189"/>
                  <a:pt x="712216" y="27038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63" name="object 663"/>
          <p:cNvSpPr/>
          <p:nvPr/>
        </p:nvSpPr>
        <p:spPr>
          <a:xfrm>
            <a:off x="7493889" y="5652211"/>
            <a:ext cx="55372" cy="9144"/>
          </a:xfrm>
          <a:custGeom>
            <a:avLst/>
            <a:gdLst/>
            <a:ahLst/>
            <a:cxnLst/>
            <a:rect l="l" t="t" r="r" b="b"/>
            <a:pathLst>
              <a:path w="55372" h="9144">
                <a:moveTo>
                  <a:pt x="4572" y="4572"/>
                </a:moveTo>
                <a:lnTo>
                  <a:pt x="50800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64" name="object 664"/>
          <p:cNvSpPr/>
          <p:nvPr/>
        </p:nvSpPr>
        <p:spPr>
          <a:xfrm>
            <a:off x="7144893" y="5629745"/>
            <a:ext cx="531748" cy="49326"/>
          </a:xfrm>
          <a:custGeom>
            <a:avLst/>
            <a:gdLst/>
            <a:ahLst/>
            <a:cxnLst/>
            <a:rect l="l" t="t" r="r" b="b"/>
            <a:pathLst>
              <a:path w="531748" h="49326">
                <a:moveTo>
                  <a:pt x="399796" y="27038"/>
                </a:moveTo>
                <a:cubicBezTo>
                  <a:pt x="399669" y="19583"/>
                  <a:pt x="397763" y="13982"/>
                  <a:pt x="394335" y="10223"/>
                </a:cubicBezTo>
                <a:cubicBezTo>
                  <a:pt x="390779" y="6451"/>
                  <a:pt x="385318" y="4572"/>
                  <a:pt x="377951" y="4572"/>
                </a:cubicBezTo>
                <a:moveTo>
                  <a:pt x="527176" y="44754"/>
                </a:moveTo>
                <a:moveTo>
                  <a:pt x="28956" y="4572"/>
                </a:moveTo>
                <a:cubicBezTo>
                  <a:pt x="22098" y="4572"/>
                  <a:pt x="16510" y="6362"/>
                  <a:pt x="12064" y="9918"/>
                </a:cubicBezTo>
                <a:cubicBezTo>
                  <a:pt x="7620" y="13487"/>
                  <a:pt x="5080" y="19189"/>
                  <a:pt x="4572" y="27038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65" name="object 665"/>
          <p:cNvSpPr/>
          <p:nvPr/>
        </p:nvSpPr>
        <p:spPr>
          <a:xfrm>
            <a:off x="7144949" y="5652211"/>
            <a:ext cx="55371" cy="9144"/>
          </a:xfrm>
          <a:custGeom>
            <a:avLst/>
            <a:gdLst/>
            <a:ahLst/>
            <a:cxnLst/>
            <a:rect l="l" t="t" r="r" b="b"/>
            <a:pathLst>
              <a:path w="55371" h="9144">
                <a:moveTo>
                  <a:pt x="4572" y="4572"/>
                </a:moveTo>
                <a:lnTo>
                  <a:pt x="50800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66" name="object 666"/>
          <p:cNvSpPr/>
          <p:nvPr/>
        </p:nvSpPr>
        <p:spPr>
          <a:xfrm>
            <a:off x="6968363" y="5610555"/>
            <a:ext cx="708278" cy="68516"/>
          </a:xfrm>
          <a:custGeom>
            <a:avLst/>
            <a:gdLst/>
            <a:ahLst/>
            <a:cxnLst/>
            <a:rect l="l" t="t" r="r" b="b"/>
            <a:pathLst>
              <a:path w="708278" h="68516">
                <a:moveTo>
                  <a:pt x="227330" y="46228"/>
                </a:moveTo>
                <a:cubicBezTo>
                  <a:pt x="227203" y="38773"/>
                  <a:pt x="225298" y="33172"/>
                  <a:pt x="221868" y="29413"/>
                </a:cubicBezTo>
                <a:cubicBezTo>
                  <a:pt x="218313" y="25641"/>
                  <a:pt x="212852" y="23762"/>
                  <a:pt x="205486" y="23762"/>
                </a:cubicBezTo>
                <a:moveTo>
                  <a:pt x="703706" y="63944"/>
                </a:moveTo>
                <a:moveTo>
                  <a:pt x="4572" y="4572"/>
                </a:moveTo>
                <a:cubicBezTo>
                  <a:pt x="5715" y="4572"/>
                  <a:pt x="7239" y="4597"/>
                  <a:pt x="8763" y="4661"/>
                </a:cubicBezTo>
                <a:cubicBezTo>
                  <a:pt x="10287" y="4737"/>
                  <a:pt x="11684" y="4826"/>
                  <a:pt x="12954" y="4966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67" name="object 667"/>
          <p:cNvSpPr/>
          <p:nvPr/>
        </p:nvSpPr>
        <p:spPr>
          <a:xfrm>
            <a:off x="6973575" y="5611061"/>
            <a:ext cx="12318" cy="43091"/>
          </a:xfrm>
          <a:custGeom>
            <a:avLst/>
            <a:gdLst/>
            <a:ahLst/>
            <a:cxnLst/>
            <a:rect l="l" t="t" r="r" b="b"/>
            <a:pathLst>
              <a:path w="12318" h="43091">
                <a:moveTo>
                  <a:pt x="7747" y="4572"/>
                </a:moveTo>
                <a:lnTo>
                  <a:pt x="7747" y="38519"/>
                </a:lnTo>
                <a:lnTo>
                  <a:pt x="4572" y="38519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68" name="object 668"/>
          <p:cNvSpPr/>
          <p:nvPr/>
        </p:nvSpPr>
        <p:spPr>
          <a:xfrm>
            <a:off x="6931918" y="5643308"/>
            <a:ext cx="50800" cy="13500"/>
          </a:xfrm>
          <a:custGeom>
            <a:avLst/>
            <a:gdLst/>
            <a:ahLst/>
            <a:cxnLst/>
            <a:rect l="l" t="t" r="r" b="b"/>
            <a:pathLst>
              <a:path w="50800" h="13500">
                <a:moveTo>
                  <a:pt x="46228" y="6160"/>
                </a:moveTo>
                <a:cubicBezTo>
                  <a:pt x="44704" y="5626"/>
                  <a:pt x="42291" y="5233"/>
                  <a:pt x="38862" y="4966"/>
                </a:cubicBezTo>
                <a:cubicBezTo>
                  <a:pt x="35560" y="4699"/>
                  <a:pt x="32766" y="4572"/>
                  <a:pt x="30479" y="4572"/>
                </a:cubicBezTo>
                <a:cubicBezTo>
                  <a:pt x="25400" y="4572"/>
                  <a:pt x="20954" y="4902"/>
                  <a:pt x="17017" y="5563"/>
                </a:cubicBezTo>
                <a:cubicBezTo>
                  <a:pt x="13208" y="6223"/>
                  <a:pt x="9017" y="7341"/>
                  <a:pt x="4572" y="8928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69" name="object 669"/>
          <p:cNvSpPr/>
          <p:nvPr/>
        </p:nvSpPr>
        <p:spPr>
          <a:xfrm>
            <a:off x="6896156" y="5611061"/>
            <a:ext cx="44957" cy="120281"/>
          </a:xfrm>
          <a:custGeom>
            <a:avLst/>
            <a:gdLst/>
            <a:ahLst/>
            <a:cxnLst/>
            <a:rect l="l" t="t" r="r" b="b"/>
            <a:pathLst>
              <a:path w="44957" h="120281">
                <a:moveTo>
                  <a:pt x="40386" y="41287"/>
                </a:moveTo>
                <a:lnTo>
                  <a:pt x="40386" y="115709"/>
                </a:lnTo>
                <a:lnTo>
                  <a:pt x="4572" y="115709"/>
                </a:lnTo>
                <a:lnTo>
                  <a:pt x="4572" y="4572"/>
                </a:lnTo>
                <a:lnTo>
                  <a:pt x="40386" y="4572"/>
                </a:lnTo>
                <a:lnTo>
                  <a:pt x="40386" y="20904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70" name="object 670"/>
          <p:cNvSpPr/>
          <p:nvPr/>
        </p:nvSpPr>
        <p:spPr>
          <a:xfrm>
            <a:off x="6931917" y="5607875"/>
            <a:ext cx="744727" cy="71196"/>
          </a:xfrm>
          <a:custGeom>
            <a:avLst/>
            <a:gdLst/>
            <a:ahLst/>
            <a:cxnLst/>
            <a:rect l="l" t="t" r="r" b="b"/>
            <a:pathLst>
              <a:path w="744727" h="71196">
                <a:moveTo>
                  <a:pt x="4572" y="23978"/>
                </a:moveTo>
                <a:cubicBezTo>
                  <a:pt x="12318" y="17247"/>
                  <a:pt x="19177" y="12777"/>
                  <a:pt x="25018" y="10567"/>
                </a:cubicBezTo>
                <a:cubicBezTo>
                  <a:pt x="30734" y="8357"/>
                  <a:pt x="36067" y="7252"/>
                  <a:pt x="41021" y="7252"/>
                </a:cubicBezTo>
                <a:moveTo>
                  <a:pt x="740155" y="66624"/>
                </a:moveTo>
                <a:moveTo>
                  <a:pt x="395732" y="4572"/>
                </a:moveTo>
                <a:cubicBezTo>
                  <a:pt x="402971" y="4572"/>
                  <a:pt x="409448" y="6211"/>
                  <a:pt x="415036" y="9474"/>
                </a:cubicBezTo>
                <a:cubicBezTo>
                  <a:pt x="420624" y="12738"/>
                  <a:pt x="425068" y="17539"/>
                  <a:pt x="428243" y="23876"/>
                </a:cubicBezTo>
                <a:cubicBezTo>
                  <a:pt x="435355" y="17869"/>
                  <a:pt x="442214" y="13157"/>
                  <a:pt x="448945" y="9716"/>
                </a:cubicBezTo>
                <a:cubicBezTo>
                  <a:pt x="455676" y="6287"/>
                  <a:pt x="462279" y="4572"/>
                  <a:pt x="468757" y="4572"/>
                </a:cubicBezTo>
                <a:cubicBezTo>
                  <a:pt x="480695" y="4572"/>
                  <a:pt x="489839" y="8166"/>
                  <a:pt x="496062" y="15367"/>
                </a:cubicBezTo>
                <a:cubicBezTo>
                  <a:pt x="502285" y="22556"/>
                  <a:pt x="505460" y="32919"/>
                  <a:pt x="505460" y="46444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71" name="object 671"/>
          <p:cNvSpPr/>
          <p:nvPr/>
        </p:nvSpPr>
        <p:spPr>
          <a:xfrm>
            <a:off x="7396988" y="5649859"/>
            <a:ext cx="44958" cy="81483"/>
          </a:xfrm>
          <a:custGeom>
            <a:avLst/>
            <a:gdLst/>
            <a:ahLst/>
            <a:cxnLst/>
            <a:rect l="l" t="t" r="r" b="b"/>
            <a:pathLst>
              <a:path w="44958" h="81483">
                <a:moveTo>
                  <a:pt x="40386" y="4572"/>
                </a:moveTo>
                <a:lnTo>
                  <a:pt x="40386" y="76911"/>
                </a:lnTo>
                <a:lnTo>
                  <a:pt x="4572" y="76911"/>
                </a:lnTo>
                <a:lnTo>
                  <a:pt x="4572" y="21387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72" name="object 672"/>
          <p:cNvSpPr/>
          <p:nvPr/>
        </p:nvSpPr>
        <p:spPr>
          <a:xfrm>
            <a:off x="7359781" y="5636791"/>
            <a:ext cx="46354" cy="39027"/>
          </a:xfrm>
          <a:custGeom>
            <a:avLst/>
            <a:gdLst/>
            <a:ahLst/>
            <a:cxnLst/>
            <a:rect l="l" t="t" r="r" b="b"/>
            <a:pathLst>
              <a:path w="46354" h="39027">
                <a:moveTo>
                  <a:pt x="41783" y="34455"/>
                </a:moveTo>
                <a:cubicBezTo>
                  <a:pt x="41783" y="28981"/>
                  <a:pt x="41655" y="24359"/>
                  <a:pt x="41402" y="20599"/>
                </a:cubicBezTo>
                <a:cubicBezTo>
                  <a:pt x="41275" y="16840"/>
                  <a:pt x="40513" y="13779"/>
                  <a:pt x="39370" y="11405"/>
                </a:cubicBezTo>
                <a:cubicBezTo>
                  <a:pt x="38227" y="9030"/>
                  <a:pt x="36449" y="7290"/>
                  <a:pt x="34036" y="6198"/>
                </a:cubicBezTo>
                <a:cubicBezTo>
                  <a:pt x="31496" y="5118"/>
                  <a:pt x="28066" y="4572"/>
                  <a:pt x="23749" y="4572"/>
                </a:cubicBezTo>
                <a:cubicBezTo>
                  <a:pt x="20701" y="4572"/>
                  <a:pt x="17779" y="5080"/>
                  <a:pt x="14986" y="6109"/>
                </a:cubicBezTo>
                <a:cubicBezTo>
                  <a:pt x="12191" y="7125"/>
                  <a:pt x="8636" y="8826"/>
                  <a:pt x="4572" y="11201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73" name="object 673"/>
          <p:cNvSpPr/>
          <p:nvPr/>
        </p:nvSpPr>
        <p:spPr>
          <a:xfrm>
            <a:off x="7324146" y="5643308"/>
            <a:ext cx="44831" cy="87922"/>
          </a:xfrm>
          <a:custGeom>
            <a:avLst/>
            <a:gdLst/>
            <a:ahLst/>
            <a:cxnLst/>
            <a:rect l="l" t="t" r="r" b="b"/>
            <a:pathLst>
              <a:path w="44831" h="87922">
                <a:moveTo>
                  <a:pt x="40259" y="4572"/>
                </a:moveTo>
                <a:lnTo>
                  <a:pt x="40259" y="83350"/>
                </a:lnTo>
                <a:lnTo>
                  <a:pt x="4572" y="83350"/>
                </a:lnTo>
                <a:lnTo>
                  <a:pt x="4572" y="27826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74" name="object 674"/>
          <p:cNvSpPr/>
          <p:nvPr/>
        </p:nvSpPr>
        <p:spPr>
          <a:xfrm>
            <a:off x="7286879" y="5636791"/>
            <a:ext cx="46355" cy="39027"/>
          </a:xfrm>
          <a:custGeom>
            <a:avLst/>
            <a:gdLst/>
            <a:ahLst/>
            <a:cxnLst/>
            <a:rect l="l" t="t" r="r" b="b"/>
            <a:pathLst>
              <a:path w="46355" h="39027">
                <a:moveTo>
                  <a:pt x="41783" y="34455"/>
                </a:moveTo>
                <a:cubicBezTo>
                  <a:pt x="41783" y="29045"/>
                  <a:pt x="41656" y="24447"/>
                  <a:pt x="41402" y="20650"/>
                </a:cubicBezTo>
                <a:cubicBezTo>
                  <a:pt x="41148" y="16866"/>
                  <a:pt x="40386" y="13779"/>
                  <a:pt x="39243" y="11405"/>
                </a:cubicBezTo>
                <a:cubicBezTo>
                  <a:pt x="37973" y="9030"/>
                  <a:pt x="36195" y="7290"/>
                  <a:pt x="33782" y="6198"/>
                </a:cubicBezTo>
                <a:cubicBezTo>
                  <a:pt x="31369" y="5118"/>
                  <a:pt x="28067" y="4572"/>
                  <a:pt x="23622" y="4572"/>
                </a:cubicBezTo>
                <a:cubicBezTo>
                  <a:pt x="20193" y="4572"/>
                  <a:pt x="16764" y="5283"/>
                  <a:pt x="13462" y="6693"/>
                </a:cubicBezTo>
                <a:cubicBezTo>
                  <a:pt x="10160" y="8115"/>
                  <a:pt x="7239" y="9614"/>
                  <a:pt x="4572" y="11201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75" name="object 675"/>
          <p:cNvSpPr/>
          <p:nvPr/>
        </p:nvSpPr>
        <p:spPr>
          <a:xfrm>
            <a:off x="7251192" y="5611061"/>
            <a:ext cx="44830" cy="120281"/>
          </a:xfrm>
          <a:custGeom>
            <a:avLst/>
            <a:gdLst/>
            <a:ahLst/>
            <a:cxnLst/>
            <a:rect l="l" t="t" r="r" b="b"/>
            <a:pathLst>
              <a:path w="44830" h="120281">
                <a:moveTo>
                  <a:pt x="40259" y="36931"/>
                </a:moveTo>
                <a:lnTo>
                  <a:pt x="40259" y="115709"/>
                </a:lnTo>
                <a:lnTo>
                  <a:pt x="4572" y="115709"/>
                </a:lnTo>
                <a:lnTo>
                  <a:pt x="4572" y="4572"/>
                </a:lnTo>
                <a:lnTo>
                  <a:pt x="40259" y="4572"/>
                </a:lnTo>
                <a:lnTo>
                  <a:pt x="40259" y="16840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76" name="object 676"/>
          <p:cNvSpPr/>
          <p:nvPr/>
        </p:nvSpPr>
        <p:spPr>
          <a:xfrm>
            <a:off x="7046524" y="5607875"/>
            <a:ext cx="630173" cy="71196"/>
          </a:xfrm>
          <a:custGeom>
            <a:avLst/>
            <a:gdLst/>
            <a:ahLst/>
            <a:cxnLst/>
            <a:rect l="l" t="t" r="r" b="b"/>
            <a:pathLst>
              <a:path w="630173" h="71196">
                <a:moveTo>
                  <a:pt x="244983" y="19914"/>
                </a:moveTo>
                <a:cubicBezTo>
                  <a:pt x="251079" y="15101"/>
                  <a:pt x="256921" y="11341"/>
                  <a:pt x="262509" y="8636"/>
                </a:cubicBezTo>
                <a:cubicBezTo>
                  <a:pt x="268097" y="5931"/>
                  <a:pt x="274320" y="4572"/>
                  <a:pt x="281178" y="4572"/>
                </a:cubicBezTo>
                <a:moveTo>
                  <a:pt x="625601" y="66624"/>
                </a:moveTo>
                <a:moveTo>
                  <a:pt x="4572" y="4572"/>
                </a:moveTo>
                <a:cubicBezTo>
                  <a:pt x="12954" y="4572"/>
                  <a:pt x="20828" y="5410"/>
                  <a:pt x="28448" y="7100"/>
                </a:cubicBezTo>
                <a:cubicBezTo>
                  <a:pt x="36068" y="8776"/>
                  <a:pt x="42037" y="10579"/>
                  <a:pt x="46355" y="12497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77" name="object 677"/>
          <p:cNvSpPr/>
          <p:nvPr/>
        </p:nvSpPr>
        <p:spPr>
          <a:xfrm>
            <a:off x="7085259" y="5615912"/>
            <a:ext cx="12191" cy="37249"/>
          </a:xfrm>
          <a:custGeom>
            <a:avLst/>
            <a:gdLst/>
            <a:ahLst/>
            <a:cxnLst/>
            <a:rect l="l" t="t" r="r" b="b"/>
            <a:pathLst>
              <a:path w="12191" h="37249">
                <a:moveTo>
                  <a:pt x="7620" y="4572"/>
                </a:moveTo>
                <a:lnTo>
                  <a:pt x="7620" y="32677"/>
                </a:lnTo>
                <a:lnTo>
                  <a:pt x="4572" y="32677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78" name="object 678"/>
          <p:cNvSpPr/>
          <p:nvPr/>
        </p:nvSpPr>
        <p:spPr>
          <a:xfrm>
            <a:off x="6989318" y="5631736"/>
            <a:ext cx="113156" cy="102679"/>
          </a:xfrm>
          <a:custGeom>
            <a:avLst/>
            <a:gdLst/>
            <a:ahLst/>
            <a:cxnLst/>
            <a:rect l="l" t="t" r="r" b="b"/>
            <a:pathLst>
              <a:path w="113156" h="102679">
                <a:moveTo>
                  <a:pt x="100457" y="16853"/>
                </a:moveTo>
                <a:cubicBezTo>
                  <a:pt x="95123" y="13221"/>
                  <a:pt x="89154" y="10275"/>
                  <a:pt x="82423" y="7989"/>
                </a:cubicBezTo>
                <a:cubicBezTo>
                  <a:pt x="75692" y="5715"/>
                  <a:pt x="68834" y="4572"/>
                  <a:pt x="61849" y="4572"/>
                </a:cubicBezTo>
                <a:cubicBezTo>
                  <a:pt x="56134" y="4572"/>
                  <a:pt x="51308" y="5372"/>
                  <a:pt x="47371" y="6960"/>
                </a:cubicBezTo>
                <a:cubicBezTo>
                  <a:pt x="43434" y="8535"/>
                  <a:pt x="41529" y="10783"/>
                  <a:pt x="41529" y="13678"/>
                </a:cubicBezTo>
                <a:cubicBezTo>
                  <a:pt x="41529" y="16320"/>
                  <a:pt x="42418" y="18339"/>
                  <a:pt x="44196" y="19723"/>
                </a:cubicBezTo>
                <a:cubicBezTo>
                  <a:pt x="45974" y="21108"/>
                  <a:pt x="50164" y="22492"/>
                  <a:pt x="56769" y="23876"/>
                </a:cubicBezTo>
                <a:cubicBezTo>
                  <a:pt x="60325" y="24600"/>
                  <a:pt x="64262" y="25311"/>
                  <a:pt x="68453" y="26010"/>
                </a:cubicBezTo>
                <a:cubicBezTo>
                  <a:pt x="72644" y="26696"/>
                  <a:pt x="76835" y="27572"/>
                  <a:pt x="81025" y="28626"/>
                </a:cubicBezTo>
                <a:cubicBezTo>
                  <a:pt x="90424" y="31064"/>
                  <a:pt x="97409" y="34913"/>
                  <a:pt x="101854" y="40158"/>
                </a:cubicBezTo>
                <a:cubicBezTo>
                  <a:pt x="106299" y="45403"/>
                  <a:pt x="108585" y="51956"/>
                  <a:pt x="108585" y="59805"/>
                </a:cubicBezTo>
                <a:cubicBezTo>
                  <a:pt x="108585" y="71285"/>
                  <a:pt x="103378" y="80544"/>
                  <a:pt x="93091" y="87567"/>
                </a:cubicBezTo>
                <a:cubicBezTo>
                  <a:pt x="82804" y="94590"/>
                  <a:pt x="68707" y="98108"/>
                  <a:pt x="50926" y="98108"/>
                </a:cubicBezTo>
                <a:cubicBezTo>
                  <a:pt x="41021" y="98108"/>
                  <a:pt x="32004" y="97181"/>
                  <a:pt x="24003" y="95339"/>
                </a:cubicBezTo>
                <a:cubicBezTo>
                  <a:pt x="15875" y="93485"/>
                  <a:pt x="9398" y="91440"/>
                  <a:pt x="4572" y="8919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79" name="object 679"/>
          <p:cNvSpPr/>
          <p:nvPr/>
        </p:nvSpPr>
        <p:spPr>
          <a:xfrm>
            <a:off x="6989322" y="5686958"/>
            <a:ext cx="12445" cy="38430"/>
          </a:xfrm>
          <a:custGeom>
            <a:avLst/>
            <a:gdLst/>
            <a:ahLst/>
            <a:cxnLst/>
            <a:rect l="l" t="t" r="r" b="b"/>
            <a:pathLst>
              <a:path w="12445" h="38430">
                <a:moveTo>
                  <a:pt x="4572" y="33858"/>
                </a:moveTo>
                <a:lnTo>
                  <a:pt x="4572" y="4572"/>
                </a:lnTo>
                <a:lnTo>
                  <a:pt x="7874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80" name="object 680"/>
          <p:cNvSpPr/>
          <p:nvPr/>
        </p:nvSpPr>
        <p:spPr>
          <a:xfrm>
            <a:off x="6989826" y="5607886"/>
            <a:ext cx="722122" cy="102781"/>
          </a:xfrm>
          <a:custGeom>
            <a:avLst/>
            <a:gdLst/>
            <a:ahLst/>
            <a:cxnLst/>
            <a:rect l="l" t="t" r="r" b="b"/>
            <a:pathLst>
              <a:path w="722122" h="102781">
                <a:moveTo>
                  <a:pt x="7366" y="83756"/>
                </a:moveTo>
                <a:cubicBezTo>
                  <a:pt x="9143" y="85001"/>
                  <a:pt x="11176" y="86372"/>
                  <a:pt x="13462" y="87858"/>
                </a:cubicBezTo>
                <a:cubicBezTo>
                  <a:pt x="15875" y="89344"/>
                  <a:pt x="19177" y="90944"/>
                  <a:pt x="23495" y="92659"/>
                </a:cubicBezTo>
                <a:cubicBezTo>
                  <a:pt x="27178" y="94183"/>
                  <a:pt x="31368" y="95478"/>
                  <a:pt x="36067" y="96571"/>
                </a:cubicBezTo>
                <a:cubicBezTo>
                  <a:pt x="40640" y="97663"/>
                  <a:pt x="45720" y="98209"/>
                  <a:pt x="51054" y="98209"/>
                </a:cubicBezTo>
                <a:cubicBezTo>
                  <a:pt x="58039" y="98209"/>
                  <a:pt x="63246" y="97421"/>
                  <a:pt x="66548" y="95872"/>
                </a:cubicBezTo>
                <a:cubicBezTo>
                  <a:pt x="69977" y="94323"/>
                  <a:pt x="71628" y="92037"/>
                  <a:pt x="71628" y="89001"/>
                </a:cubicBezTo>
                <a:cubicBezTo>
                  <a:pt x="71628" y="86296"/>
                  <a:pt x="70612" y="84328"/>
                  <a:pt x="68706" y="83108"/>
                </a:cubicBezTo>
                <a:cubicBezTo>
                  <a:pt x="66675" y="81889"/>
                  <a:pt x="62992" y="80721"/>
                  <a:pt x="57404" y="79591"/>
                </a:cubicBezTo>
                <a:cubicBezTo>
                  <a:pt x="54737" y="79006"/>
                  <a:pt x="51180" y="78359"/>
                  <a:pt x="46609" y="77660"/>
                </a:cubicBezTo>
                <a:cubicBezTo>
                  <a:pt x="42164" y="76974"/>
                  <a:pt x="37973" y="76136"/>
                  <a:pt x="34290" y="75146"/>
                </a:cubicBezTo>
                <a:cubicBezTo>
                  <a:pt x="24256" y="72504"/>
                  <a:pt x="16764" y="68402"/>
                  <a:pt x="11811" y="62827"/>
                </a:cubicBezTo>
                <a:cubicBezTo>
                  <a:pt x="6985" y="57251"/>
                  <a:pt x="4572" y="50304"/>
                  <a:pt x="4572" y="41986"/>
                </a:cubicBezTo>
                <a:cubicBezTo>
                  <a:pt x="4572" y="31293"/>
                  <a:pt x="9652" y="22403"/>
                  <a:pt x="19685" y="15316"/>
                </a:cubicBezTo>
                <a:cubicBezTo>
                  <a:pt x="29845" y="8217"/>
                  <a:pt x="43688" y="4673"/>
                  <a:pt x="61214" y="4673"/>
                </a:cubicBezTo>
                <a:moveTo>
                  <a:pt x="682243" y="66725"/>
                </a:moveTo>
                <a:moveTo>
                  <a:pt x="660146" y="4572"/>
                </a:moveTo>
                <a:cubicBezTo>
                  <a:pt x="680466" y="4572"/>
                  <a:pt x="695071" y="7696"/>
                  <a:pt x="704088" y="13932"/>
                </a:cubicBezTo>
                <a:cubicBezTo>
                  <a:pt x="713105" y="20167"/>
                  <a:pt x="717550" y="29946"/>
                  <a:pt x="717550" y="43269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81" name="object 681"/>
          <p:cNvSpPr/>
          <p:nvPr/>
        </p:nvSpPr>
        <p:spPr>
          <a:xfrm>
            <a:off x="7667498" y="5646583"/>
            <a:ext cx="44450" cy="84759"/>
          </a:xfrm>
          <a:custGeom>
            <a:avLst/>
            <a:gdLst/>
            <a:ahLst/>
            <a:cxnLst/>
            <a:rect l="l" t="t" r="r" b="b"/>
            <a:pathLst>
              <a:path w="44450" h="84759">
                <a:moveTo>
                  <a:pt x="39878" y="4572"/>
                </a:moveTo>
                <a:lnTo>
                  <a:pt x="39878" y="80187"/>
                </a:lnTo>
                <a:lnTo>
                  <a:pt x="4571" y="80187"/>
                </a:lnTo>
                <a:lnTo>
                  <a:pt x="4571" y="68414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82" name="object 682"/>
          <p:cNvSpPr/>
          <p:nvPr/>
        </p:nvSpPr>
        <p:spPr>
          <a:xfrm>
            <a:off x="7591933" y="5649161"/>
            <a:ext cx="84962" cy="85153"/>
          </a:xfrm>
          <a:custGeom>
            <a:avLst/>
            <a:gdLst/>
            <a:ahLst/>
            <a:cxnLst/>
            <a:rect l="l" t="t" r="r" b="b"/>
            <a:pathLst>
              <a:path w="84962" h="85153">
                <a:moveTo>
                  <a:pt x="80136" y="65836"/>
                </a:moveTo>
                <a:cubicBezTo>
                  <a:pt x="78232" y="67284"/>
                  <a:pt x="75819" y="69037"/>
                  <a:pt x="73024" y="71082"/>
                </a:cubicBezTo>
                <a:cubicBezTo>
                  <a:pt x="70231" y="73126"/>
                  <a:pt x="67564" y="74739"/>
                  <a:pt x="65023" y="75933"/>
                </a:cubicBezTo>
                <a:cubicBezTo>
                  <a:pt x="61468" y="77508"/>
                  <a:pt x="57911" y="78689"/>
                  <a:pt x="54102" y="79438"/>
                </a:cubicBezTo>
                <a:cubicBezTo>
                  <a:pt x="50419" y="80200"/>
                  <a:pt x="46228" y="80581"/>
                  <a:pt x="41783" y="80581"/>
                </a:cubicBezTo>
                <a:cubicBezTo>
                  <a:pt x="31242" y="80581"/>
                  <a:pt x="22352" y="77317"/>
                  <a:pt x="15240" y="70789"/>
                </a:cubicBezTo>
                <a:cubicBezTo>
                  <a:pt x="8128" y="64249"/>
                  <a:pt x="4572" y="55905"/>
                  <a:pt x="4572" y="45745"/>
                </a:cubicBezTo>
                <a:cubicBezTo>
                  <a:pt x="4572" y="37630"/>
                  <a:pt x="6349" y="31000"/>
                  <a:pt x="10033" y="25857"/>
                </a:cubicBezTo>
                <a:cubicBezTo>
                  <a:pt x="13589" y="20701"/>
                  <a:pt x="18796" y="16649"/>
                  <a:pt x="25399" y="13678"/>
                </a:cubicBezTo>
                <a:cubicBezTo>
                  <a:pt x="32004" y="10706"/>
                  <a:pt x="40259" y="8598"/>
                  <a:pt x="50038" y="7340"/>
                </a:cubicBezTo>
                <a:cubicBezTo>
                  <a:pt x="59690" y="6096"/>
                  <a:pt x="69849" y="5169"/>
                  <a:pt x="80391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83" name="object 683"/>
          <p:cNvSpPr/>
          <p:nvPr/>
        </p:nvSpPr>
        <p:spPr>
          <a:xfrm>
            <a:off x="7667752" y="5648564"/>
            <a:ext cx="9144" cy="9741"/>
          </a:xfrm>
          <a:custGeom>
            <a:avLst/>
            <a:gdLst/>
            <a:ahLst/>
            <a:cxnLst/>
            <a:rect l="l" t="t" r="r" b="b"/>
            <a:pathLst>
              <a:path w="9144" h="9741">
                <a:moveTo>
                  <a:pt x="4572" y="5169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84" name="object 684"/>
          <p:cNvSpPr/>
          <p:nvPr/>
        </p:nvSpPr>
        <p:spPr>
          <a:xfrm>
            <a:off x="7604888" y="5632221"/>
            <a:ext cx="72009" cy="25374"/>
          </a:xfrm>
          <a:custGeom>
            <a:avLst/>
            <a:gdLst/>
            <a:ahLst/>
            <a:cxnLst/>
            <a:rect l="l" t="t" r="r" b="b"/>
            <a:pathLst>
              <a:path w="72009" h="25374">
                <a:moveTo>
                  <a:pt x="67437" y="20803"/>
                </a:moveTo>
                <a:cubicBezTo>
                  <a:pt x="67437" y="14669"/>
                  <a:pt x="64897" y="10427"/>
                  <a:pt x="59944" y="8090"/>
                </a:cubicBezTo>
                <a:cubicBezTo>
                  <a:pt x="54864" y="5741"/>
                  <a:pt x="47498" y="4572"/>
                  <a:pt x="37719" y="4572"/>
                </a:cubicBezTo>
                <a:cubicBezTo>
                  <a:pt x="31877" y="4572"/>
                  <a:pt x="25527" y="5614"/>
                  <a:pt x="18923" y="7696"/>
                </a:cubicBezTo>
                <a:cubicBezTo>
                  <a:pt x="12192" y="9767"/>
                  <a:pt x="7493" y="11367"/>
                  <a:pt x="4572" y="12497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85" name="object 685"/>
          <p:cNvSpPr/>
          <p:nvPr/>
        </p:nvSpPr>
        <p:spPr>
          <a:xfrm>
            <a:off x="7601586" y="5613324"/>
            <a:ext cx="12445" cy="35966"/>
          </a:xfrm>
          <a:custGeom>
            <a:avLst/>
            <a:gdLst/>
            <a:ahLst/>
            <a:cxnLst/>
            <a:rect l="l" t="t" r="r" b="b"/>
            <a:pathLst>
              <a:path w="12445" h="35966">
                <a:moveTo>
                  <a:pt x="7874" y="31394"/>
                </a:moveTo>
                <a:lnTo>
                  <a:pt x="4571" y="31394"/>
                </a:lnTo>
                <a:lnTo>
                  <a:pt x="4571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86" name="object 686"/>
          <p:cNvSpPr/>
          <p:nvPr/>
        </p:nvSpPr>
        <p:spPr>
          <a:xfrm>
            <a:off x="7521204" y="5607594"/>
            <a:ext cx="155447" cy="71589"/>
          </a:xfrm>
          <a:custGeom>
            <a:avLst/>
            <a:gdLst/>
            <a:ahLst/>
            <a:cxnLst/>
            <a:rect l="l" t="t" r="r" b="b"/>
            <a:pathLst>
              <a:path w="155447" h="71589">
                <a:moveTo>
                  <a:pt x="84962" y="10414"/>
                </a:moveTo>
                <a:cubicBezTo>
                  <a:pt x="88773" y="9423"/>
                  <a:pt x="94869" y="8255"/>
                  <a:pt x="103378" y="6896"/>
                </a:cubicBezTo>
                <a:cubicBezTo>
                  <a:pt x="111887" y="5550"/>
                  <a:pt x="120269" y="4864"/>
                  <a:pt x="128778" y="4864"/>
                </a:cubicBezTo>
                <a:moveTo>
                  <a:pt x="150875" y="67017"/>
                </a:moveTo>
                <a:moveTo>
                  <a:pt x="4572" y="4572"/>
                </a:moveTo>
                <a:cubicBezTo>
                  <a:pt x="22606" y="4572"/>
                  <a:pt x="36195" y="9144"/>
                  <a:pt x="45338" y="18275"/>
                </a:cubicBezTo>
                <a:cubicBezTo>
                  <a:pt x="54356" y="27419"/>
                  <a:pt x="58928" y="40563"/>
                  <a:pt x="58928" y="57721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87" name="object 687"/>
          <p:cNvSpPr/>
          <p:nvPr/>
        </p:nvSpPr>
        <p:spPr>
          <a:xfrm>
            <a:off x="7494072" y="5660743"/>
            <a:ext cx="90677" cy="21615"/>
          </a:xfrm>
          <a:custGeom>
            <a:avLst/>
            <a:gdLst/>
            <a:ahLst/>
            <a:cxnLst/>
            <a:rect l="l" t="t" r="r" b="b"/>
            <a:pathLst>
              <a:path w="90677" h="21615">
                <a:moveTo>
                  <a:pt x="86106" y="4572"/>
                </a:moveTo>
                <a:lnTo>
                  <a:pt x="86106" y="17043"/>
                </a:lnTo>
                <a:lnTo>
                  <a:pt x="4572" y="1704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88" name="object 688"/>
          <p:cNvSpPr/>
          <p:nvPr/>
        </p:nvSpPr>
        <p:spPr>
          <a:xfrm>
            <a:off x="7494018" y="5673214"/>
            <a:ext cx="84709" cy="36055"/>
          </a:xfrm>
          <a:custGeom>
            <a:avLst/>
            <a:gdLst/>
            <a:ahLst/>
            <a:cxnLst/>
            <a:rect l="l" t="t" r="r" b="b"/>
            <a:pathLst>
              <a:path w="84709" h="36055">
                <a:moveTo>
                  <a:pt x="4572" y="4572"/>
                </a:moveTo>
                <a:cubicBezTo>
                  <a:pt x="5080" y="13285"/>
                  <a:pt x="8382" y="19940"/>
                  <a:pt x="14477" y="24562"/>
                </a:cubicBezTo>
                <a:cubicBezTo>
                  <a:pt x="20574" y="29185"/>
                  <a:pt x="29590" y="31484"/>
                  <a:pt x="41528" y="31484"/>
                </a:cubicBezTo>
                <a:cubicBezTo>
                  <a:pt x="49022" y="31484"/>
                  <a:pt x="56261" y="30138"/>
                  <a:pt x="63373" y="27433"/>
                </a:cubicBezTo>
                <a:cubicBezTo>
                  <a:pt x="70485" y="24727"/>
                  <a:pt x="75946" y="21819"/>
                  <a:pt x="80137" y="18720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89" name="object 689"/>
          <p:cNvSpPr/>
          <p:nvPr/>
        </p:nvSpPr>
        <p:spPr>
          <a:xfrm>
            <a:off x="7569581" y="5687250"/>
            <a:ext cx="13080" cy="37744"/>
          </a:xfrm>
          <a:custGeom>
            <a:avLst/>
            <a:gdLst/>
            <a:ahLst/>
            <a:cxnLst/>
            <a:rect l="l" t="t" r="r" b="b"/>
            <a:pathLst>
              <a:path w="13080" h="37744">
                <a:moveTo>
                  <a:pt x="4572" y="4572"/>
                </a:moveTo>
                <a:lnTo>
                  <a:pt x="8509" y="4572"/>
                </a:lnTo>
                <a:lnTo>
                  <a:pt x="8509" y="3317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90" name="object 690"/>
          <p:cNvSpPr/>
          <p:nvPr/>
        </p:nvSpPr>
        <p:spPr>
          <a:xfrm>
            <a:off x="7172203" y="5607482"/>
            <a:ext cx="504443" cy="126720"/>
          </a:xfrm>
          <a:custGeom>
            <a:avLst/>
            <a:gdLst/>
            <a:ahLst/>
            <a:cxnLst/>
            <a:rect l="l" t="t" r="r" b="b"/>
            <a:pathLst>
              <a:path w="504443" h="126720">
                <a:moveTo>
                  <a:pt x="405892" y="112941"/>
                </a:moveTo>
                <a:cubicBezTo>
                  <a:pt x="397764" y="116179"/>
                  <a:pt x="390270" y="118516"/>
                  <a:pt x="383158" y="119977"/>
                </a:cubicBezTo>
                <a:cubicBezTo>
                  <a:pt x="375920" y="121424"/>
                  <a:pt x="368045" y="122148"/>
                  <a:pt x="359409" y="122148"/>
                </a:cubicBezTo>
                <a:cubicBezTo>
                  <a:pt x="337184" y="122148"/>
                  <a:pt x="320040" y="117132"/>
                  <a:pt x="308229" y="107099"/>
                </a:cubicBezTo>
                <a:cubicBezTo>
                  <a:pt x="296291" y="97078"/>
                  <a:pt x="290321" y="82791"/>
                  <a:pt x="290321" y="64249"/>
                </a:cubicBezTo>
                <a:cubicBezTo>
                  <a:pt x="290321" y="45910"/>
                  <a:pt x="296037" y="31381"/>
                  <a:pt x="307213" y="20650"/>
                </a:cubicBezTo>
                <a:cubicBezTo>
                  <a:pt x="318516" y="9931"/>
                  <a:pt x="333883" y="4572"/>
                  <a:pt x="353568" y="4572"/>
                </a:cubicBezTo>
                <a:moveTo>
                  <a:pt x="499871" y="67017"/>
                </a:moveTo>
                <a:moveTo>
                  <a:pt x="4571" y="4572"/>
                </a:moveTo>
                <a:cubicBezTo>
                  <a:pt x="22606" y="4572"/>
                  <a:pt x="36195" y="9144"/>
                  <a:pt x="45339" y="18275"/>
                </a:cubicBezTo>
                <a:cubicBezTo>
                  <a:pt x="54356" y="27419"/>
                  <a:pt x="58928" y="40563"/>
                  <a:pt x="58928" y="57721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91" name="object 691"/>
          <p:cNvSpPr/>
          <p:nvPr/>
        </p:nvSpPr>
        <p:spPr>
          <a:xfrm>
            <a:off x="7145076" y="5660743"/>
            <a:ext cx="90677" cy="21615"/>
          </a:xfrm>
          <a:custGeom>
            <a:avLst/>
            <a:gdLst/>
            <a:ahLst/>
            <a:cxnLst/>
            <a:rect l="l" t="t" r="r" b="b"/>
            <a:pathLst>
              <a:path w="90677" h="21615">
                <a:moveTo>
                  <a:pt x="86106" y="4572"/>
                </a:moveTo>
                <a:lnTo>
                  <a:pt x="86106" y="17043"/>
                </a:lnTo>
                <a:lnTo>
                  <a:pt x="4572" y="1704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92" name="object 692"/>
          <p:cNvSpPr/>
          <p:nvPr/>
        </p:nvSpPr>
        <p:spPr>
          <a:xfrm>
            <a:off x="7145020" y="5673214"/>
            <a:ext cx="84708" cy="36055"/>
          </a:xfrm>
          <a:custGeom>
            <a:avLst/>
            <a:gdLst/>
            <a:ahLst/>
            <a:cxnLst/>
            <a:rect l="l" t="t" r="r" b="b"/>
            <a:pathLst>
              <a:path w="84708" h="36055">
                <a:moveTo>
                  <a:pt x="4572" y="4572"/>
                </a:moveTo>
                <a:cubicBezTo>
                  <a:pt x="5080" y="13285"/>
                  <a:pt x="8382" y="19940"/>
                  <a:pt x="14478" y="24562"/>
                </a:cubicBezTo>
                <a:cubicBezTo>
                  <a:pt x="20573" y="29185"/>
                  <a:pt x="29591" y="31484"/>
                  <a:pt x="41529" y="31484"/>
                </a:cubicBezTo>
                <a:cubicBezTo>
                  <a:pt x="49022" y="31484"/>
                  <a:pt x="56261" y="30138"/>
                  <a:pt x="63373" y="27433"/>
                </a:cubicBezTo>
                <a:cubicBezTo>
                  <a:pt x="70485" y="24727"/>
                  <a:pt x="75946" y="21819"/>
                  <a:pt x="80136" y="18720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93" name="object 693"/>
          <p:cNvSpPr/>
          <p:nvPr/>
        </p:nvSpPr>
        <p:spPr>
          <a:xfrm>
            <a:off x="7220585" y="5687250"/>
            <a:ext cx="13080" cy="37744"/>
          </a:xfrm>
          <a:custGeom>
            <a:avLst/>
            <a:gdLst/>
            <a:ahLst/>
            <a:cxnLst/>
            <a:rect l="l" t="t" r="r" b="b"/>
            <a:pathLst>
              <a:path w="13080" h="37744">
                <a:moveTo>
                  <a:pt x="4571" y="4572"/>
                </a:moveTo>
                <a:lnTo>
                  <a:pt x="8508" y="4572"/>
                </a:lnTo>
                <a:lnTo>
                  <a:pt x="8508" y="3317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94" name="object 694"/>
          <p:cNvSpPr/>
          <p:nvPr/>
        </p:nvSpPr>
        <p:spPr>
          <a:xfrm>
            <a:off x="6749288" y="5579349"/>
            <a:ext cx="997839" cy="155461"/>
          </a:xfrm>
          <a:custGeom>
            <a:avLst/>
            <a:gdLst/>
            <a:ahLst/>
            <a:cxnLst/>
            <a:rect l="l" t="t" r="r" b="b"/>
            <a:pathLst>
              <a:path w="997839" h="155461">
                <a:moveTo>
                  <a:pt x="479805" y="141186"/>
                </a:moveTo>
                <a:cubicBezTo>
                  <a:pt x="471678" y="144424"/>
                  <a:pt x="464185" y="146761"/>
                  <a:pt x="457073" y="148222"/>
                </a:cubicBezTo>
                <a:cubicBezTo>
                  <a:pt x="449834" y="149669"/>
                  <a:pt x="441960" y="150393"/>
                  <a:pt x="433324" y="150393"/>
                </a:cubicBezTo>
                <a:cubicBezTo>
                  <a:pt x="411099" y="150393"/>
                  <a:pt x="393954" y="145377"/>
                  <a:pt x="382143" y="135344"/>
                </a:cubicBezTo>
                <a:cubicBezTo>
                  <a:pt x="370205" y="125323"/>
                  <a:pt x="364236" y="111036"/>
                  <a:pt x="364236" y="92494"/>
                </a:cubicBezTo>
                <a:cubicBezTo>
                  <a:pt x="364236" y="74155"/>
                  <a:pt x="369951" y="59626"/>
                  <a:pt x="381127" y="48895"/>
                </a:cubicBezTo>
                <a:cubicBezTo>
                  <a:pt x="392430" y="38176"/>
                  <a:pt x="407797" y="32817"/>
                  <a:pt x="427481" y="32817"/>
                </a:cubicBezTo>
                <a:moveTo>
                  <a:pt x="922781" y="95262"/>
                </a:moveTo>
                <a:moveTo>
                  <a:pt x="65531" y="32817"/>
                </a:moveTo>
                <a:cubicBezTo>
                  <a:pt x="84836" y="32817"/>
                  <a:pt x="99822" y="38100"/>
                  <a:pt x="110490" y="48653"/>
                </a:cubicBezTo>
                <a:cubicBezTo>
                  <a:pt x="121030" y="59207"/>
                  <a:pt x="126365" y="73622"/>
                  <a:pt x="126365" y="91897"/>
                </a:cubicBezTo>
                <a:cubicBezTo>
                  <a:pt x="126365" y="110185"/>
                  <a:pt x="121030" y="124574"/>
                  <a:pt x="110363" y="135102"/>
                </a:cubicBezTo>
                <a:cubicBezTo>
                  <a:pt x="99694" y="145631"/>
                  <a:pt x="84709" y="150889"/>
                  <a:pt x="65531" y="150889"/>
                </a:cubicBezTo>
                <a:cubicBezTo>
                  <a:pt x="46228" y="150889"/>
                  <a:pt x="31242" y="145631"/>
                  <a:pt x="20574" y="135102"/>
                </a:cubicBezTo>
                <a:cubicBezTo>
                  <a:pt x="9905" y="124574"/>
                  <a:pt x="4572" y="110185"/>
                  <a:pt x="4572" y="91897"/>
                </a:cubicBezTo>
                <a:cubicBezTo>
                  <a:pt x="4572" y="73495"/>
                  <a:pt x="10033" y="59042"/>
                  <a:pt x="20701" y="48552"/>
                </a:cubicBezTo>
                <a:cubicBezTo>
                  <a:pt x="31368" y="38062"/>
                  <a:pt x="46355" y="32817"/>
                  <a:pt x="65531" y="32817"/>
                </a:cubicBezTo>
                <a:moveTo>
                  <a:pt x="922781" y="95262"/>
                </a:moveTo>
                <a:moveTo>
                  <a:pt x="993267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95" name="object 695"/>
          <p:cNvSpPr/>
          <p:nvPr/>
        </p:nvSpPr>
        <p:spPr>
          <a:xfrm>
            <a:off x="7737986" y="5579349"/>
            <a:ext cx="78104" cy="104457"/>
          </a:xfrm>
          <a:custGeom>
            <a:avLst/>
            <a:gdLst/>
            <a:ahLst/>
            <a:cxnLst/>
            <a:rect l="l" t="t" r="r" b="b"/>
            <a:pathLst>
              <a:path w="78104" h="104457">
                <a:moveTo>
                  <a:pt x="4572" y="4572"/>
                </a:moveTo>
                <a:lnTo>
                  <a:pt x="40259" y="4572"/>
                </a:lnTo>
                <a:lnTo>
                  <a:pt x="40259" y="36284"/>
                </a:lnTo>
                <a:lnTo>
                  <a:pt x="73533" y="36284"/>
                </a:lnTo>
                <a:lnTo>
                  <a:pt x="73533" y="60426"/>
                </a:lnTo>
                <a:lnTo>
                  <a:pt x="40259" y="60426"/>
                </a:lnTo>
                <a:lnTo>
                  <a:pt x="40259" y="99885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96" name="object 696"/>
          <p:cNvSpPr/>
          <p:nvPr/>
        </p:nvSpPr>
        <p:spPr>
          <a:xfrm>
            <a:off x="7773670" y="5674662"/>
            <a:ext cx="39496" cy="34709"/>
          </a:xfrm>
          <a:custGeom>
            <a:avLst/>
            <a:gdLst/>
            <a:ahLst/>
            <a:cxnLst/>
            <a:rect l="l" t="t" r="r" b="b"/>
            <a:pathLst>
              <a:path w="39496" h="34709">
                <a:moveTo>
                  <a:pt x="4572" y="4572"/>
                </a:moveTo>
                <a:cubicBezTo>
                  <a:pt x="4572" y="8471"/>
                  <a:pt x="4572" y="11875"/>
                  <a:pt x="4698" y="14770"/>
                </a:cubicBezTo>
                <a:cubicBezTo>
                  <a:pt x="4698" y="17679"/>
                  <a:pt x="5207" y="20295"/>
                  <a:pt x="6223" y="22606"/>
                </a:cubicBezTo>
                <a:cubicBezTo>
                  <a:pt x="7111" y="24918"/>
                  <a:pt x="8762" y="26759"/>
                  <a:pt x="11176" y="28105"/>
                </a:cubicBezTo>
                <a:cubicBezTo>
                  <a:pt x="13461" y="29464"/>
                  <a:pt x="16891" y="30137"/>
                  <a:pt x="21336" y="30137"/>
                </a:cubicBezTo>
                <a:cubicBezTo>
                  <a:pt x="23241" y="30137"/>
                  <a:pt x="25654" y="29744"/>
                  <a:pt x="28574" y="28956"/>
                </a:cubicBezTo>
                <a:cubicBezTo>
                  <a:pt x="31623" y="28156"/>
                  <a:pt x="33655" y="27432"/>
                  <a:pt x="34924" y="267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97" name="object 697"/>
          <p:cNvSpPr/>
          <p:nvPr/>
        </p:nvSpPr>
        <p:spPr>
          <a:xfrm>
            <a:off x="7804023" y="5696862"/>
            <a:ext cx="12065" cy="33503"/>
          </a:xfrm>
          <a:custGeom>
            <a:avLst/>
            <a:gdLst/>
            <a:ahLst/>
            <a:cxnLst/>
            <a:rect l="l" t="t" r="r" b="b"/>
            <a:pathLst>
              <a:path w="12065" h="33503">
                <a:moveTo>
                  <a:pt x="4571" y="4572"/>
                </a:moveTo>
                <a:lnTo>
                  <a:pt x="7493" y="4572"/>
                </a:lnTo>
                <a:lnTo>
                  <a:pt x="7493" y="2893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98" name="object 698"/>
          <p:cNvSpPr/>
          <p:nvPr/>
        </p:nvSpPr>
        <p:spPr>
          <a:xfrm>
            <a:off x="7737986" y="5687172"/>
            <a:ext cx="78104" cy="46355"/>
          </a:xfrm>
          <a:custGeom>
            <a:avLst/>
            <a:gdLst/>
            <a:ahLst/>
            <a:cxnLst/>
            <a:rect l="l" t="t" r="r" b="b"/>
            <a:pathLst>
              <a:path w="78104" h="46355">
                <a:moveTo>
                  <a:pt x="73533" y="38621"/>
                </a:moveTo>
                <a:cubicBezTo>
                  <a:pt x="69723" y="39611"/>
                  <a:pt x="65659" y="40386"/>
                  <a:pt x="61341" y="40945"/>
                </a:cubicBezTo>
                <a:cubicBezTo>
                  <a:pt x="57023" y="41503"/>
                  <a:pt x="51816" y="41783"/>
                  <a:pt x="45593" y="41783"/>
                </a:cubicBezTo>
                <a:cubicBezTo>
                  <a:pt x="31749" y="41783"/>
                  <a:pt x="21463" y="38976"/>
                  <a:pt x="14732" y="33363"/>
                </a:cubicBezTo>
                <a:cubicBezTo>
                  <a:pt x="7873" y="27762"/>
                  <a:pt x="4572" y="18161"/>
                  <a:pt x="4572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99" name="object 699"/>
          <p:cNvSpPr/>
          <p:nvPr/>
        </p:nvSpPr>
        <p:spPr>
          <a:xfrm>
            <a:off x="7723251" y="5611061"/>
            <a:ext cx="23876" cy="85255"/>
          </a:xfrm>
          <a:custGeom>
            <a:avLst/>
            <a:gdLst/>
            <a:ahLst/>
            <a:cxnLst/>
            <a:rect l="l" t="t" r="r" b="b"/>
            <a:pathLst>
              <a:path w="23876" h="85255">
                <a:moveTo>
                  <a:pt x="19304" y="80683"/>
                </a:moveTo>
                <a:lnTo>
                  <a:pt x="19304" y="28714"/>
                </a:lnTo>
                <a:lnTo>
                  <a:pt x="4572" y="28714"/>
                </a:lnTo>
                <a:lnTo>
                  <a:pt x="4572" y="4572"/>
                </a:lnTo>
                <a:lnTo>
                  <a:pt x="19304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00" name="object 700"/>
          <p:cNvSpPr/>
          <p:nvPr/>
        </p:nvSpPr>
        <p:spPr>
          <a:xfrm>
            <a:off x="6590284" y="5574665"/>
            <a:ext cx="1156842" cy="104406"/>
          </a:xfrm>
          <a:custGeom>
            <a:avLst/>
            <a:gdLst/>
            <a:ahLst/>
            <a:cxnLst/>
            <a:rect l="l" t="t" r="r" b="b"/>
            <a:pathLst>
              <a:path w="1156842" h="104406">
                <a:moveTo>
                  <a:pt x="1152271" y="40856"/>
                </a:moveTo>
                <a:moveTo>
                  <a:pt x="1081785" y="99834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01" name="object 701"/>
          <p:cNvSpPr/>
          <p:nvPr/>
        </p:nvSpPr>
        <p:spPr>
          <a:xfrm>
            <a:off x="6590289" y="5574777"/>
            <a:ext cx="141223" cy="156565"/>
          </a:xfrm>
          <a:custGeom>
            <a:avLst/>
            <a:gdLst/>
            <a:ahLst/>
            <a:cxnLst/>
            <a:rect l="l" t="t" r="r" b="b"/>
            <a:pathLst>
              <a:path w="141223" h="156565">
                <a:moveTo>
                  <a:pt x="4572" y="4572"/>
                </a:moveTo>
                <a:lnTo>
                  <a:pt x="42545" y="4572"/>
                </a:lnTo>
                <a:lnTo>
                  <a:pt x="42545" y="58572"/>
                </a:lnTo>
                <a:lnTo>
                  <a:pt x="98679" y="58572"/>
                </a:lnTo>
                <a:lnTo>
                  <a:pt x="98679" y="4572"/>
                </a:lnTo>
                <a:lnTo>
                  <a:pt x="136652" y="4572"/>
                </a:lnTo>
                <a:lnTo>
                  <a:pt x="136652" y="151993"/>
                </a:lnTo>
                <a:lnTo>
                  <a:pt x="98679" y="151993"/>
                </a:lnTo>
                <a:lnTo>
                  <a:pt x="98679" y="87071"/>
                </a:lnTo>
                <a:lnTo>
                  <a:pt x="42545" y="87071"/>
                </a:lnTo>
                <a:lnTo>
                  <a:pt x="42545" y="151993"/>
                </a:lnTo>
                <a:lnTo>
                  <a:pt x="4572" y="15199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02" name="object 702"/>
          <p:cNvSpPr/>
          <p:nvPr/>
        </p:nvSpPr>
        <p:spPr>
          <a:xfrm>
            <a:off x="6590305" y="5670039"/>
            <a:ext cx="1086357" cy="61303"/>
          </a:xfrm>
          <a:custGeom>
            <a:avLst/>
            <a:gdLst/>
            <a:ahLst/>
            <a:cxnLst/>
            <a:rect l="l" t="t" r="r" b="b"/>
            <a:pathLst>
              <a:path w="1086357" h="61303">
                <a:moveTo>
                  <a:pt x="4572" y="56731"/>
                </a:moveTo>
                <a:moveTo>
                  <a:pt x="1081785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03" name="object 703"/>
          <p:cNvSpPr/>
          <p:nvPr/>
        </p:nvSpPr>
        <p:spPr>
          <a:xfrm>
            <a:off x="6772910" y="5816610"/>
            <a:ext cx="840232" cy="157073"/>
          </a:xfrm>
          <a:custGeom>
            <a:avLst/>
            <a:gdLst/>
            <a:ahLst/>
            <a:cxnLst/>
            <a:rect l="l" t="t" r="r" b="b"/>
            <a:pathLst>
              <a:path w="840232" h="157073">
                <a:moveTo>
                  <a:pt x="736092" y="101842"/>
                </a:moveTo>
                <a:cubicBezTo>
                  <a:pt x="731266" y="102235"/>
                  <a:pt x="726058" y="102781"/>
                  <a:pt x="720471" y="103480"/>
                </a:cubicBezTo>
                <a:cubicBezTo>
                  <a:pt x="714883" y="104166"/>
                  <a:pt x="710565" y="104966"/>
                  <a:pt x="707771" y="105893"/>
                </a:cubicBezTo>
                <a:cubicBezTo>
                  <a:pt x="704215" y="107010"/>
                  <a:pt x="701421" y="108636"/>
                  <a:pt x="699516" y="110770"/>
                </a:cubicBezTo>
                <a:cubicBezTo>
                  <a:pt x="697611" y="112916"/>
                  <a:pt x="696721" y="115723"/>
                  <a:pt x="696721" y="119215"/>
                </a:cubicBezTo>
                <a:cubicBezTo>
                  <a:pt x="696721" y="121514"/>
                  <a:pt x="696976" y="123381"/>
                  <a:pt x="697357" y="124828"/>
                </a:cubicBezTo>
                <a:cubicBezTo>
                  <a:pt x="697738" y="126276"/>
                  <a:pt x="698754" y="127661"/>
                  <a:pt x="700278" y="128981"/>
                </a:cubicBezTo>
                <a:cubicBezTo>
                  <a:pt x="701802" y="130289"/>
                  <a:pt x="703580" y="131267"/>
                  <a:pt x="705739" y="131890"/>
                </a:cubicBezTo>
                <a:cubicBezTo>
                  <a:pt x="707897" y="132512"/>
                  <a:pt x="711200" y="132829"/>
                  <a:pt x="715645" y="132829"/>
                </a:cubicBezTo>
                <a:cubicBezTo>
                  <a:pt x="719201" y="132829"/>
                  <a:pt x="722757" y="132106"/>
                  <a:pt x="726440" y="130658"/>
                </a:cubicBezTo>
                <a:cubicBezTo>
                  <a:pt x="730122" y="129210"/>
                  <a:pt x="733297" y="127305"/>
                  <a:pt x="736092" y="124930"/>
                </a:cubicBezTo>
                <a:close/>
                <a:moveTo>
                  <a:pt x="313944" y="101842"/>
                </a:moveTo>
                <a:cubicBezTo>
                  <a:pt x="309118" y="102235"/>
                  <a:pt x="303911" y="102781"/>
                  <a:pt x="298322" y="103480"/>
                </a:cubicBezTo>
                <a:cubicBezTo>
                  <a:pt x="292734" y="104166"/>
                  <a:pt x="288417" y="104966"/>
                  <a:pt x="285622" y="105893"/>
                </a:cubicBezTo>
                <a:cubicBezTo>
                  <a:pt x="282067" y="107010"/>
                  <a:pt x="279272" y="108636"/>
                  <a:pt x="277368" y="110770"/>
                </a:cubicBezTo>
                <a:cubicBezTo>
                  <a:pt x="275463" y="112916"/>
                  <a:pt x="274574" y="115723"/>
                  <a:pt x="274574" y="119215"/>
                </a:cubicBezTo>
                <a:cubicBezTo>
                  <a:pt x="274574" y="121514"/>
                  <a:pt x="274828" y="123381"/>
                  <a:pt x="275208" y="124828"/>
                </a:cubicBezTo>
                <a:cubicBezTo>
                  <a:pt x="275590" y="126276"/>
                  <a:pt x="276606" y="127661"/>
                  <a:pt x="278130" y="128981"/>
                </a:cubicBezTo>
                <a:cubicBezTo>
                  <a:pt x="279654" y="130289"/>
                  <a:pt x="281432" y="131267"/>
                  <a:pt x="283591" y="131890"/>
                </a:cubicBezTo>
                <a:cubicBezTo>
                  <a:pt x="285750" y="132512"/>
                  <a:pt x="289052" y="132829"/>
                  <a:pt x="293496" y="132829"/>
                </a:cubicBezTo>
                <a:cubicBezTo>
                  <a:pt x="297053" y="132829"/>
                  <a:pt x="300608" y="132106"/>
                  <a:pt x="304292" y="130658"/>
                </a:cubicBezTo>
                <a:cubicBezTo>
                  <a:pt x="307975" y="129210"/>
                  <a:pt x="311150" y="127305"/>
                  <a:pt x="313944" y="124930"/>
                </a:cubicBezTo>
                <a:close/>
                <a:moveTo>
                  <a:pt x="583946" y="65824"/>
                </a:moveTo>
                <a:cubicBezTo>
                  <a:pt x="574547" y="65824"/>
                  <a:pt x="567563" y="68745"/>
                  <a:pt x="562864" y="74587"/>
                </a:cubicBezTo>
                <a:cubicBezTo>
                  <a:pt x="558165" y="80442"/>
                  <a:pt x="555879" y="88557"/>
                  <a:pt x="555879" y="98933"/>
                </a:cubicBezTo>
                <a:cubicBezTo>
                  <a:pt x="555879" y="109830"/>
                  <a:pt x="557783" y="117742"/>
                  <a:pt x="561467" y="122669"/>
                </a:cubicBezTo>
                <a:cubicBezTo>
                  <a:pt x="565277" y="127597"/>
                  <a:pt x="571246" y="130048"/>
                  <a:pt x="579628" y="130048"/>
                </a:cubicBezTo>
                <a:cubicBezTo>
                  <a:pt x="582803" y="130048"/>
                  <a:pt x="586232" y="129439"/>
                  <a:pt x="589915" y="128219"/>
                </a:cubicBezTo>
                <a:cubicBezTo>
                  <a:pt x="593471" y="127000"/>
                  <a:pt x="596646" y="125387"/>
                  <a:pt x="599440" y="123406"/>
                </a:cubicBezTo>
                <a:lnTo>
                  <a:pt x="599440" y="68796"/>
                </a:lnTo>
                <a:cubicBezTo>
                  <a:pt x="596900" y="67742"/>
                  <a:pt x="594359" y="66980"/>
                  <a:pt x="591566" y="66510"/>
                </a:cubicBezTo>
                <a:cubicBezTo>
                  <a:pt x="588771" y="66053"/>
                  <a:pt x="586232" y="65824"/>
                  <a:pt x="583946" y="65824"/>
                </a:cubicBezTo>
                <a:close/>
                <a:moveTo>
                  <a:pt x="455676" y="39789"/>
                </a:moveTo>
                <a:cubicBezTo>
                  <a:pt x="467741" y="39789"/>
                  <a:pt x="477012" y="43294"/>
                  <a:pt x="483870" y="50279"/>
                </a:cubicBezTo>
                <a:cubicBezTo>
                  <a:pt x="490601" y="57277"/>
                  <a:pt x="493903" y="67729"/>
                  <a:pt x="493903" y="81661"/>
                </a:cubicBezTo>
                <a:lnTo>
                  <a:pt x="493903" y="154000"/>
                </a:lnTo>
                <a:lnTo>
                  <a:pt x="458216" y="154000"/>
                </a:lnTo>
                <a:lnTo>
                  <a:pt x="458216" y="98882"/>
                </a:lnTo>
                <a:cubicBezTo>
                  <a:pt x="458216" y="94387"/>
                  <a:pt x="457962" y="89916"/>
                  <a:pt x="457581" y="85471"/>
                </a:cubicBezTo>
                <a:cubicBezTo>
                  <a:pt x="457072" y="81014"/>
                  <a:pt x="456311" y="77724"/>
                  <a:pt x="455168" y="75616"/>
                </a:cubicBezTo>
                <a:cubicBezTo>
                  <a:pt x="453771" y="73178"/>
                  <a:pt x="451866" y="71400"/>
                  <a:pt x="449326" y="70269"/>
                </a:cubicBezTo>
                <a:cubicBezTo>
                  <a:pt x="446786" y="69152"/>
                  <a:pt x="443230" y="68593"/>
                  <a:pt x="438784" y="68593"/>
                </a:cubicBezTo>
                <a:cubicBezTo>
                  <a:pt x="435483" y="68593"/>
                  <a:pt x="432181" y="69114"/>
                  <a:pt x="428879" y="70180"/>
                </a:cubicBezTo>
                <a:cubicBezTo>
                  <a:pt x="425577" y="71234"/>
                  <a:pt x="421894" y="72911"/>
                  <a:pt x="418083" y="75222"/>
                </a:cubicBezTo>
                <a:lnTo>
                  <a:pt x="418083" y="154000"/>
                </a:lnTo>
                <a:lnTo>
                  <a:pt x="382270" y="154000"/>
                </a:lnTo>
                <a:lnTo>
                  <a:pt x="382270" y="42863"/>
                </a:lnTo>
                <a:lnTo>
                  <a:pt x="418083" y="42863"/>
                </a:lnTo>
                <a:lnTo>
                  <a:pt x="418083" y="55131"/>
                </a:lnTo>
                <a:cubicBezTo>
                  <a:pt x="424307" y="50178"/>
                  <a:pt x="430403" y="46393"/>
                  <a:pt x="436245" y="43752"/>
                </a:cubicBezTo>
                <a:cubicBezTo>
                  <a:pt x="442087" y="41110"/>
                  <a:pt x="448564" y="39789"/>
                  <a:pt x="455676" y="39789"/>
                </a:cubicBezTo>
                <a:close/>
                <a:moveTo>
                  <a:pt x="184658" y="39789"/>
                </a:moveTo>
                <a:cubicBezTo>
                  <a:pt x="192151" y="39789"/>
                  <a:pt x="199136" y="40615"/>
                  <a:pt x="205613" y="42266"/>
                </a:cubicBezTo>
                <a:cubicBezTo>
                  <a:pt x="211963" y="43917"/>
                  <a:pt x="217932" y="46063"/>
                  <a:pt x="223520" y="48705"/>
                </a:cubicBezTo>
                <a:lnTo>
                  <a:pt x="223520" y="79083"/>
                </a:lnTo>
                <a:lnTo>
                  <a:pt x="218440" y="79083"/>
                </a:lnTo>
                <a:cubicBezTo>
                  <a:pt x="217043" y="77889"/>
                  <a:pt x="215392" y="76505"/>
                  <a:pt x="213487" y="74930"/>
                </a:cubicBezTo>
                <a:cubicBezTo>
                  <a:pt x="211582" y="73343"/>
                  <a:pt x="209169" y="71793"/>
                  <a:pt x="206247" y="70269"/>
                </a:cubicBezTo>
                <a:cubicBezTo>
                  <a:pt x="203581" y="68822"/>
                  <a:pt x="200659" y="67615"/>
                  <a:pt x="197358" y="66662"/>
                </a:cubicBezTo>
                <a:cubicBezTo>
                  <a:pt x="194183" y="65710"/>
                  <a:pt x="190372" y="65227"/>
                  <a:pt x="186182" y="65227"/>
                </a:cubicBezTo>
                <a:cubicBezTo>
                  <a:pt x="176657" y="65227"/>
                  <a:pt x="169418" y="68250"/>
                  <a:pt x="164211" y="74283"/>
                </a:cubicBezTo>
                <a:cubicBezTo>
                  <a:pt x="159131" y="80315"/>
                  <a:pt x="156591" y="88519"/>
                  <a:pt x="156591" y="98882"/>
                </a:cubicBezTo>
                <a:cubicBezTo>
                  <a:pt x="156591" y="109563"/>
                  <a:pt x="159258" y="117678"/>
                  <a:pt x="164465" y="123228"/>
                </a:cubicBezTo>
                <a:cubicBezTo>
                  <a:pt x="169671" y="128765"/>
                  <a:pt x="177165" y="131534"/>
                  <a:pt x="186690" y="131534"/>
                </a:cubicBezTo>
                <a:cubicBezTo>
                  <a:pt x="191262" y="131534"/>
                  <a:pt x="195199" y="131026"/>
                  <a:pt x="198882" y="129997"/>
                </a:cubicBezTo>
                <a:cubicBezTo>
                  <a:pt x="202438" y="128981"/>
                  <a:pt x="205358" y="127775"/>
                  <a:pt x="207771" y="126391"/>
                </a:cubicBezTo>
                <a:cubicBezTo>
                  <a:pt x="210058" y="125070"/>
                  <a:pt x="211963" y="123686"/>
                  <a:pt x="213741" y="122238"/>
                </a:cubicBezTo>
                <a:cubicBezTo>
                  <a:pt x="215392" y="120777"/>
                  <a:pt x="217043" y="119367"/>
                  <a:pt x="218440" y="117983"/>
                </a:cubicBezTo>
                <a:lnTo>
                  <a:pt x="223520" y="117983"/>
                </a:lnTo>
                <a:lnTo>
                  <a:pt x="223520" y="148362"/>
                </a:lnTo>
                <a:cubicBezTo>
                  <a:pt x="217932" y="151003"/>
                  <a:pt x="212090" y="153099"/>
                  <a:pt x="205994" y="154648"/>
                </a:cubicBezTo>
                <a:cubicBezTo>
                  <a:pt x="199897" y="156197"/>
                  <a:pt x="193040" y="156972"/>
                  <a:pt x="185674" y="156972"/>
                </a:cubicBezTo>
                <a:cubicBezTo>
                  <a:pt x="176021" y="156972"/>
                  <a:pt x="167132" y="155817"/>
                  <a:pt x="159131" y="153505"/>
                </a:cubicBezTo>
                <a:cubicBezTo>
                  <a:pt x="151130" y="151194"/>
                  <a:pt x="144145" y="147638"/>
                  <a:pt x="138176" y="142824"/>
                </a:cubicBezTo>
                <a:cubicBezTo>
                  <a:pt x="132333" y="137998"/>
                  <a:pt x="127762" y="131928"/>
                  <a:pt x="124587" y="124613"/>
                </a:cubicBezTo>
                <a:cubicBezTo>
                  <a:pt x="121284" y="117285"/>
                  <a:pt x="119633" y="108712"/>
                  <a:pt x="119633" y="98882"/>
                </a:cubicBezTo>
                <a:cubicBezTo>
                  <a:pt x="119633" y="88519"/>
                  <a:pt x="121412" y="79578"/>
                  <a:pt x="124841" y="72060"/>
                </a:cubicBezTo>
                <a:cubicBezTo>
                  <a:pt x="128396" y="64529"/>
                  <a:pt x="133222" y="58293"/>
                  <a:pt x="139319" y="53353"/>
                </a:cubicBezTo>
                <a:cubicBezTo>
                  <a:pt x="145415" y="48667"/>
                  <a:pt x="152272" y="45238"/>
                  <a:pt x="160146" y="43053"/>
                </a:cubicBezTo>
                <a:cubicBezTo>
                  <a:pt x="168021" y="40881"/>
                  <a:pt x="176149" y="39789"/>
                  <a:pt x="184658" y="39789"/>
                </a:cubicBezTo>
                <a:close/>
                <a:moveTo>
                  <a:pt x="57150" y="39789"/>
                </a:moveTo>
                <a:cubicBezTo>
                  <a:pt x="65532" y="39789"/>
                  <a:pt x="73406" y="40628"/>
                  <a:pt x="81026" y="42317"/>
                </a:cubicBezTo>
                <a:cubicBezTo>
                  <a:pt x="88646" y="43993"/>
                  <a:pt x="94615" y="45796"/>
                  <a:pt x="98933" y="47714"/>
                </a:cubicBezTo>
                <a:lnTo>
                  <a:pt x="98933" y="75819"/>
                </a:lnTo>
                <a:lnTo>
                  <a:pt x="95884" y="75819"/>
                </a:lnTo>
                <a:cubicBezTo>
                  <a:pt x="90551" y="72187"/>
                  <a:pt x="84582" y="69241"/>
                  <a:pt x="77851" y="66955"/>
                </a:cubicBezTo>
                <a:cubicBezTo>
                  <a:pt x="71120" y="64681"/>
                  <a:pt x="64262" y="63538"/>
                  <a:pt x="57277" y="63538"/>
                </a:cubicBezTo>
                <a:cubicBezTo>
                  <a:pt x="51562" y="63538"/>
                  <a:pt x="46736" y="64338"/>
                  <a:pt x="42799" y="65926"/>
                </a:cubicBezTo>
                <a:cubicBezTo>
                  <a:pt x="38862" y="67501"/>
                  <a:pt x="36957" y="69749"/>
                  <a:pt x="36957" y="72644"/>
                </a:cubicBezTo>
                <a:cubicBezTo>
                  <a:pt x="36957" y="75286"/>
                  <a:pt x="37846" y="77305"/>
                  <a:pt x="39624" y="78689"/>
                </a:cubicBezTo>
                <a:cubicBezTo>
                  <a:pt x="41402" y="80074"/>
                  <a:pt x="45593" y="81458"/>
                  <a:pt x="52196" y="82842"/>
                </a:cubicBezTo>
                <a:cubicBezTo>
                  <a:pt x="55753" y="83566"/>
                  <a:pt x="59690" y="84277"/>
                  <a:pt x="63881" y="84976"/>
                </a:cubicBezTo>
                <a:cubicBezTo>
                  <a:pt x="68071" y="85662"/>
                  <a:pt x="72263" y="86538"/>
                  <a:pt x="76454" y="87592"/>
                </a:cubicBezTo>
                <a:cubicBezTo>
                  <a:pt x="85852" y="90030"/>
                  <a:pt x="92837" y="93879"/>
                  <a:pt x="97282" y="99124"/>
                </a:cubicBezTo>
                <a:cubicBezTo>
                  <a:pt x="101727" y="104369"/>
                  <a:pt x="104013" y="110922"/>
                  <a:pt x="104013" y="118771"/>
                </a:cubicBezTo>
                <a:cubicBezTo>
                  <a:pt x="104013" y="130251"/>
                  <a:pt x="98806" y="139510"/>
                  <a:pt x="88519" y="146533"/>
                </a:cubicBezTo>
                <a:cubicBezTo>
                  <a:pt x="78232" y="153556"/>
                  <a:pt x="64134" y="157074"/>
                  <a:pt x="46355" y="157074"/>
                </a:cubicBezTo>
                <a:cubicBezTo>
                  <a:pt x="36449" y="157074"/>
                  <a:pt x="27432" y="156147"/>
                  <a:pt x="19431" y="154305"/>
                </a:cubicBezTo>
                <a:cubicBezTo>
                  <a:pt x="11303" y="152451"/>
                  <a:pt x="4826" y="150406"/>
                  <a:pt x="0" y="148158"/>
                </a:cubicBezTo>
                <a:lnTo>
                  <a:pt x="0" y="118872"/>
                </a:lnTo>
                <a:lnTo>
                  <a:pt x="3302" y="118872"/>
                </a:lnTo>
                <a:cubicBezTo>
                  <a:pt x="5080" y="120117"/>
                  <a:pt x="7112" y="121488"/>
                  <a:pt x="9397" y="122974"/>
                </a:cubicBezTo>
                <a:cubicBezTo>
                  <a:pt x="11811" y="124460"/>
                  <a:pt x="15113" y="126060"/>
                  <a:pt x="19431" y="127775"/>
                </a:cubicBezTo>
                <a:cubicBezTo>
                  <a:pt x="23114" y="129299"/>
                  <a:pt x="27305" y="130594"/>
                  <a:pt x="32004" y="131686"/>
                </a:cubicBezTo>
                <a:cubicBezTo>
                  <a:pt x="36576" y="132779"/>
                  <a:pt x="41656" y="133325"/>
                  <a:pt x="46990" y="133325"/>
                </a:cubicBezTo>
                <a:cubicBezTo>
                  <a:pt x="53975" y="133325"/>
                  <a:pt x="59182" y="132537"/>
                  <a:pt x="62483" y="130988"/>
                </a:cubicBezTo>
                <a:cubicBezTo>
                  <a:pt x="65913" y="129439"/>
                  <a:pt x="67564" y="127153"/>
                  <a:pt x="67564" y="124117"/>
                </a:cubicBezTo>
                <a:cubicBezTo>
                  <a:pt x="67564" y="121412"/>
                  <a:pt x="66547" y="119444"/>
                  <a:pt x="64643" y="118225"/>
                </a:cubicBezTo>
                <a:cubicBezTo>
                  <a:pt x="62611" y="117005"/>
                  <a:pt x="58928" y="115837"/>
                  <a:pt x="53340" y="114707"/>
                </a:cubicBezTo>
                <a:cubicBezTo>
                  <a:pt x="50672" y="114122"/>
                  <a:pt x="47117" y="113475"/>
                  <a:pt x="42545" y="112776"/>
                </a:cubicBezTo>
                <a:cubicBezTo>
                  <a:pt x="38100" y="112090"/>
                  <a:pt x="33908" y="111252"/>
                  <a:pt x="30226" y="110262"/>
                </a:cubicBezTo>
                <a:cubicBezTo>
                  <a:pt x="20193" y="107620"/>
                  <a:pt x="12700" y="103518"/>
                  <a:pt x="7746" y="97943"/>
                </a:cubicBezTo>
                <a:cubicBezTo>
                  <a:pt x="2921" y="92367"/>
                  <a:pt x="508" y="85420"/>
                  <a:pt x="508" y="77102"/>
                </a:cubicBezTo>
                <a:cubicBezTo>
                  <a:pt x="508" y="66408"/>
                  <a:pt x="5588" y="57519"/>
                  <a:pt x="15621" y="50432"/>
                </a:cubicBezTo>
                <a:cubicBezTo>
                  <a:pt x="25781" y="43333"/>
                  <a:pt x="39624" y="39789"/>
                  <a:pt x="57150" y="39789"/>
                </a:cubicBezTo>
                <a:close/>
                <a:moveTo>
                  <a:pt x="713994" y="39688"/>
                </a:moveTo>
                <a:cubicBezTo>
                  <a:pt x="734314" y="39688"/>
                  <a:pt x="748919" y="42812"/>
                  <a:pt x="757936" y="49048"/>
                </a:cubicBezTo>
                <a:cubicBezTo>
                  <a:pt x="766953" y="55283"/>
                  <a:pt x="771397" y="65062"/>
                  <a:pt x="771397" y="78385"/>
                </a:cubicBezTo>
                <a:lnTo>
                  <a:pt x="771397" y="154000"/>
                </a:lnTo>
                <a:lnTo>
                  <a:pt x="736092" y="154000"/>
                </a:lnTo>
                <a:lnTo>
                  <a:pt x="736092" y="142228"/>
                </a:lnTo>
                <a:cubicBezTo>
                  <a:pt x="734187" y="143675"/>
                  <a:pt x="731774" y="145428"/>
                  <a:pt x="728980" y="147473"/>
                </a:cubicBezTo>
                <a:cubicBezTo>
                  <a:pt x="726186" y="149517"/>
                  <a:pt x="723519" y="151130"/>
                  <a:pt x="720979" y="152324"/>
                </a:cubicBezTo>
                <a:cubicBezTo>
                  <a:pt x="717422" y="153899"/>
                  <a:pt x="713867" y="155080"/>
                  <a:pt x="710057" y="155829"/>
                </a:cubicBezTo>
                <a:cubicBezTo>
                  <a:pt x="706374" y="156591"/>
                  <a:pt x="702183" y="156972"/>
                  <a:pt x="697738" y="156972"/>
                </a:cubicBezTo>
                <a:cubicBezTo>
                  <a:pt x="687196" y="156972"/>
                  <a:pt x="678307" y="153708"/>
                  <a:pt x="671195" y="147180"/>
                </a:cubicBezTo>
                <a:cubicBezTo>
                  <a:pt x="664083" y="140640"/>
                  <a:pt x="660527" y="132296"/>
                  <a:pt x="660527" y="122136"/>
                </a:cubicBezTo>
                <a:cubicBezTo>
                  <a:pt x="660527" y="114021"/>
                  <a:pt x="662305" y="107391"/>
                  <a:pt x="665988" y="102248"/>
                </a:cubicBezTo>
                <a:cubicBezTo>
                  <a:pt x="669544" y="97092"/>
                  <a:pt x="674751" y="93040"/>
                  <a:pt x="681355" y="90069"/>
                </a:cubicBezTo>
                <a:cubicBezTo>
                  <a:pt x="687958" y="87097"/>
                  <a:pt x="696214" y="84989"/>
                  <a:pt x="705993" y="83731"/>
                </a:cubicBezTo>
                <a:cubicBezTo>
                  <a:pt x="715645" y="82487"/>
                  <a:pt x="725805" y="81560"/>
                  <a:pt x="736346" y="80963"/>
                </a:cubicBezTo>
                <a:lnTo>
                  <a:pt x="736346" y="80366"/>
                </a:lnTo>
                <a:cubicBezTo>
                  <a:pt x="736346" y="74232"/>
                  <a:pt x="733806" y="69990"/>
                  <a:pt x="728853" y="67653"/>
                </a:cubicBezTo>
                <a:cubicBezTo>
                  <a:pt x="723772" y="65304"/>
                  <a:pt x="716407" y="64135"/>
                  <a:pt x="706628" y="64135"/>
                </a:cubicBezTo>
                <a:cubicBezTo>
                  <a:pt x="700786" y="64135"/>
                  <a:pt x="694436" y="65177"/>
                  <a:pt x="687832" y="67259"/>
                </a:cubicBezTo>
                <a:cubicBezTo>
                  <a:pt x="681101" y="69329"/>
                  <a:pt x="676402" y="70930"/>
                  <a:pt x="673481" y="72060"/>
                </a:cubicBezTo>
                <a:lnTo>
                  <a:pt x="670179" y="72060"/>
                </a:lnTo>
                <a:lnTo>
                  <a:pt x="670179" y="45238"/>
                </a:lnTo>
                <a:cubicBezTo>
                  <a:pt x="673989" y="44247"/>
                  <a:pt x="680084" y="43079"/>
                  <a:pt x="688594" y="41720"/>
                </a:cubicBezTo>
                <a:cubicBezTo>
                  <a:pt x="697103" y="40373"/>
                  <a:pt x="705484" y="39688"/>
                  <a:pt x="713994" y="39688"/>
                </a:cubicBezTo>
                <a:close/>
                <a:moveTo>
                  <a:pt x="291846" y="39688"/>
                </a:moveTo>
                <a:cubicBezTo>
                  <a:pt x="312166" y="39688"/>
                  <a:pt x="326771" y="42812"/>
                  <a:pt x="335788" y="49048"/>
                </a:cubicBezTo>
                <a:cubicBezTo>
                  <a:pt x="344805" y="55283"/>
                  <a:pt x="349250" y="65062"/>
                  <a:pt x="349250" y="78385"/>
                </a:cubicBezTo>
                <a:lnTo>
                  <a:pt x="349250" y="154000"/>
                </a:lnTo>
                <a:lnTo>
                  <a:pt x="313944" y="154000"/>
                </a:lnTo>
                <a:lnTo>
                  <a:pt x="313944" y="142228"/>
                </a:lnTo>
                <a:cubicBezTo>
                  <a:pt x="312039" y="143675"/>
                  <a:pt x="309626" y="145428"/>
                  <a:pt x="306832" y="147473"/>
                </a:cubicBezTo>
                <a:cubicBezTo>
                  <a:pt x="304038" y="149517"/>
                  <a:pt x="301371" y="151130"/>
                  <a:pt x="298831" y="152324"/>
                </a:cubicBezTo>
                <a:cubicBezTo>
                  <a:pt x="295275" y="153899"/>
                  <a:pt x="291719" y="155080"/>
                  <a:pt x="287908" y="155829"/>
                </a:cubicBezTo>
                <a:cubicBezTo>
                  <a:pt x="284226" y="156591"/>
                  <a:pt x="280034" y="156972"/>
                  <a:pt x="275590" y="156972"/>
                </a:cubicBezTo>
                <a:cubicBezTo>
                  <a:pt x="265049" y="156972"/>
                  <a:pt x="256158" y="153708"/>
                  <a:pt x="249046" y="147180"/>
                </a:cubicBezTo>
                <a:cubicBezTo>
                  <a:pt x="241934" y="140640"/>
                  <a:pt x="238379" y="132296"/>
                  <a:pt x="238379" y="122136"/>
                </a:cubicBezTo>
                <a:cubicBezTo>
                  <a:pt x="238379" y="114021"/>
                  <a:pt x="240157" y="107391"/>
                  <a:pt x="243840" y="102248"/>
                </a:cubicBezTo>
                <a:cubicBezTo>
                  <a:pt x="247396" y="97092"/>
                  <a:pt x="252603" y="93040"/>
                  <a:pt x="259207" y="90069"/>
                </a:cubicBezTo>
                <a:cubicBezTo>
                  <a:pt x="265811" y="87097"/>
                  <a:pt x="274066" y="84989"/>
                  <a:pt x="283845" y="83731"/>
                </a:cubicBezTo>
                <a:cubicBezTo>
                  <a:pt x="293496" y="82487"/>
                  <a:pt x="303657" y="81560"/>
                  <a:pt x="314197" y="80963"/>
                </a:cubicBezTo>
                <a:lnTo>
                  <a:pt x="314197" y="80366"/>
                </a:lnTo>
                <a:cubicBezTo>
                  <a:pt x="314197" y="74232"/>
                  <a:pt x="311658" y="69990"/>
                  <a:pt x="306705" y="67653"/>
                </a:cubicBezTo>
                <a:cubicBezTo>
                  <a:pt x="301625" y="65304"/>
                  <a:pt x="294258" y="64135"/>
                  <a:pt x="284480" y="64135"/>
                </a:cubicBezTo>
                <a:cubicBezTo>
                  <a:pt x="278638" y="64135"/>
                  <a:pt x="272288" y="65177"/>
                  <a:pt x="265683" y="67259"/>
                </a:cubicBezTo>
                <a:cubicBezTo>
                  <a:pt x="258953" y="69329"/>
                  <a:pt x="254254" y="70930"/>
                  <a:pt x="251333" y="72060"/>
                </a:cubicBezTo>
                <a:lnTo>
                  <a:pt x="248031" y="72060"/>
                </a:lnTo>
                <a:lnTo>
                  <a:pt x="248031" y="45238"/>
                </a:lnTo>
                <a:cubicBezTo>
                  <a:pt x="251841" y="44247"/>
                  <a:pt x="257937" y="43079"/>
                  <a:pt x="266446" y="41720"/>
                </a:cubicBezTo>
                <a:cubicBezTo>
                  <a:pt x="274955" y="40373"/>
                  <a:pt x="283337" y="39688"/>
                  <a:pt x="291846" y="39688"/>
                </a:cubicBezTo>
                <a:close/>
                <a:moveTo>
                  <a:pt x="804418" y="0"/>
                </a:moveTo>
                <a:lnTo>
                  <a:pt x="840232" y="0"/>
                </a:lnTo>
                <a:lnTo>
                  <a:pt x="840232" y="154000"/>
                </a:lnTo>
                <a:lnTo>
                  <a:pt x="804418" y="154000"/>
                </a:lnTo>
                <a:close/>
                <a:moveTo>
                  <a:pt x="599440" y="0"/>
                </a:moveTo>
                <a:lnTo>
                  <a:pt x="635127" y="0"/>
                </a:lnTo>
                <a:lnTo>
                  <a:pt x="635127" y="154000"/>
                </a:lnTo>
                <a:lnTo>
                  <a:pt x="599440" y="154000"/>
                </a:lnTo>
                <a:lnTo>
                  <a:pt x="599440" y="142418"/>
                </a:lnTo>
                <a:cubicBezTo>
                  <a:pt x="593344" y="147434"/>
                  <a:pt x="587629" y="151130"/>
                  <a:pt x="582295" y="153505"/>
                </a:cubicBezTo>
                <a:cubicBezTo>
                  <a:pt x="576961" y="155880"/>
                  <a:pt x="570738" y="157074"/>
                  <a:pt x="563753" y="157074"/>
                </a:cubicBezTo>
                <a:cubicBezTo>
                  <a:pt x="550291" y="157074"/>
                  <a:pt x="539496" y="151854"/>
                  <a:pt x="531368" y="141440"/>
                </a:cubicBezTo>
                <a:cubicBezTo>
                  <a:pt x="523240" y="131013"/>
                  <a:pt x="519176" y="116954"/>
                  <a:pt x="519176" y="99276"/>
                </a:cubicBezTo>
                <a:cubicBezTo>
                  <a:pt x="519176" y="89840"/>
                  <a:pt x="520572" y="81471"/>
                  <a:pt x="523240" y="74181"/>
                </a:cubicBezTo>
                <a:cubicBezTo>
                  <a:pt x="526033" y="66891"/>
                  <a:pt x="529717" y="60643"/>
                  <a:pt x="534543" y="55423"/>
                </a:cubicBezTo>
                <a:cubicBezTo>
                  <a:pt x="538988" y="50483"/>
                  <a:pt x="544449" y="46635"/>
                  <a:pt x="550799" y="43904"/>
                </a:cubicBezTo>
                <a:cubicBezTo>
                  <a:pt x="557149" y="41161"/>
                  <a:pt x="563626" y="39789"/>
                  <a:pt x="569976" y="39789"/>
                </a:cubicBezTo>
                <a:cubicBezTo>
                  <a:pt x="576580" y="39789"/>
                  <a:pt x="582041" y="40500"/>
                  <a:pt x="586358" y="41923"/>
                </a:cubicBezTo>
                <a:cubicBezTo>
                  <a:pt x="590550" y="43333"/>
                  <a:pt x="594995" y="45136"/>
                  <a:pt x="599440" y="47308"/>
                </a:cubicBez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04" name="object 704"/>
          <p:cNvSpPr/>
          <p:nvPr/>
        </p:nvSpPr>
        <p:spPr>
          <a:xfrm>
            <a:off x="7504476" y="5913767"/>
            <a:ext cx="9143" cy="9144"/>
          </a:xfrm>
          <a:custGeom>
            <a:avLst/>
            <a:gdLst/>
            <a:ahLst/>
            <a:cxnLst/>
            <a:rect l="l" t="t" r="r" b="b"/>
            <a:pathLst>
              <a:path w="9143" h="9144">
                <a:moveTo>
                  <a:pt x="4572" y="4573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05" name="object 705"/>
          <p:cNvSpPr/>
          <p:nvPr/>
        </p:nvSpPr>
        <p:spPr>
          <a:xfrm>
            <a:off x="7465060" y="5913767"/>
            <a:ext cx="48514" cy="40132"/>
          </a:xfrm>
          <a:custGeom>
            <a:avLst/>
            <a:gdLst/>
            <a:ahLst/>
            <a:cxnLst/>
            <a:rect l="l" t="t" r="r" b="b"/>
            <a:pathLst>
              <a:path w="48514" h="40132">
                <a:moveTo>
                  <a:pt x="43942" y="4573"/>
                </a:moveTo>
                <a:cubicBezTo>
                  <a:pt x="39116" y="4966"/>
                  <a:pt x="33908" y="5512"/>
                  <a:pt x="28321" y="6211"/>
                </a:cubicBezTo>
                <a:cubicBezTo>
                  <a:pt x="22733" y="6897"/>
                  <a:pt x="18415" y="7697"/>
                  <a:pt x="15621" y="8624"/>
                </a:cubicBezTo>
                <a:cubicBezTo>
                  <a:pt x="12065" y="9741"/>
                  <a:pt x="9271" y="11367"/>
                  <a:pt x="7366" y="13501"/>
                </a:cubicBezTo>
                <a:cubicBezTo>
                  <a:pt x="5461" y="15647"/>
                  <a:pt x="4571" y="18454"/>
                  <a:pt x="4571" y="21946"/>
                </a:cubicBezTo>
                <a:cubicBezTo>
                  <a:pt x="4571" y="24245"/>
                  <a:pt x="4826" y="26112"/>
                  <a:pt x="5207" y="27559"/>
                </a:cubicBezTo>
                <a:cubicBezTo>
                  <a:pt x="5588" y="29007"/>
                  <a:pt x="6604" y="30392"/>
                  <a:pt x="8128" y="31712"/>
                </a:cubicBezTo>
                <a:cubicBezTo>
                  <a:pt x="9652" y="33020"/>
                  <a:pt x="11430" y="33998"/>
                  <a:pt x="13589" y="34621"/>
                </a:cubicBezTo>
                <a:cubicBezTo>
                  <a:pt x="15747" y="35243"/>
                  <a:pt x="19050" y="35560"/>
                  <a:pt x="23495" y="35560"/>
                </a:cubicBezTo>
                <a:cubicBezTo>
                  <a:pt x="27051" y="35560"/>
                  <a:pt x="30607" y="34837"/>
                  <a:pt x="34290" y="33389"/>
                </a:cubicBezTo>
                <a:cubicBezTo>
                  <a:pt x="37972" y="31941"/>
                  <a:pt x="41147" y="30036"/>
                  <a:pt x="43942" y="27661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06" name="object 706"/>
          <p:cNvSpPr/>
          <p:nvPr/>
        </p:nvSpPr>
        <p:spPr>
          <a:xfrm>
            <a:off x="7082287" y="5913879"/>
            <a:ext cx="431291" cy="32233"/>
          </a:xfrm>
          <a:custGeom>
            <a:avLst/>
            <a:gdLst/>
            <a:ahLst/>
            <a:cxnLst/>
            <a:rect l="l" t="t" r="r" b="b"/>
            <a:pathLst>
              <a:path w="431291" h="32233">
                <a:moveTo>
                  <a:pt x="426720" y="27661"/>
                </a:moveTo>
                <a:moveTo>
                  <a:pt x="426720" y="4573"/>
                </a:moveTo>
                <a:moveTo>
                  <a:pt x="4572" y="4573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07" name="object 707"/>
          <p:cNvSpPr/>
          <p:nvPr/>
        </p:nvSpPr>
        <p:spPr>
          <a:xfrm>
            <a:off x="7042912" y="5877862"/>
            <a:ext cx="470662" cy="76149"/>
          </a:xfrm>
          <a:custGeom>
            <a:avLst/>
            <a:gdLst/>
            <a:ahLst/>
            <a:cxnLst/>
            <a:rect l="l" t="t" r="r" b="b"/>
            <a:pathLst>
              <a:path w="470662" h="76149">
                <a:moveTo>
                  <a:pt x="43942" y="40590"/>
                </a:moveTo>
                <a:cubicBezTo>
                  <a:pt x="39116" y="40983"/>
                  <a:pt x="33909" y="41529"/>
                  <a:pt x="28320" y="42228"/>
                </a:cubicBezTo>
                <a:cubicBezTo>
                  <a:pt x="22732" y="42914"/>
                  <a:pt x="18415" y="43714"/>
                  <a:pt x="15620" y="44641"/>
                </a:cubicBezTo>
                <a:cubicBezTo>
                  <a:pt x="12065" y="45758"/>
                  <a:pt x="9270" y="47384"/>
                  <a:pt x="7366" y="49518"/>
                </a:cubicBezTo>
                <a:cubicBezTo>
                  <a:pt x="5461" y="51664"/>
                  <a:pt x="4572" y="54471"/>
                  <a:pt x="4572" y="57963"/>
                </a:cubicBezTo>
                <a:cubicBezTo>
                  <a:pt x="4572" y="60262"/>
                  <a:pt x="4826" y="62129"/>
                  <a:pt x="5206" y="63576"/>
                </a:cubicBezTo>
                <a:cubicBezTo>
                  <a:pt x="5588" y="65024"/>
                  <a:pt x="6604" y="66409"/>
                  <a:pt x="8128" y="67729"/>
                </a:cubicBezTo>
                <a:cubicBezTo>
                  <a:pt x="9652" y="69037"/>
                  <a:pt x="11430" y="70015"/>
                  <a:pt x="13589" y="70638"/>
                </a:cubicBezTo>
                <a:cubicBezTo>
                  <a:pt x="15748" y="71260"/>
                  <a:pt x="19050" y="71577"/>
                  <a:pt x="23494" y="71577"/>
                </a:cubicBezTo>
                <a:cubicBezTo>
                  <a:pt x="27051" y="71577"/>
                  <a:pt x="30606" y="70854"/>
                  <a:pt x="34290" y="69406"/>
                </a:cubicBezTo>
                <a:cubicBezTo>
                  <a:pt x="37973" y="67958"/>
                  <a:pt x="41148" y="66053"/>
                  <a:pt x="43942" y="63678"/>
                </a:cubicBezTo>
                <a:moveTo>
                  <a:pt x="466090" y="40590"/>
                </a:moveTo>
                <a:moveTo>
                  <a:pt x="313944" y="4572"/>
                </a:moveTo>
                <a:cubicBezTo>
                  <a:pt x="304545" y="4572"/>
                  <a:pt x="297561" y="7493"/>
                  <a:pt x="292862" y="13335"/>
                </a:cubicBezTo>
                <a:cubicBezTo>
                  <a:pt x="288163" y="19190"/>
                  <a:pt x="285877" y="27305"/>
                  <a:pt x="285877" y="37681"/>
                </a:cubicBezTo>
                <a:cubicBezTo>
                  <a:pt x="285877" y="48578"/>
                  <a:pt x="287781" y="56490"/>
                  <a:pt x="291465" y="61417"/>
                </a:cubicBezTo>
                <a:cubicBezTo>
                  <a:pt x="295275" y="66345"/>
                  <a:pt x="301244" y="68796"/>
                  <a:pt x="309626" y="68796"/>
                </a:cubicBezTo>
                <a:cubicBezTo>
                  <a:pt x="312801" y="68796"/>
                  <a:pt x="316230" y="68187"/>
                  <a:pt x="319913" y="66967"/>
                </a:cubicBezTo>
                <a:cubicBezTo>
                  <a:pt x="323469" y="65748"/>
                  <a:pt x="326644" y="64135"/>
                  <a:pt x="329438" y="62154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08" name="object 708"/>
          <p:cNvSpPr/>
          <p:nvPr/>
        </p:nvSpPr>
        <p:spPr>
          <a:xfrm>
            <a:off x="7367778" y="5880722"/>
            <a:ext cx="9144" cy="63754"/>
          </a:xfrm>
          <a:custGeom>
            <a:avLst/>
            <a:gdLst/>
            <a:ahLst/>
            <a:cxnLst/>
            <a:rect l="l" t="t" r="r" b="b"/>
            <a:pathLst>
              <a:path w="9144" h="63754">
                <a:moveTo>
                  <a:pt x="4572" y="59182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09" name="object 709"/>
          <p:cNvSpPr/>
          <p:nvPr/>
        </p:nvSpPr>
        <p:spPr>
          <a:xfrm>
            <a:off x="7224014" y="5851715"/>
            <a:ext cx="289560" cy="71196"/>
          </a:xfrm>
          <a:custGeom>
            <a:avLst/>
            <a:gdLst/>
            <a:ahLst/>
            <a:cxnLst/>
            <a:rect l="l" t="t" r="r" b="b"/>
            <a:pathLst>
              <a:path w="289560" h="71196">
                <a:moveTo>
                  <a:pt x="148336" y="33579"/>
                </a:moveTo>
                <a:cubicBezTo>
                  <a:pt x="145796" y="32525"/>
                  <a:pt x="143255" y="31763"/>
                  <a:pt x="140462" y="31293"/>
                </a:cubicBezTo>
                <a:cubicBezTo>
                  <a:pt x="137667" y="30836"/>
                  <a:pt x="135128" y="30607"/>
                  <a:pt x="132842" y="30607"/>
                </a:cubicBezTo>
                <a:moveTo>
                  <a:pt x="284988" y="66625"/>
                </a:moveTo>
                <a:moveTo>
                  <a:pt x="4572" y="4572"/>
                </a:moveTo>
                <a:cubicBezTo>
                  <a:pt x="16637" y="4572"/>
                  <a:pt x="25908" y="8077"/>
                  <a:pt x="32766" y="15062"/>
                </a:cubicBezTo>
                <a:cubicBezTo>
                  <a:pt x="39497" y="22060"/>
                  <a:pt x="42799" y="32512"/>
                  <a:pt x="42799" y="46444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10" name="object 710"/>
          <p:cNvSpPr/>
          <p:nvPr/>
        </p:nvSpPr>
        <p:spPr>
          <a:xfrm>
            <a:off x="7226610" y="5893699"/>
            <a:ext cx="44831" cy="81483"/>
          </a:xfrm>
          <a:custGeom>
            <a:avLst/>
            <a:gdLst/>
            <a:ahLst/>
            <a:cxnLst/>
            <a:rect l="l" t="t" r="r" b="b"/>
            <a:pathLst>
              <a:path w="44831" h="81483">
                <a:moveTo>
                  <a:pt x="40259" y="4572"/>
                </a:moveTo>
                <a:lnTo>
                  <a:pt x="40259" y="76911"/>
                </a:lnTo>
                <a:lnTo>
                  <a:pt x="4572" y="76911"/>
                </a:lnTo>
                <a:lnTo>
                  <a:pt x="4572" y="21793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11" name="object 711"/>
          <p:cNvSpPr/>
          <p:nvPr/>
        </p:nvSpPr>
        <p:spPr>
          <a:xfrm>
            <a:off x="7186422" y="5880631"/>
            <a:ext cx="49276" cy="39433"/>
          </a:xfrm>
          <a:custGeom>
            <a:avLst/>
            <a:gdLst/>
            <a:ahLst/>
            <a:cxnLst/>
            <a:rect l="l" t="t" r="r" b="b"/>
            <a:pathLst>
              <a:path w="49276" h="39433">
                <a:moveTo>
                  <a:pt x="44704" y="34861"/>
                </a:moveTo>
                <a:cubicBezTo>
                  <a:pt x="44704" y="30366"/>
                  <a:pt x="44450" y="25895"/>
                  <a:pt x="44069" y="21450"/>
                </a:cubicBezTo>
                <a:cubicBezTo>
                  <a:pt x="43560" y="16993"/>
                  <a:pt x="42799" y="13703"/>
                  <a:pt x="41656" y="11595"/>
                </a:cubicBezTo>
                <a:cubicBezTo>
                  <a:pt x="40259" y="9157"/>
                  <a:pt x="38354" y="7379"/>
                  <a:pt x="35814" y="6248"/>
                </a:cubicBezTo>
                <a:cubicBezTo>
                  <a:pt x="33274" y="5131"/>
                  <a:pt x="29718" y="4572"/>
                  <a:pt x="25272" y="4572"/>
                </a:cubicBezTo>
                <a:cubicBezTo>
                  <a:pt x="21971" y="4572"/>
                  <a:pt x="18669" y="5093"/>
                  <a:pt x="15367" y="6159"/>
                </a:cubicBezTo>
                <a:cubicBezTo>
                  <a:pt x="12065" y="7213"/>
                  <a:pt x="8382" y="8890"/>
                  <a:pt x="4571" y="11201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12" name="object 712"/>
          <p:cNvSpPr/>
          <p:nvPr/>
        </p:nvSpPr>
        <p:spPr>
          <a:xfrm>
            <a:off x="7150664" y="5854901"/>
            <a:ext cx="44957" cy="120281"/>
          </a:xfrm>
          <a:custGeom>
            <a:avLst/>
            <a:gdLst/>
            <a:ahLst/>
            <a:cxnLst/>
            <a:rect l="l" t="t" r="r" b="b"/>
            <a:pathLst>
              <a:path w="44957" h="120281">
                <a:moveTo>
                  <a:pt x="40385" y="36931"/>
                </a:moveTo>
                <a:lnTo>
                  <a:pt x="40385" y="115709"/>
                </a:lnTo>
                <a:lnTo>
                  <a:pt x="4572" y="115709"/>
                </a:lnTo>
                <a:lnTo>
                  <a:pt x="4572" y="4572"/>
                </a:lnTo>
                <a:lnTo>
                  <a:pt x="40385" y="4572"/>
                </a:lnTo>
                <a:lnTo>
                  <a:pt x="40385" y="16840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13" name="object 713"/>
          <p:cNvSpPr/>
          <p:nvPr/>
        </p:nvSpPr>
        <p:spPr>
          <a:xfrm>
            <a:off x="6953000" y="5851715"/>
            <a:ext cx="560577" cy="71196"/>
          </a:xfrm>
          <a:custGeom>
            <a:avLst/>
            <a:gdLst/>
            <a:ahLst/>
            <a:cxnLst/>
            <a:rect l="l" t="t" r="r" b="b"/>
            <a:pathLst>
              <a:path w="560577" h="71196">
                <a:moveTo>
                  <a:pt x="237997" y="19914"/>
                </a:moveTo>
                <a:cubicBezTo>
                  <a:pt x="244221" y="14961"/>
                  <a:pt x="250317" y="11176"/>
                  <a:pt x="256159" y="8535"/>
                </a:cubicBezTo>
                <a:cubicBezTo>
                  <a:pt x="262001" y="5893"/>
                  <a:pt x="268478" y="4572"/>
                  <a:pt x="275590" y="4572"/>
                </a:cubicBezTo>
                <a:moveTo>
                  <a:pt x="556006" y="66625"/>
                </a:moveTo>
                <a:moveTo>
                  <a:pt x="4572" y="4572"/>
                </a:moveTo>
                <a:cubicBezTo>
                  <a:pt x="12065" y="4572"/>
                  <a:pt x="19050" y="5398"/>
                  <a:pt x="25527" y="7049"/>
                </a:cubicBezTo>
                <a:cubicBezTo>
                  <a:pt x="31877" y="8700"/>
                  <a:pt x="37846" y="10846"/>
                  <a:pt x="43434" y="13488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14" name="object 714"/>
          <p:cNvSpPr/>
          <p:nvPr/>
        </p:nvSpPr>
        <p:spPr>
          <a:xfrm>
            <a:off x="6986782" y="5860631"/>
            <a:ext cx="14224" cy="39522"/>
          </a:xfrm>
          <a:custGeom>
            <a:avLst/>
            <a:gdLst/>
            <a:ahLst/>
            <a:cxnLst/>
            <a:rect l="l" t="t" r="r" b="b"/>
            <a:pathLst>
              <a:path w="14224" h="39522">
                <a:moveTo>
                  <a:pt x="9652" y="4572"/>
                </a:moveTo>
                <a:lnTo>
                  <a:pt x="9652" y="34950"/>
                </a:lnTo>
                <a:lnTo>
                  <a:pt x="4572" y="34950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15" name="object 715"/>
          <p:cNvSpPr/>
          <p:nvPr/>
        </p:nvSpPr>
        <p:spPr>
          <a:xfrm>
            <a:off x="6924985" y="5877265"/>
            <a:ext cx="70993" cy="75451"/>
          </a:xfrm>
          <a:custGeom>
            <a:avLst/>
            <a:gdLst/>
            <a:ahLst/>
            <a:cxnLst/>
            <a:rect l="l" t="t" r="r" b="b"/>
            <a:pathLst>
              <a:path w="70993" h="75451">
                <a:moveTo>
                  <a:pt x="66421" y="18428"/>
                </a:moveTo>
                <a:cubicBezTo>
                  <a:pt x="65024" y="17234"/>
                  <a:pt x="63373" y="15850"/>
                  <a:pt x="61468" y="14275"/>
                </a:cubicBezTo>
                <a:cubicBezTo>
                  <a:pt x="59563" y="12688"/>
                  <a:pt x="57150" y="11138"/>
                  <a:pt x="54228" y="9614"/>
                </a:cubicBezTo>
                <a:cubicBezTo>
                  <a:pt x="51562" y="8167"/>
                  <a:pt x="48640" y="6960"/>
                  <a:pt x="45339" y="6007"/>
                </a:cubicBezTo>
                <a:cubicBezTo>
                  <a:pt x="42164" y="5055"/>
                  <a:pt x="38353" y="4572"/>
                  <a:pt x="34163" y="4572"/>
                </a:cubicBezTo>
                <a:cubicBezTo>
                  <a:pt x="24638" y="4572"/>
                  <a:pt x="17399" y="7595"/>
                  <a:pt x="12192" y="13628"/>
                </a:cubicBezTo>
                <a:cubicBezTo>
                  <a:pt x="7112" y="19660"/>
                  <a:pt x="4572" y="27864"/>
                  <a:pt x="4572" y="38227"/>
                </a:cubicBezTo>
                <a:cubicBezTo>
                  <a:pt x="4572" y="48908"/>
                  <a:pt x="7239" y="57023"/>
                  <a:pt x="12446" y="62573"/>
                </a:cubicBezTo>
                <a:cubicBezTo>
                  <a:pt x="17652" y="68110"/>
                  <a:pt x="25146" y="70879"/>
                  <a:pt x="34671" y="70879"/>
                </a:cubicBezTo>
                <a:cubicBezTo>
                  <a:pt x="39243" y="70879"/>
                  <a:pt x="43180" y="70371"/>
                  <a:pt x="46863" y="69342"/>
                </a:cubicBezTo>
                <a:cubicBezTo>
                  <a:pt x="50419" y="68326"/>
                  <a:pt x="53339" y="67120"/>
                  <a:pt x="55752" y="65736"/>
                </a:cubicBezTo>
                <a:cubicBezTo>
                  <a:pt x="58039" y="64415"/>
                  <a:pt x="59944" y="63031"/>
                  <a:pt x="61722" y="61583"/>
                </a:cubicBezTo>
                <a:cubicBezTo>
                  <a:pt x="63373" y="60122"/>
                  <a:pt x="65024" y="58712"/>
                  <a:pt x="66421" y="57328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16" name="object 716"/>
          <p:cNvSpPr/>
          <p:nvPr/>
        </p:nvSpPr>
        <p:spPr>
          <a:xfrm>
            <a:off x="6986782" y="5929909"/>
            <a:ext cx="14224" cy="39522"/>
          </a:xfrm>
          <a:custGeom>
            <a:avLst/>
            <a:gdLst/>
            <a:ahLst/>
            <a:cxnLst/>
            <a:rect l="l" t="t" r="r" b="b"/>
            <a:pathLst>
              <a:path w="14224" h="39522">
                <a:moveTo>
                  <a:pt x="4572" y="4572"/>
                </a:moveTo>
                <a:lnTo>
                  <a:pt x="9652" y="4572"/>
                </a:lnTo>
                <a:lnTo>
                  <a:pt x="9652" y="3495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17" name="object 717"/>
          <p:cNvSpPr/>
          <p:nvPr/>
        </p:nvSpPr>
        <p:spPr>
          <a:xfrm>
            <a:off x="6825488" y="5851827"/>
            <a:ext cx="688086" cy="126327"/>
          </a:xfrm>
          <a:custGeom>
            <a:avLst/>
            <a:gdLst/>
            <a:ahLst/>
            <a:cxnLst/>
            <a:rect l="l" t="t" r="r" b="b"/>
            <a:pathLst>
              <a:path w="688086" h="126327">
                <a:moveTo>
                  <a:pt x="170942" y="113145"/>
                </a:moveTo>
                <a:cubicBezTo>
                  <a:pt x="165354" y="115786"/>
                  <a:pt x="159512" y="117882"/>
                  <a:pt x="153416" y="119431"/>
                </a:cubicBezTo>
                <a:cubicBezTo>
                  <a:pt x="147319" y="120980"/>
                  <a:pt x="140462" y="121755"/>
                  <a:pt x="133096" y="121755"/>
                </a:cubicBezTo>
                <a:cubicBezTo>
                  <a:pt x="123443" y="121755"/>
                  <a:pt x="114554" y="120600"/>
                  <a:pt x="106553" y="118288"/>
                </a:cubicBezTo>
                <a:cubicBezTo>
                  <a:pt x="98552" y="115977"/>
                  <a:pt x="91567" y="112421"/>
                  <a:pt x="85598" y="107607"/>
                </a:cubicBezTo>
                <a:cubicBezTo>
                  <a:pt x="79755" y="102781"/>
                  <a:pt x="75184" y="96711"/>
                  <a:pt x="72009" y="89396"/>
                </a:cubicBezTo>
                <a:cubicBezTo>
                  <a:pt x="68706" y="82068"/>
                  <a:pt x="67055" y="73495"/>
                  <a:pt x="67055" y="63665"/>
                </a:cubicBezTo>
                <a:cubicBezTo>
                  <a:pt x="67055" y="53302"/>
                  <a:pt x="68834" y="44361"/>
                  <a:pt x="72263" y="36843"/>
                </a:cubicBezTo>
                <a:cubicBezTo>
                  <a:pt x="75818" y="29312"/>
                  <a:pt x="80644" y="23076"/>
                  <a:pt x="86741" y="18136"/>
                </a:cubicBezTo>
                <a:cubicBezTo>
                  <a:pt x="92837" y="13450"/>
                  <a:pt x="99694" y="10021"/>
                  <a:pt x="107568" y="7836"/>
                </a:cubicBezTo>
                <a:cubicBezTo>
                  <a:pt x="115443" y="5664"/>
                  <a:pt x="123571" y="4572"/>
                  <a:pt x="132080" y="4572"/>
                </a:cubicBezTo>
                <a:moveTo>
                  <a:pt x="683514" y="66625"/>
                </a:moveTo>
                <a:moveTo>
                  <a:pt x="4572" y="4572"/>
                </a:moveTo>
                <a:cubicBezTo>
                  <a:pt x="12954" y="4572"/>
                  <a:pt x="20828" y="5411"/>
                  <a:pt x="28448" y="7100"/>
                </a:cubicBezTo>
                <a:cubicBezTo>
                  <a:pt x="36068" y="8776"/>
                  <a:pt x="42037" y="10579"/>
                  <a:pt x="46355" y="12497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18" name="object 718"/>
          <p:cNvSpPr/>
          <p:nvPr/>
        </p:nvSpPr>
        <p:spPr>
          <a:xfrm>
            <a:off x="6864223" y="5859752"/>
            <a:ext cx="12192" cy="37249"/>
          </a:xfrm>
          <a:custGeom>
            <a:avLst/>
            <a:gdLst/>
            <a:ahLst/>
            <a:cxnLst/>
            <a:rect l="l" t="t" r="r" b="b"/>
            <a:pathLst>
              <a:path w="12192" h="37249">
                <a:moveTo>
                  <a:pt x="7620" y="4572"/>
                </a:moveTo>
                <a:lnTo>
                  <a:pt x="7620" y="32677"/>
                </a:lnTo>
                <a:lnTo>
                  <a:pt x="4571" y="32677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19" name="object 719"/>
          <p:cNvSpPr/>
          <p:nvPr/>
        </p:nvSpPr>
        <p:spPr>
          <a:xfrm>
            <a:off x="6768338" y="5875576"/>
            <a:ext cx="113156" cy="102679"/>
          </a:xfrm>
          <a:custGeom>
            <a:avLst/>
            <a:gdLst/>
            <a:ahLst/>
            <a:cxnLst/>
            <a:rect l="l" t="t" r="r" b="b"/>
            <a:pathLst>
              <a:path w="113156" h="102679">
                <a:moveTo>
                  <a:pt x="100456" y="16853"/>
                </a:moveTo>
                <a:cubicBezTo>
                  <a:pt x="95123" y="13221"/>
                  <a:pt x="89154" y="10275"/>
                  <a:pt x="82423" y="7989"/>
                </a:cubicBezTo>
                <a:cubicBezTo>
                  <a:pt x="75692" y="5715"/>
                  <a:pt x="68834" y="4572"/>
                  <a:pt x="61849" y="4572"/>
                </a:cubicBezTo>
                <a:cubicBezTo>
                  <a:pt x="56134" y="4572"/>
                  <a:pt x="51308" y="5372"/>
                  <a:pt x="47371" y="6960"/>
                </a:cubicBezTo>
                <a:cubicBezTo>
                  <a:pt x="43434" y="8535"/>
                  <a:pt x="41529" y="10783"/>
                  <a:pt x="41529" y="13678"/>
                </a:cubicBezTo>
                <a:cubicBezTo>
                  <a:pt x="41529" y="16320"/>
                  <a:pt x="42418" y="18339"/>
                  <a:pt x="44196" y="19723"/>
                </a:cubicBezTo>
                <a:cubicBezTo>
                  <a:pt x="45974" y="21108"/>
                  <a:pt x="50165" y="22492"/>
                  <a:pt x="56768" y="23876"/>
                </a:cubicBezTo>
                <a:cubicBezTo>
                  <a:pt x="60325" y="24600"/>
                  <a:pt x="64262" y="25311"/>
                  <a:pt x="68453" y="26010"/>
                </a:cubicBezTo>
                <a:cubicBezTo>
                  <a:pt x="72643" y="26696"/>
                  <a:pt x="76835" y="27572"/>
                  <a:pt x="81026" y="28626"/>
                </a:cubicBezTo>
                <a:cubicBezTo>
                  <a:pt x="90424" y="31064"/>
                  <a:pt x="97409" y="34913"/>
                  <a:pt x="101854" y="40158"/>
                </a:cubicBezTo>
                <a:cubicBezTo>
                  <a:pt x="106299" y="45403"/>
                  <a:pt x="108585" y="51956"/>
                  <a:pt x="108585" y="59805"/>
                </a:cubicBezTo>
                <a:cubicBezTo>
                  <a:pt x="108585" y="71285"/>
                  <a:pt x="103378" y="80544"/>
                  <a:pt x="93091" y="87567"/>
                </a:cubicBezTo>
                <a:cubicBezTo>
                  <a:pt x="82804" y="94590"/>
                  <a:pt x="68706" y="98108"/>
                  <a:pt x="50927" y="98108"/>
                </a:cubicBezTo>
                <a:cubicBezTo>
                  <a:pt x="41021" y="98108"/>
                  <a:pt x="32004" y="97181"/>
                  <a:pt x="24003" y="95339"/>
                </a:cubicBezTo>
                <a:cubicBezTo>
                  <a:pt x="15875" y="93485"/>
                  <a:pt x="9398" y="91440"/>
                  <a:pt x="4572" y="8919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20" name="object 720"/>
          <p:cNvSpPr/>
          <p:nvPr/>
        </p:nvSpPr>
        <p:spPr>
          <a:xfrm>
            <a:off x="6768338" y="5930798"/>
            <a:ext cx="12446" cy="38430"/>
          </a:xfrm>
          <a:custGeom>
            <a:avLst/>
            <a:gdLst/>
            <a:ahLst/>
            <a:cxnLst/>
            <a:rect l="l" t="t" r="r" b="b"/>
            <a:pathLst>
              <a:path w="12446" h="38430">
                <a:moveTo>
                  <a:pt x="4572" y="33858"/>
                </a:moveTo>
                <a:lnTo>
                  <a:pt x="4572" y="4572"/>
                </a:lnTo>
                <a:lnTo>
                  <a:pt x="7874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21" name="object 721"/>
          <p:cNvSpPr/>
          <p:nvPr/>
        </p:nvSpPr>
        <p:spPr>
          <a:xfrm>
            <a:off x="6768848" y="5851726"/>
            <a:ext cx="780033" cy="102781"/>
          </a:xfrm>
          <a:custGeom>
            <a:avLst/>
            <a:gdLst/>
            <a:ahLst/>
            <a:cxnLst/>
            <a:rect l="l" t="t" r="r" b="b"/>
            <a:pathLst>
              <a:path w="780033" h="102781">
                <a:moveTo>
                  <a:pt x="7366" y="83756"/>
                </a:moveTo>
                <a:cubicBezTo>
                  <a:pt x="9144" y="85001"/>
                  <a:pt x="11176" y="86372"/>
                  <a:pt x="13461" y="87858"/>
                </a:cubicBezTo>
                <a:cubicBezTo>
                  <a:pt x="15875" y="89344"/>
                  <a:pt x="19177" y="90944"/>
                  <a:pt x="23495" y="92659"/>
                </a:cubicBezTo>
                <a:cubicBezTo>
                  <a:pt x="27178" y="94183"/>
                  <a:pt x="31369" y="95478"/>
                  <a:pt x="36068" y="96570"/>
                </a:cubicBezTo>
                <a:cubicBezTo>
                  <a:pt x="40640" y="97663"/>
                  <a:pt x="45720" y="98209"/>
                  <a:pt x="51054" y="98209"/>
                </a:cubicBezTo>
                <a:cubicBezTo>
                  <a:pt x="58039" y="98209"/>
                  <a:pt x="63246" y="97421"/>
                  <a:pt x="66547" y="95872"/>
                </a:cubicBezTo>
                <a:cubicBezTo>
                  <a:pt x="69977" y="94323"/>
                  <a:pt x="71628" y="92037"/>
                  <a:pt x="71628" y="89001"/>
                </a:cubicBezTo>
                <a:cubicBezTo>
                  <a:pt x="71628" y="86296"/>
                  <a:pt x="70611" y="84328"/>
                  <a:pt x="68707" y="83109"/>
                </a:cubicBezTo>
                <a:cubicBezTo>
                  <a:pt x="66675" y="81889"/>
                  <a:pt x="62992" y="80721"/>
                  <a:pt x="57404" y="79591"/>
                </a:cubicBezTo>
                <a:cubicBezTo>
                  <a:pt x="54736" y="79006"/>
                  <a:pt x="51181" y="78359"/>
                  <a:pt x="46609" y="77660"/>
                </a:cubicBezTo>
                <a:cubicBezTo>
                  <a:pt x="42164" y="76974"/>
                  <a:pt x="37972" y="76136"/>
                  <a:pt x="34290" y="75146"/>
                </a:cubicBezTo>
                <a:cubicBezTo>
                  <a:pt x="24257" y="72504"/>
                  <a:pt x="16764" y="68402"/>
                  <a:pt x="11810" y="62827"/>
                </a:cubicBezTo>
                <a:cubicBezTo>
                  <a:pt x="6985" y="57251"/>
                  <a:pt x="4572" y="50304"/>
                  <a:pt x="4572" y="41986"/>
                </a:cubicBezTo>
                <a:cubicBezTo>
                  <a:pt x="4572" y="31292"/>
                  <a:pt x="9652" y="22403"/>
                  <a:pt x="19685" y="15316"/>
                </a:cubicBezTo>
                <a:cubicBezTo>
                  <a:pt x="29845" y="8217"/>
                  <a:pt x="43688" y="4673"/>
                  <a:pt x="61214" y="4673"/>
                </a:cubicBezTo>
                <a:moveTo>
                  <a:pt x="740156" y="66726"/>
                </a:moveTo>
                <a:moveTo>
                  <a:pt x="718058" y="4572"/>
                </a:moveTo>
                <a:cubicBezTo>
                  <a:pt x="738378" y="4572"/>
                  <a:pt x="752983" y="7696"/>
                  <a:pt x="762000" y="13932"/>
                </a:cubicBezTo>
                <a:cubicBezTo>
                  <a:pt x="771017" y="20167"/>
                  <a:pt x="775461" y="29946"/>
                  <a:pt x="775461" y="43269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22" name="object 722"/>
          <p:cNvSpPr/>
          <p:nvPr/>
        </p:nvSpPr>
        <p:spPr>
          <a:xfrm>
            <a:off x="7504486" y="5890423"/>
            <a:ext cx="44449" cy="84759"/>
          </a:xfrm>
          <a:custGeom>
            <a:avLst/>
            <a:gdLst/>
            <a:ahLst/>
            <a:cxnLst/>
            <a:rect l="l" t="t" r="r" b="b"/>
            <a:pathLst>
              <a:path w="44449" h="84759">
                <a:moveTo>
                  <a:pt x="39877" y="4572"/>
                </a:moveTo>
                <a:lnTo>
                  <a:pt x="39877" y="80187"/>
                </a:lnTo>
                <a:lnTo>
                  <a:pt x="4572" y="80187"/>
                </a:lnTo>
                <a:lnTo>
                  <a:pt x="4572" y="68415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23" name="object 723"/>
          <p:cNvSpPr/>
          <p:nvPr/>
        </p:nvSpPr>
        <p:spPr>
          <a:xfrm>
            <a:off x="7428921" y="5893001"/>
            <a:ext cx="84963" cy="85153"/>
          </a:xfrm>
          <a:custGeom>
            <a:avLst/>
            <a:gdLst/>
            <a:ahLst/>
            <a:cxnLst/>
            <a:rect l="l" t="t" r="r" b="b"/>
            <a:pathLst>
              <a:path w="84963" h="85153">
                <a:moveTo>
                  <a:pt x="80137" y="65837"/>
                </a:moveTo>
                <a:cubicBezTo>
                  <a:pt x="78232" y="67284"/>
                  <a:pt x="75819" y="69037"/>
                  <a:pt x="73025" y="71082"/>
                </a:cubicBezTo>
                <a:cubicBezTo>
                  <a:pt x="70231" y="73126"/>
                  <a:pt x="67564" y="74739"/>
                  <a:pt x="65024" y="75933"/>
                </a:cubicBezTo>
                <a:cubicBezTo>
                  <a:pt x="61467" y="77508"/>
                  <a:pt x="57912" y="78689"/>
                  <a:pt x="54102" y="79438"/>
                </a:cubicBezTo>
                <a:cubicBezTo>
                  <a:pt x="50419" y="80200"/>
                  <a:pt x="46228" y="80581"/>
                  <a:pt x="41783" y="80581"/>
                </a:cubicBezTo>
                <a:cubicBezTo>
                  <a:pt x="31241" y="80581"/>
                  <a:pt x="22352" y="77317"/>
                  <a:pt x="15240" y="70789"/>
                </a:cubicBezTo>
                <a:cubicBezTo>
                  <a:pt x="8128" y="64249"/>
                  <a:pt x="4572" y="55905"/>
                  <a:pt x="4572" y="45745"/>
                </a:cubicBezTo>
                <a:cubicBezTo>
                  <a:pt x="4572" y="37630"/>
                  <a:pt x="6350" y="31000"/>
                  <a:pt x="10033" y="25857"/>
                </a:cubicBezTo>
                <a:cubicBezTo>
                  <a:pt x="13589" y="20701"/>
                  <a:pt x="18796" y="16649"/>
                  <a:pt x="25400" y="13678"/>
                </a:cubicBezTo>
                <a:cubicBezTo>
                  <a:pt x="32003" y="10706"/>
                  <a:pt x="40259" y="8598"/>
                  <a:pt x="50038" y="7340"/>
                </a:cubicBezTo>
                <a:cubicBezTo>
                  <a:pt x="59690" y="6096"/>
                  <a:pt x="69850" y="5169"/>
                  <a:pt x="80391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24" name="object 724"/>
          <p:cNvSpPr/>
          <p:nvPr/>
        </p:nvSpPr>
        <p:spPr>
          <a:xfrm>
            <a:off x="7504740" y="5892404"/>
            <a:ext cx="9143" cy="9741"/>
          </a:xfrm>
          <a:custGeom>
            <a:avLst/>
            <a:gdLst/>
            <a:ahLst/>
            <a:cxnLst/>
            <a:rect l="l" t="t" r="r" b="b"/>
            <a:pathLst>
              <a:path w="9143" h="9741">
                <a:moveTo>
                  <a:pt x="4572" y="5169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25" name="object 725"/>
          <p:cNvSpPr/>
          <p:nvPr/>
        </p:nvSpPr>
        <p:spPr>
          <a:xfrm>
            <a:off x="7441819" y="5876061"/>
            <a:ext cx="72008" cy="25374"/>
          </a:xfrm>
          <a:custGeom>
            <a:avLst/>
            <a:gdLst/>
            <a:ahLst/>
            <a:cxnLst/>
            <a:rect l="l" t="t" r="r" b="b"/>
            <a:pathLst>
              <a:path w="72008" h="25374">
                <a:moveTo>
                  <a:pt x="67437" y="20803"/>
                </a:moveTo>
                <a:cubicBezTo>
                  <a:pt x="67437" y="14669"/>
                  <a:pt x="64897" y="10427"/>
                  <a:pt x="59944" y="8090"/>
                </a:cubicBezTo>
                <a:cubicBezTo>
                  <a:pt x="54863" y="5741"/>
                  <a:pt x="47498" y="4572"/>
                  <a:pt x="37719" y="4572"/>
                </a:cubicBezTo>
                <a:cubicBezTo>
                  <a:pt x="31877" y="4572"/>
                  <a:pt x="25527" y="5614"/>
                  <a:pt x="18923" y="7696"/>
                </a:cubicBezTo>
                <a:cubicBezTo>
                  <a:pt x="12192" y="9766"/>
                  <a:pt x="7493" y="11367"/>
                  <a:pt x="4572" y="12497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26" name="object 726"/>
          <p:cNvSpPr/>
          <p:nvPr/>
        </p:nvSpPr>
        <p:spPr>
          <a:xfrm>
            <a:off x="7438518" y="5857164"/>
            <a:ext cx="12445" cy="35966"/>
          </a:xfrm>
          <a:custGeom>
            <a:avLst/>
            <a:gdLst/>
            <a:ahLst/>
            <a:cxnLst/>
            <a:rect l="l" t="t" r="r" b="b"/>
            <a:pathLst>
              <a:path w="12445" h="35966">
                <a:moveTo>
                  <a:pt x="7874" y="31394"/>
                </a:moveTo>
                <a:lnTo>
                  <a:pt x="4572" y="31394"/>
                </a:ln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27" name="object 727"/>
          <p:cNvSpPr/>
          <p:nvPr/>
        </p:nvSpPr>
        <p:spPr>
          <a:xfrm>
            <a:off x="7060240" y="5851614"/>
            <a:ext cx="453389" cy="71298"/>
          </a:xfrm>
          <a:custGeom>
            <a:avLst/>
            <a:gdLst/>
            <a:ahLst/>
            <a:cxnLst/>
            <a:rect l="l" t="t" r="r" b="b"/>
            <a:pathLst>
              <a:path w="453389" h="71298">
                <a:moveTo>
                  <a:pt x="382905" y="10122"/>
                </a:moveTo>
                <a:cubicBezTo>
                  <a:pt x="386715" y="9131"/>
                  <a:pt x="392810" y="7963"/>
                  <a:pt x="401320" y="6604"/>
                </a:cubicBezTo>
                <a:cubicBezTo>
                  <a:pt x="409829" y="5257"/>
                  <a:pt x="418210" y="4572"/>
                  <a:pt x="426720" y="4572"/>
                </a:cubicBezTo>
                <a:moveTo>
                  <a:pt x="448818" y="66726"/>
                </a:moveTo>
                <a:moveTo>
                  <a:pt x="4572" y="4572"/>
                </a:moveTo>
                <a:cubicBezTo>
                  <a:pt x="24892" y="4572"/>
                  <a:pt x="39497" y="7696"/>
                  <a:pt x="48514" y="13932"/>
                </a:cubicBezTo>
                <a:cubicBezTo>
                  <a:pt x="57531" y="20167"/>
                  <a:pt x="61976" y="29946"/>
                  <a:pt x="61976" y="43269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28" name="object 728"/>
          <p:cNvSpPr/>
          <p:nvPr/>
        </p:nvSpPr>
        <p:spPr>
          <a:xfrm>
            <a:off x="7082338" y="5890423"/>
            <a:ext cx="44449" cy="84759"/>
          </a:xfrm>
          <a:custGeom>
            <a:avLst/>
            <a:gdLst/>
            <a:ahLst/>
            <a:cxnLst/>
            <a:rect l="l" t="t" r="r" b="b"/>
            <a:pathLst>
              <a:path w="44449" h="84759">
                <a:moveTo>
                  <a:pt x="39878" y="4572"/>
                </a:moveTo>
                <a:lnTo>
                  <a:pt x="39878" y="80187"/>
                </a:lnTo>
                <a:lnTo>
                  <a:pt x="4572" y="80187"/>
                </a:lnTo>
                <a:lnTo>
                  <a:pt x="4572" y="68415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29" name="object 729"/>
          <p:cNvSpPr/>
          <p:nvPr/>
        </p:nvSpPr>
        <p:spPr>
          <a:xfrm>
            <a:off x="7006717" y="5893001"/>
            <a:ext cx="84962" cy="85153"/>
          </a:xfrm>
          <a:custGeom>
            <a:avLst/>
            <a:gdLst/>
            <a:ahLst/>
            <a:cxnLst/>
            <a:rect l="l" t="t" r="r" b="b"/>
            <a:pathLst>
              <a:path w="84962" h="85153">
                <a:moveTo>
                  <a:pt x="80137" y="65837"/>
                </a:moveTo>
                <a:cubicBezTo>
                  <a:pt x="78232" y="67284"/>
                  <a:pt x="75819" y="69037"/>
                  <a:pt x="73025" y="71082"/>
                </a:cubicBezTo>
                <a:cubicBezTo>
                  <a:pt x="70231" y="73126"/>
                  <a:pt x="67564" y="74739"/>
                  <a:pt x="65024" y="75933"/>
                </a:cubicBezTo>
                <a:cubicBezTo>
                  <a:pt x="61468" y="77508"/>
                  <a:pt x="57912" y="78689"/>
                  <a:pt x="54101" y="79438"/>
                </a:cubicBezTo>
                <a:cubicBezTo>
                  <a:pt x="50419" y="80200"/>
                  <a:pt x="46227" y="80581"/>
                  <a:pt x="41783" y="80581"/>
                </a:cubicBezTo>
                <a:cubicBezTo>
                  <a:pt x="31242" y="80581"/>
                  <a:pt x="22351" y="77317"/>
                  <a:pt x="15239" y="70789"/>
                </a:cubicBezTo>
                <a:cubicBezTo>
                  <a:pt x="8127" y="64249"/>
                  <a:pt x="4572" y="55905"/>
                  <a:pt x="4572" y="45745"/>
                </a:cubicBezTo>
                <a:cubicBezTo>
                  <a:pt x="4572" y="37630"/>
                  <a:pt x="6350" y="31000"/>
                  <a:pt x="10033" y="25857"/>
                </a:cubicBezTo>
                <a:cubicBezTo>
                  <a:pt x="13589" y="20701"/>
                  <a:pt x="18796" y="16649"/>
                  <a:pt x="25400" y="13678"/>
                </a:cubicBezTo>
                <a:cubicBezTo>
                  <a:pt x="32004" y="10706"/>
                  <a:pt x="40259" y="8598"/>
                  <a:pt x="50038" y="7340"/>
                </a:cubicBezTo>
                <a:cubicBezTo>
                  <a:pt x="59689" y="6096"/>
                  <a:pt x="69850" y="5169"/>
                  <a:pt x="80390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30" name="object 730"/>
          <p:cNvSpPr/>
          <p:nvPr/>
        </p:nvSpPr>
        <p:spPr>
          <a:xfrm>
            <a:off x="7082592" y="5892404"/>
            <a:ext cx="9143" cy="9741"/>
          </a:xfrm>
          <a:custGeom>
            <a:avLst/>
            <a:gdLst/>
            <a:ahLst/>
            <a:cxnLst/>
            <a:rect l="l" t="t" r="r" b="b"/>
            <a:pathLst>
              <a:path w="9143" h="9741">
                <a:moveTo>
                  <a:pt x="4571" y="5169"/>
                </a:moveTo>
                <a:lnTo>
                  <a:pt x="4571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31" name="object 731"/>
          <p:cNvSpPr/>
          <p:nvPr/>
        </p:nvSpPr>
        <p:spPr>
          <a:xfrm>
            <a:off x="7019671" y="5876061"/>
            <a:ext cx="72008" cy="25374"/>
          </a:xfrm>
          <a:custGeom>
            <a:avLst/>
            <a:gdLst/>
            <a:ahLst/>
            <a:cxnLst/>
            <a:rect l="l" t="t" r="r" b="b"/>
            <a:pathLst>
              <a:path w="72008" h="25374">
                <a:moveTo>
                  <a:pt x="67436" y="20803"/>
                </a:moveTo>
                <a:cubicBezTo>
                  <a:pt x="67436" y="14669"/>
                  <a:pt x="64897" y="10427"/>
                  <a:pt x="59944" y="8090"/>
                </a:cubicBezTo>
                <a:cubicBezTo>
                  <a:pt x="54864" y="5741"/>
                  <a:pt x="47497" y="4572"/>
                  <a:pt x="37719" y="4572"/>
                </a:cubicBezTo>
                <a:cubicBezTo>
                  <a:pt x="31877" y="4572"/>
                  <a:pt x="25527" y="5614"/>
                  <a:pt x="18922" y="7696"/>
                </a:cubicBezTo>
                <a:cubicBezTo>
                  <a:pt x="12192" y="9766"/>
                  <a:pt x="7493" y="11367"/>
                  <a:pt x="4572" y="12497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32" name="object 732"/>
          <p:cNvSpPr/>
          <p:nvPr/>
        </p:nvSpPr>
        <p:spPr>
          <a:xfrm>
            <a:off x="7016370" y="5857164"/>
            <a:ext cx="12445" cy="35966"/>
          </a:xfrm>
          <a:custGeom>
            <a:avLst/>
            <a:gdLst/>
            <a:ahLst/>
            <a:cxnLst/>
            <a:rect l="l" t="t" r="r" b="b"/>
            <a:pathLst>
              <a:path w="12445" h="35966">
                <a:moveTo>
                  <a:pt x="7874" y="31394"/>
                </a:moveTo>
                <a:lnTo>
                  <a:pt x="4572" y="31394"/>
                </a:ln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33" name="object 733"/>
          <p:cNvSpPr/>
          <p:nvPr/>
        </p:nvSpPr>
        <p:spPr>
          <a:xfrm>
            <a:off x="7016369" y="5812038"/>
            <a:ext cx="565530" cy="110985"/>
          </a:xfrm>
          <a:custGeom>
            <a:avLst/>
            <a:gdLst/>
            <a:ahLst/>
            <a:cxnLst/>
            <a:rect l="l" t="t" r="r" b="b"/>
            <a:pathLst>
              <a:path w="565530" h="110985">
                <a:moveTo>
                  <a:pt x="4572" y="49810"/>
                </a:moveTo>
                <a:cubicBezTo>
                  <a:pt x="8382" y="48819"/>
                  <a:pt x="14478" y="47651"/>
                  <a:pt x="22987" y="46292"/>
                </a:cubicBezTo>
                <a:cubicBezTo>
                  <a:pt x="31496" y="44945"/>
                  <a:pt x="39878" y="44260"/>
                  <a:pt x="48387" y="44260"/>
                </a:cubicBezTo>
                <a:moveTo>
                  <a:pt x="492633" y="106414"/>
                </a:moveTo>
                <a:moveTo>
                  <a:pt x="560959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34" name="object 734"/>
          <p:cNvSpPr/>
          <p:nvPr/>
        </p:nvSpPr>
        <p:spPr>
          <a:xfrm>
            <a:off x="7572789" y="5811926"/>
            <a:ext cx="44957" cy="163144"/>
          </a:xfrm>
          <a:custGeom>
            <a:avLst/>
            <a:gdLst/>
            <a:ahLst/>
            <a:cxnLst/>
            <a:rect l="l" t="t" r="r" b="b"/>
            <a:pathLst>
              <a:path w="44957" h="163144">
                <a:moveTo>
                  <a:pt x="4572" y="4572"/>
                </a:moveTo>
                <a:lnTo>
                  <a:pt x="40386" y="4572"/>
                </a:lnTo>
                <a:lnTo>
                  <a:pt x="40386" y="158572"/>
                </a:lnTo>
                <a:lnTo>
                  <a:pt x="4572" y="158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35" name="object 735"/>
          <p:cNvSpPr/>
          <p:nvPr/>
        </p:nvSpPr>
        <p:spPr>
          <a:xfrm>
            <a:off x="7367778" y="5811926"/>
            <a:ext cx="214122" cy="163144"/>
          </a:xfrm>
          <a:custGeom>
            <a:avLst/>
            <a:gdLst/>
            <a:ahLst/>
            <a:cxnLst/>
            <a:rect l="l" t="t" r="r" b="b"/>
            <a:pathLst>
              <a:path w="214122" h="163144">
                <a:moveTo>
                  <a:pt x="209550" y="158572"/>
                </a:moveTo>
                <a:moveTo>
                  <a:pt x="141224" y="106414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36" name="object 736"/>
          <p:cNvSpPr/>
          <p:nvPr/>
        </p:nvSpPr>
        <p:spPr>
          <a:xfrm>
            <a:off x="7367834" y="5811926"/>
            <a:ext cx="44831" cy="163144"/>
          </a:xfrm>
          <a:custGeom>
            <a:avLst/>
            <a:gdLst/>
            <a:ahLst/>
            <a:cxnLst/>
            <a:rect l="l" t="t" r="r" b="b"/>
            <a:pathLst>
              <a:path w="44831" h="163144">
                <a:moveTo>
                  <a:pt x="4572" y="4572"/>
                </a:moveTo>
                <a:lnTo>
                  <a:pt x="40259" y="4572"/>
                </a:lnTo>
                <a:lnTo>
                  <a:pt x="40259" y="158572"/>
                </a:lnTo>
                <a:lnTo>
                  <a:pt x="4572" y="158572"/>
                </a:lnTo>
                <a:lnTo>
                  <a:pt x="4572" y="146990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37" name="object 737"/>
          <p:cNvSpPr/>
          <p:nvPr/>
        </p:nvSpPr>
        <p:spPr>
          <a:xfrm>
            <a:off x="7287514" y="5851715"/>
            <a:ext cx="226060" cy="126428"/>
          </a:xfrm>
          <a:custGeom>
            <a:avLst/>
            <a:gdLst/>
            <a:ahLst/>
            <a:cxnLst/>
            <a:rect l="l" t="t" r="r" b="b"/>
            <a:pathLst>
              <a:path w="226060" h="126428">
                <a:moveTo>
                  <a:pt x="84836" y="107201"/>
                </a:moveTo>
                <a:cubicBezTo>
                  <a:pt x="78740" y="112217"/>
                  <a:pt x="73025" y="115913"/>
                  <a:pt x="67691" y="118288"/>
                </a:cubicBezTo>
                <a:cubicBezTo>
                  <a:pt x="62357" y="120663"/>
                  <a:pt x="56134" y="121857"/>
                  <a:pt x="49149" y="121857"/>
                </a:cubicBezTo>
                <a:cubicBezTo>
                  <a:pt x="35687" y="121857"/>
                  <a:pt x="24892" y="116637"/>
                  <a:pt x="16764" y="106223"/>
                </a:cubicBezTo>
                <a:cubicBezTo>
                  <a:pt x="8636" y="95796"/>
                  <a:pt x="4572" y="81737"/>
                  <a:pt x="4572" y="64059"/>
                </a:cubicBezTo>
                <a:cubicBezTo>
                  <a:pt x="4572" y="54623"/>
                  <a:pt x="5968" y="46254"/>
                  <a:pt x="8636" y="38964"/>
                </a:cubicBezTo>
                <a:cubicBezTo>
                  <a:pt x="11429" y="31674"/>
                  <a:pt x="15113" y="25426"/>
                  <a:pt x="19939" y="20206"/>
                </a:cubicBezTo>
                <a:cubicBezTo>
                  <a:pt x="24384" y="15266"/>
                  <a:pt x="29845" y="11418"/>
                  <a:pt x="36195" y="8687"/>
                </a:cubicBezTo>
                <a:cubicBezTo>
                  <a:pt x="42545" y="5944"/>
                  <a:pt x="49022" y="4572"/>
                  <a:pt x="55372" y="4572"/>
                </a:cubicBezTo>
                <a:cubicBezTo>
                  <a:pt x="61976" y="4572"/>
                  <a:pt x="67437" y="5283"/>
                  <a:pt x="71754" y="6706"/>
                </a:cubicBezTo>
                <a:cubicBezTo>
                  <a:pt x="75946" y="8116"/>
                  <a:pt x="80391" y="9919"/>
                  <a:pt x="84836" y="12091"/>
                </a:cubicBezTo>
                <a:moveTo>
                  <a:pt x="221488" y="66625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pic>
        <p:nvPicPr>
          <p:cNvPr id="751" name="Image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988" y="2743200"/>
            <a:ext cx="3666744" cy="522732"/>
          </a:xfrm>
          <a:prstGeom prst="rect">
            <a:avLst/>
          </a:prstGeom>
        </p:spPr>
      </p:pic>
      <p:pic>
        <p:nvPicPr>
          <p:cNvPr id="752" name="Image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851" y="2778251"/>
            <a:ext cx="3204971" cy="512064"/>
          </a:xfrm>
          <a:prstGeom prst="rect">
            <a:avLst/>
          </a:prstGeom>
        </p:spPr>
      </p:pic>
      <p:sp>
        <p:nvSpPr>
          <p:cNvPr id="738" name="object 738"/>
          <p:cNvSpPr/>
          <p:nvPr/>
        </p:nvSpPr>
        <p:spPr>
          <a:xfrm>
            <a:off x="327025" y="2762250"/>
            <a:ext cx="3581400" cy="438150"/>
          </a:xfrm>
          <a:custGeom>
            <a:avLst/>
            <a:gdLst/>
            <a:ahLst/>
            <a:cxnLst/>
            <a:rect l="l" t="t" r="r" b="b"/>
            <a:pathLst>
              <a:path w="3581400" h="438150">
                <a:moveTo>
                  <a:pt x="0" y="73025"/>
                </a:moveTo>
                <a:cubicBezTo>
                  <a:pt x="0" y="32639"/>
                  <a:pt x="32689" y="0"/>
                  <a:pt x="73025" y="0"/>
                </a:cubicBezTo>
                <a:lnTo>
                  <a:pt x="3508375" y="0"/>
                </a:lnTo>
                <a:cubicBezTo>
                  <a:pt x="3548761" y="0"/>
                  <a:pt x="3581400" y="32639"/>
                  <a:pt x="3581400" y="73025"/>
                </a:cubicBezTo>
                <a:lnTo>
                  <a:pt x="3581400" y="365125"/>
                </a:lnTo>
                <a:cubicBezTo>
                  <a:pt x="3581400" y="405511"/>
                  <a:pt x="3548761" y="438150"/>
                  <a:pt x="3508375" y="438150"/>
                </a:cubicBezTo>
                <a:lnTo>
                  <a:pt x="73025" y="438150"/>
                </a:lnTo>
                <a:cubicBezTo>
                  <a:pt x="32689" y="438150"/>
                  <a:pt x="0" y="405511"/>
                  <a:pt x="0" y="365125"/>
                </a:cubicBezTo>
                <a:close/>
              </a:path>
            </a:pathLst>
          </a:custGeom>
          <a:solidFill>
            <a:srgbClr val="0E5393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53" name="text 1"/>
          <p:cNvSpPr txBox="1"/>
          <p:nvPr/>
        </p:nvSpPr>
        <p:spPr>
          <a:xfrm>
            <a:off x="439826" y="2857792"/>
            <a:ext cx="2867516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600" spc="10" dirty="0">
                <a:solidFill>
                  <a:srgbClr val="FFFFFF"/>
                </a:solidFill>
                <a:latin typeface="Verdana"/>
                <a:cs typeface="Verdana"/>
              </a:rPr>
              <a:t>1. Violation of EU Food Law</a:t>
            </a:r>
            <a:endParaRPr sz="1600">
              <a:solidFill>
                <a:prstClr val="black"/>
              </a:solidFill>
              <a:latin typeface="Verdana"/>
              <a:cs typeface="Verdana"/>
            </a:endParaRPr>
          </a:p>
        </p:txBody>
      </p:sp>
      <p:pic>
        <p:nvPicPr>
          <p:cNvPr id="754" name="Image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6880" y="3243071"/>
            <a:ext cx="3450335" cy="547116"/>
          </a:xfrm>
          <a:prstGeom prst="rect">
            <a:avLst/>
          </a:prstGeom>
        </p:spPr>
      </p:pic>
      <p:pic>
        <p:nvPicPr>
          <p:cNvPr id="755" name="Image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9228" y="3290315"/>
            <a:ext cx="1603247" cy="512064"/>
          </a:xfrm>
          <a:prstGeom prst="rect">
            <a:avLst/>
          </a:prstGeom>
        </p:spPr>
      </p:pic>
      <p:sp>
        <p:nvSpPr>
          <p:cNvPr id="739" name="object 739"/>
          <p:cNvSpPr/>
          <p:nvPr/>
        </p:nvSpPr>
        <p:spPr>
          <a:xfrm>
            <a:off x="539750" y="3262249"/>
            <a:ext cx="3365500" cy="462026"/>
          </a:xfrm>
          <a:custGeom>
            <a:avLst/>
            <a:gdLst/>
            <a:ahLst/>
            <a:cxnLst/>
            <a:rect l="l" t="t" r="r" b="b"/>
            <a:pathLst>
              <a:path w="3365500" h="462026">
                <a:moveTo>
                  <a:pt x="0" y="77089"/>
                </a:moveTo>
                <a:cubicBezTo>
                  <a:pt x="0" y="34544"/>
                  <a:pt x="34467" y="0"/>
                  <a:pt x="77000" y="0"/>
                </a:cubicBezTo>
                <a:lnTo>
                  <a:pt x="3288538" y="0"/>
                </a:lnTo>
                <a:cubicBezTo>
                  <a:pt x="3331083" y="0"/>
                  <a:pt x="3365500" y="34544"/>
                  <a:pt x="3365500" y="77089"/>
                </a:cubicBezTo>
                <a:lnTo>
                  <a:pt x="3365500" y="385064"/>
                </a:lnTo>
                <a:cubicBezTo>
                  <a:pt x="3365500" y="427609"/>
                  <a:pt x="3331083" y="462026"/>
                  <a:pt x="3288538" y="462026"/>
                </a:cubicBezTo>
                <a:lnTo>
                  <a:pt x="77000" y="462026"/>
                </a:lnTo>
                <a:cubicBezTo>
                  <a:pt x="34467" y="462026"/>
                  <a:pt x="0" y="427609"/>
                  <a:pt x="0" y="385064"/>
                </a:cubicBezTo>
                <a:close/>
              </a:path>
            </a:pathLst>
          </a:custGeom>
          <a:solidFill>
            <a:srgbClr val="C00000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56" name="text 1"/>
          <p:cNvSpPr txBox="1"/>
          <p:nvPr/>
        </p:nvSpPr>
        <p:spPr>
          <a:xfrm>
            <a:off x="653871" y="3369750"/>
            <a:ext cx="1232069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600" spc="10" dirty="0">
                <a:solidFill>
                  <a:srgbClr val="FFFFFF"/>
                </a:solidFill>
                <a:latin typeface="Verdana"/>
                <a:cs typeface="Verdana"/>
              </a:rPr>
              <a:t>2. Intention</a:t>
            </a:r>
            <a:endParaRPr sz="1600">
              <a:solidFill>
                <a:prstClr val="black"/>
              </a:solidFill>
              <a:latin typeface="Verdana"/>
              <a:cs typeface="Verdana"/>
            </a:endParaRPr>
          </a:p>
        </p:txBody>
      </p:sp>
      <p:pic>
        <p:nvPicPr>
          <p:cNvPr id="757" name="Image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60" y="3773424"/>
            <a:ext cx="3325367" cy="495300"/>
          </a:xfrm>
          <a:prstGeom prst="rect">
            <a:avLst/>
          </a:prstGeom>
        </p:spPr>
      </p:pic>
      <p:pic>
        <p:nvPicPr>
          <p:cNvPr id="758" name="Image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936" y="3796289"/>
            <a:ext cx="2150364" cy="512063"/>
          </a:xfrm>
          <a:prstGeom prst="rect">
            <a:avLst/>
          </a:prstGeom>
        </p:spPr>
      </p:pic>
      <p:sp>
        <p:nvSpPr>
          <p:cNvPr id="740" name="object 740"/>
          <p:cNvSpPr/>
          <p:nvPr/>
        </p:nvSpPr>
        <p:spPr>
          <a:xfrm>
            <a:off x="684212" y="3792605"/>
            <a:ext cx="3240087" cy="411099"/>
          </a:xfrm>
          <a:custGeom>
            <a:avLst/>
            <a:gdLst/>
            <a:ahLst/>
            <a:cxnLst/>
            <a:rect l="l" t="t" r="r" b="b"/>
            <a:pathLst>
              <a:path w="3240087" h="411099">
                <a:moveTo>
                  <a:pt x="0" y="68453"/>
                </a:moveTo>
                <a:cubicBezTo>
                  <a:pt x="0" y="30607"/>
                  <a:pt x="30683" y="0"/>
                  <a:pt x="68529" y="0"/>
                </a:cubicBezTo>
                <a:lnTo>
                  <a:pt x="3171508" y="0"/>
                </a:lnTo>
                <a:cubicBezTo>
                  <a:pt x="3209353" y="0"/>
                  <a:pt x="3240088" y="30607"/>
                  <a:pt x="3240088" y="68453"/>
                </a:cubicBezTo>
                <a:lnTo>
                  <a:pt x="3240088" y="342519"/>
                </a:lnTo>
                <a:cubicBezTo>
                  <a:pt x="3240088" y="380365"/>
                  <a:pt x="3209353" y="411099"/>
                  <a:pt x="3171508" y="411099"/>
                </a:cubicBezTo>
                <a:lnTo>
                  <a:pt x="68529" y="411099"/>
                </a:lnTo>
                <a:cubicBezTo>
                  <a:pt x="30683" y="411099"/>
                  <a:pt x="0" y="380365"/>
                  <a:pt x="0" y="342519"/>
                </a:cubicBez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59" name="text 1"/>
          <p:cNvSpPr txBox="1"/>
          <p:nvPr/>
        </p:nvSpPr>
        <p:spPr>
          <a:xfrm>
            <a:off x="795898" y="3874393"/>
            <a:ext cx="1818447" cy="23237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510" spc="10" dirty="0">
                <a:solidFill>
                  <a:srgbClr val="FFFFFF"/>
                </a:solidFill>
                <a:latin typeface="Verdana"/>
                <a:cs typeface="Verdana"/>
              </a:rPr>
              <a:t>3.  Economic  gain</a:t>
            </a:r>
            <a:endParaRPr sz="1500">
              <a:solidFill>
                <a:prstClr val="black"/>
              </a:solidFill>
              <a:latin typeface="Verdana"/>
              <a:cs typeface="Verdana"/>
            </a:endParaRPr>
          </a:p>
        </p:txBody>
      </p:sp>
      <p:pic>
        <p:nvPicPr>
          <p:cNvPr id="760" name="Image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012" y="4241292"/>
            <a:ext cx="3099816" cy="595884"/>
          </a:xfrm>
          <a:prstGeom prst="rect">
            <a:avLst/>
          </a:prstGeom>
        </p:spPr>
      </p:pic>
      <p:pic>
        <p:nvPicPr>
          <p:cNvPr id="761" name="Image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1916" y="4314444"/>
            <a:ext cx="3083052" cy="512064"/>
          </a:xfrm>
          <a:prstGeom prst="rect">
            <a:avLst/>
          </a:prstGeom>
        </p:spPr>
      </p:pic>
      <p:sp>
        <p:nvSpPr>
          <p:cNvPr id="741" name="object 741"/>
          <p:cNvSpPr/>
          <p:nvPr/>
        </p:nvSpPr>
        <p:spPr>
          <a:xfrm>
            <a:off x="900112" y="4260962"/>
            <a:ext cx="3014662" cy="511175"/>
          </a:xfrm>
          <a:custGeom>
            <a:avLst/>
            <a:gdLst/>
            <a:ahLst/>
            <a:cxnLst/>
            <a:rect l="l" t="t" r="r" b="b"/>
            <a:pathLst>
              <a:path w="3014662" h="511175">
                <a:moveTo>
                  <a:pt x="0" y="85217"/>
                </a:moveTo>
                <a:cubicBezTo>
                  <a:pt x="0" y="38100"/>
                  <a:pt x="38151" y="0"/>
                  <a:pt x="85204" y="0"/>
                </a:cubicBezTo>
                <a:lnTo>
                  <a:pt x="2929446" y="0"/>
                </a:lnTo>
                <a:cubicBezTo>
                  <a:pt x="2976563" y="0"/>
                  <a:pt x="3014663" y="38100"/>
                  <a:pt x="3014663" y="85217"/>
                </a:cubicBezTo>
                <a:lnTo>
                  <a:pt x="3014663" y="425958"/>
                </a:lnTo>
                <a:cubicBezTo>
                  <a:pt x="3014663" y="473075"/>
                  <a:pt x="2976563" y="511175"/>
                  <a:pt x="2929446" y="511175"/>
                </a:cubicBezTo>
                <a:lnTo>
                  <a:pt x="85204" y="511175"/>
                </a:lnTo>
                <a:cubicBezTo>
                  <a:pt x="38151" y="511175"/>
                  <a:pt x="0" y="473075"/>
                  <a:pt x="0" y="425958"/>
                </a:cubicBezTo>
                <a:close/>
              </a:path>
            </a:pathLst>
          </a:custGeom>
          <a:solidFill>
            <a:srgbClr val="ED7C31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62" name="text 1"/>
          <p:cNvSpPr txBox="1"/>
          <p:nvPr/>
        </p:nvSpPr>
        <p:spPr>
          <a:xfrm>
            <a:off x="1016876" y="4392968"/>
            <a:ext cx="2747547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600" spc="10" dirty="0">
                <a:solidFill>
                  <a:srgbClr val="FFFFFF"/>
                </a:solidFill>
                <a:latin typeface="Verdana"/>
                <a:cs typeface="Verdana"/>
              </a:rPr>
              <a:t>4. Deception of customers</a:t>
            </a:r>
            <a:endParaRPr sz="1600">
              <a:solidFill>
                <a:prstClr val="black"/>
              </a:solidFill>
              <a:latin typeface="Verdana"/>
              <a:cs typeface="Verdana"/>
            </a:endParaRPr>
          </a:p>
        </p:txBody>
      </p:sp>
      <p:sp>
        <p:nvSpPr>
          <p:cNvPr id="763" name="text 1"/>
          <p:cNvSpPr txBox="1"/>
          <p:nvPr/>
        </p:nvSpPr>
        <p:spPr>
          <a:xfrm>
            <a:off x="992125" y="1324273"/>
            <a:ext cx="2150910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2400" b="1" spc="10" dirty="0">
                <a:solidFill>
                  <a:srgbClr val="FF0000"/>
                </a:solidFill>
                <a:latin typeface="Arial"/>
                <a:cs typeface="Arial"/>
              </a:rPr>
              <a:t>FOOD  FRAUD</a:t>
            </a:r>
            <a:endParaRPr sz="2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42" name="object 742"/>
          <p:cNvSpPr/>
          <p:nvPr/>
        </p:nvSpPr>
        <p:spPr>
          <a:xfrm>
            <a:off x="991862" y="1630426"/>
            <a:ext cx="2244915" cy="15240"/>
          </a:xfrm>
          <a:custGeom>
            <a:avLst/>
            <a:gdLst/>
            <a:ahLst/>
            <a:cxnLst/>
            <a:rect l="l" t="t" r="r" b="b"/>
            <a:pathLst>
              <a:path w="2244915" h="15240">
                <a:moveTo>
                  <a:pt x="0" y="0"/>
                </a:moveTo>
                <a:lnTo>
                  <a:pt x="748348" y="0"/>
                </a:lnTo>
                <a:lnTo>
                  <a:pt x="1496632" y="0"/>
                </a:lnTo>
                <a:lnTo>
                  <a:pt x="2244916" y="0"/>
                </a:lnTo>
                <a:lnTo>
                  <a:pt x="2244916" y="15240"/>
                </a:lnTo>
                <a:lnTo>
                  <a:pt x="1496632" y="15240"/>
                </a:lnTo>
                <a:lnTo>
                  <a:pt x="748348" y="15240"/>
                </a:lnTo>
                <a:lnTo>
                  <a:pt x="0" y="1524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64" name="text 1"/>
          <p:cNvSpPr txBox="1"/>
          <p:nvPr/>
        </p:nvSpPr>
        <p:spPr>
          <a:xfrm>
            <a:off x="426471" y="2049869"/>
            <a:ext cx="2622513" cy="61555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2000" spc="10" dirty="0">
                <a:solidFill>
                  <a:srgbClr val="0E5393"/>
                </a:solidFill>
                <a:latin typeface="Arial"/>
                <a:cs typeface="Arial"/>
              </a:rPr>
              <a:t>•    </a:t>
            </a:r>
            <a:r>
              <a:rPr sz="2000" b="1" spc="10" dirty="0">
                <a:solidFill>
                  <a:srgbClr val="0E5393"/>
                </a:solidFill>
                <a:latin typeface="Arial"/>
                <a:cs typeface="Arial"/>
              </a:rPr>
              <a:t>No  EU  definition</a:t>
            </a:r>
            <a:endParaRPr sz="2000">
              <a:solidFill>
                <a:prstClr val="black"/>
              </a:solidFill>
              <a:latin typeface="Arial"/>
              <a:cs typeface="Arial"/>
            </a:endParaRPr>
          </a:p>
          <a:p>
            <a:r>
              <a:rPr sz="2000" spc="10" dirty="0">
                <a:solidFill>
                  <a:srgbClr val="0E5393"/>
                </a:solidFill>
                <a:latin typeface="Arial"/>
                <a:cs typeface="Arial"/>
              </a:rPr>
              <a:t>•    </a:t>
            </a:r>
            <a:r>
              <a:rPr sz="2000" b="1" spc="10" dirty="0">
                <a:solidFill>
                  <a:srgbClr val="0E5393"/>
                </a:solidFill>
                <a:latin typeface="Arial"/>
                <a:cs typeface="Arial"/>
              </a:rPr>
              <a:t>Four  key  criteria:</a:t>
            </a:r>
            <a:endParaRPr sz="2000">
              <a:solidFill>
                <a:prstClr val="black"/>
              </a:solidFill>
              <a:latin typeface="Arial"/>
              <a:cs typeface="Arial"/>
            </a:endParaRPr>
          </a:p>
        </p:txBody>
      </p:sp>
      <p:graphicFrame>
        <p:nvGraphicFramePr>
          <p:cNvPr id="765" name="object 1"/>
          <p:cNvGraphicFramePr>
            <a:graphicFrameLocks noGrp="1"/>
          </p:cNvGraphicFramePr>
          <p:nvPr/>
        </p:nvGraphicFramePr>
        <p:xfrm>
          <a:off x="4640834" y="1557406"/>
          <a:ext cx="3949188" cy="474358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48310"/>
                <a:gridCol w="180213"/>
                <a:gridCol w="490880"/>
                <a:gridCol w="50012"/>
                <a:gridCol w="417957"/>
                <a:gridCol w="332359"/>
                <a:gridCol w="26415"/>
                <a:gridCol w="52959"/>
                <a:gridCol w="86995"/>
                <a:gridCol w="95250"/>
                <a:gridCol w="25781"/>
                <a:gridCol w="26669"/>
                <a:gridCol w="26035"/>
                <a:gridCol w="25527"/>
                <a:gridCol w="112522"/>
                <a:gridCol w="39370"/>
                <a:gridCol w="29718"/>
                <a:gridCol w="31369"/>
                <a:gridCol w="26670"/>
                <a:gridCol w="89662"/>
                <a:gridCol w="60452"/>
                <a:gridCol w="30226"/>
                <a:gridCol w="26162"/>
                <a:gridCol w="29210"/>
                <a:gridCol w="26924"/>
                <a:gridCol w="33401"/>
                <a:gridCol w="32258"/>
                <a:gridCol w="26288"/>
                <a:gridCol w="26036"/>
                <a:gridCol w="30860"/>
                <a:gridCol w="89979"/>
                <a:gridCol w="40069"/>
                <a:gridCol w="62738"/>
                <a:gridCol w="94488"/>
                <a:gridCol w="299847"/>
                <a:gridCol w="425577"/>
              </a:tblGrid>
              <a:tr h="372999">
                <a:tc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9525">
                      <a:solidFill>
                        <a:srgbClr val="123076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gridSpan="31">
                  <a:txBody>
                    <a:bodyPr/>
                    <a:lstStyle/>
                    <a:p>
                      <a:pPr marL="762127">
                        <a:lnSpc>
                          <a:spcPct val="100000"/>
                        </a:lnSpc>
                      </a:pPr>
                      <a:r>
                        <a:rPr sz="1600" b="1" spc="1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Confidence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307617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</a:tr>
              <a:tr h="211201">
                <a:tc rowSpan="3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525">
                      <a:solidFill>
                        <a:srgbClr val="123076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9525">
                      <a:solidFill>
                        <a:srgbClr val="FFFFFF"/>
                      </a:solidFill>
                      <a:prstDash val="solid"/>
                    </a:lnB>
                  </a:tcPr>
                </a:tc>
                <a:tc rowSpan="3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123076"/>
                      </a:solidFill>
                      <a:prstDash val="solid"/>
                    </a:lnL>
                    <a:lnR w="9525">
                      <a:solidFill>
                        <a:srgbClr val="123076"/>
                      </a:solidFill>
                      <a:prstDash val="solid"/>
                    </a:lnR>
                    <a:lnT w="9525">
                      <a:solidFill>
                        <a:srgbClr val="123076"/>
                      </a:solidFill>
                      <a:prstDash val="solid"/>
                    </a:lnT>
                    <a:lnB w="9525">
                      <a:solidFill>
                        <a:srgbClr val="FFFFFF"/>
                      </a:solidFill>
                      <a:prstDash val="solid"/>
                    </a:lnB>
                  </a:tcPr>
                </a:tc>
                <a:tc gridSpan="2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230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3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</a:tr>
              <a:tr h="288734">
                <a:tc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123076"/>
                      </a:solidFill>
                      <a:prstDash val="soli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9525">
                      <a:solidFill>
                        <a:srgbClr val="FFFFFF"/>
                      </a:solidFill>
                      <a:prstDash val="solid"/>
                    </a:lnB>
                  </a:tcPr>
                </a:tc>
                <a:tc rowSpan="2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  <a:tc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  <a:tc gridSpan="30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</a:tr>
              <a:tr h="71031">
                <a:tc v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  <a:tc rowSpan="5" gridSpan="30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rowSpan="5" h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5" h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5" h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5" h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5" h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5" h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5" h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5" h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5" h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5" h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5" h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5" h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5" h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5" h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5" h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5" h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5" h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5" h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5" h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5" h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5" h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5" h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5" h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5" h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5" h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5" h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5" h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5" h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5" hMerge="1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5">
                  <a:txBody>
                    <a:bodyPr/>
                    <a:lstStyle/>
                    <a:p>
                      <a:endParaRPr sz="5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</a:tr>
              <a:tr h="114452">
                <a:tc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525">
                      <a:solidFill>
                        <a:srgbClr val="FFFFFF"/>
                      </a:solidFill>
                      <a:prstDash val="solid"/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525">
                      <a:solidFill>
                        <a:srgbClr val="FFFFFF"/>
                      </a:solidFill>
                      <a:prstDash val="solid"/>
                    </a:lnR>
                    <a:lnT w="9525">
                      <a:solidFill>
                        <a:srgbClr val="FFFFFF"/>
                      </a:solidFill>
                      <a:prstDash val="solid"/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3" gridSpan="2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FFFFFF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  <a:tc rowSpan="3"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30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</a:tr>
              <a:tr h="206946">
                <a:tc rowSpan="2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FFFFFF"/>
                      </a:solidFill>
                      <a:prstDash val="solid"/>
                    </a:lnL>
                    <a:lnR w="9525">
                      <a:solidFill>
                        <a:srgbClr val="123076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9525">
                      <a:solidFill>
                        <a:srgbClr val="FFFFFF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1230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>
                      <a:solidFill>
                        <a:srgbClr val="FFFFFF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2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30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</a:tr>
              <a:tr h="139128">
                <a:tc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123076"/>
                      </a:solidFill>
                      <a:prstDash val="solid"/>
                    </a:lnL>
                    <a:lnR w="9525">
                      <a:solidFill>
                        <a:srgbClr val="123076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9525">
                      <a:solidFill>
                        <a:srgbClr val="FFFFFF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123076"/>
                      </a:solidFill>
                      <a:prstDash val="solid"/>
                    </a:lnL>
                    <a:lnR w="9525">
                      <a:solidFill>
                        <a:srgbClr val="FFFFFF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9525">
                      <a:solidFill>
                        <a:srgbClr val="FFFFFF"/>
                      </a:solidFill>
                      <a:prstDash val="solid"/>
                    </a:lnB>
                    <a:solidFill>
                      <a:srgbClr val="FFFFFF"/>
                    </a:solidFill>
                  </a:tcPr>
                </a:tc>
                <a:tc gridSpan="2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30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</a:tr>
              <a:tr h="53213">
                <a:tc rowSpan="2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525">
                      <a:solidFill>
                        <a:srgbClr val="123076"/>
                      </a:solidFill>
                      <a:prstDash val="solid"/>
                    </a:lnR>
                    <a:lnT w="9525">
                      <a:solidFill>
                        <a:srgbClr val="FFFFFF"/>
                      </a:solidFill>
                      <a:prstDash val="solid"/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  <a:tc rowSpan="2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123076"/>
                      </a:solidFill>
                      <a:prstDash val="solid"/>
                    </a:lnL>
                    <a:lnR w="9525">
                      <a:solidFill>
                        <a:srgbClr val="123076"/>
                      </a:solidFill>
                      <a:prstDash val="solid"/>
                    </a:lnR>
                    <a:lnT w="9525">
                      <a:solidFill>
                        <a:srgbClr val="FFFFFF"/>
                      </a:solidFill>
                      <a:prstDash val="solid"/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  <a:tc rowSpan="2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123076"/>
                      </a:solidFill>
                      <a:prstDash val="soli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525">
                      <a:solidFill>
                        <a:srgbClr val="FFFFFF"/>
                      </a:solidFill>
                      <a:prstDash val="solid"/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  <a:tc gridSpan="2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30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</a:tr>
              <a:tr h="215709">
                <a:tc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2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30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</a:tr>
              <a:tr h="135699">
                <a:tc gridSpan="5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1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gridSpan="4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8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gridSpan="5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</a:tr>
              <a:tr h="55118">
                <a:tc rowSpan="8" gridSpan="5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  <a:tc rowSpan="8"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8"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8"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8"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1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9144">
                      <a:solidFill>
                        <a:srgbClr val="123076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gridSpan="9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gridSpan="5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</a:tr>
              <a:tr h="136778">
                <a:tc gridSpan="5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7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7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144">
                      <a:solidFill>
                        <a:srgbClr val="123076"/>
                      </a:solidFill>
                      <a:prstDash val="solid"/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12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</a:tr>
              <a:tr h="41910">
                <a:tc gridSpan="5" vMerge="1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7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9144">
                      <a:solidFill>
                        <a:srgbClr val="123076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gridSpan="8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2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144">
                      <a:solidFill>
                        <a:srgbClr val="123076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9144">
                      <a:solidFill>
                        <a:srgbClr val="123076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144">
                      <a:solidFill>
                        <a:srgbClr val="123076"/>
                      </a:solidFill>
                      <a:prstDash val="soli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2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9144">
                      <a:solidFill>
                        <a:srgbClr val="123076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7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 sz="3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</a:tr>
              <a:tr h="26416">
                <a:tc gridSpan="5" v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7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144">
                      <a:solidFill>
                        <a:srgbClr val="123076"/>
                      </a:solidFill>
                      <a:prstDash val="solid"/>
                    </a:lnR>
                    <a:lnT w="9144">
                      <a:solidFill>
                        <a:srgbClr val="123076"/>
                      </a:solidFill>
                      <a:prstDash val="solid"/>
                    </a:lnT>
                    <a:lnB w="9144">
                      <a:solidFill>
                        <a:srgbClr val="123076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144">
                      <a:solidFill>
                        <a:srgbClr val="123076"/>
                      </a:solidFill>
                      <a:prstDash val="solid"/>
                    </a:lnL>
                    <a:lnR w="9144">
                      <a:solidFill>
                        <a:srgbClr val="123076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144" cap="flat" cmpd="sng" algn="ctr">
                      <a:solidFill>
                        <a:srgbClr val="12307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7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144">
                      <a:solidFill>
                        <a:srgbClr val="123076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144">
                      <a:solidFill>
                        <a:srgbClr val="123076"/>
                      </a:solidFill>
                      <a:prstDash val="soli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144">
                      <a:solidFill>
                        <a:srgbClr val="123076"/>
                      </a:solidFill>
                      <a:prstDash val="solid"/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144">
                      <a:solidFill>
                        <a:srgbClr val="123076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144">
                      <a:solidFill>
                        <a:srgbClr val="123076"/>
                      </a:solidFill>
                      <a:prstDash val="soli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144">
                      <a:solidFill>
                        <a:srgbClr val="123076"/>
                      </a:solidFill>
                      <a:prstDash val="solid"/>
                    </a:lnR>
                    <a:lnT w="9144">
                      <a:solidFill>
                        <a:srgbClr val="123076"/>
                      </a:solidFill>
                      <a:prstDash val="solid"/>
                    </a:lnT>
                    <a:lnB w="9144">
                      <a:solidFill>
                        <a:srgbClr val="123076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7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144">
                      <a:solidFill>
                        <a:srgbClr val="123076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</a:tr>
              <a:tr h="30988">
                <a:tc gridSpan="5" v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7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144">
                      <a:solidFill>
                        <a:srgbClr val="123076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144">
                      <a:solidFill>
                        <a:srgbClr val="123076"/>
                      </a:solidFill>
                      <a:prstDash val="soli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144">
                      <a:solidFill>
                        <a:srgbClr val="123076"/>
                      </a:solidFill>
                      <a:prstDash val="solid"/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gridSpan="2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3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9144">
                      <a:solidFill>
                        <a:srgbClr val="123076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5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144">
                      <a:solidFill>
                        <a:srgbClr val="123076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3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144">
                      <a:solidFill>
                        <a:srgbClr val="123076"/>
                      </a:solidFill>
                      <a:prstDash val="solid"/>
                    </a:lnL>
                    <a:lnR w="9144">
                      <a:solidFill>
                        <a:srgbClr val="123076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2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144">
                      <a:solidFill>
                        <a:srgbClr val="123076"/>
                      </a:solidFill>
                      <a:prstDash val="soli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144">
                      <a:solidFill>
                        <a:srgbClr val="123076"/>
                      </a:solidFill>
                      <a:prstDash val="solid"/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7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</a:tr>
              <a:tr h="28956">
                <a:tc gridSpan="5" v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10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3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144">
                      <a:solidFill>
                        <a:srgbClr val="123076"/>
                      </a:solidFill>
                      <a:prstDash val="solid"/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3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144">
                      <a:solidFill>
                        <a:srgbClr val="123076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9144">
                      <a:solidFill>
                        <a:srgbClr val="123076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144">
                      <a:solidFill>
                        <a:srgbClr val="123076"/>
                      </a:solidFill>
                      <a:prstDash val="solid"/>
                    </a:lnL>
                    <a:lnR w="9144">
                      <a:solidFill>
                        <a:srgbClr val="123076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144">
                      <a:solidFill>
                        <a:srgbClr val="123076"/>
                      </a:solidFill>
                      <a:prstDash val="soli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9144">
                      <a:solidFill>
                        <a:srgbClr val="123076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gridSpan="1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</a:tr>
              <a:tr h="28575">
                <a:tc gridSpan="5" v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1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5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144">
                      <a:solidFill>
                        <a:srgbClr val="123076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144">
                      <a:solidFill>
                        <a:srgbClr val="123076"/>
                      </a:solidFill>
                      <a:prstDash val="soli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144">
                      <a:solidFill>
                        <a:srgbClr val="123076"/>
                      </a:solidFill>
                      <a:prstDash val="solid"/>
                    </a:lnT>
                    <a:lnB w="9144">
                      <a:solidFill>
                        <a:srgbClr val="123076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9144">
                      <a:solidFill>
                        <a:srgbClr val="123076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144">
                      <a:solidFill>
                        <a:srgbClr val="123076"/>
                      </a:solidFill>
                      <a:prstDash val="solid"/>
                    </a:lnR>
                    <a:lnT w="9144">
                      <a:solidFill>
                        <a:srgbClr val="123076"/>
                      </a:solidFill>
                      <a:prstDash val="solid"/>
                    </a:lnT>
                    <a:lnB w="9144">
                      <a:solidFill>
                        <a:srgbClr val="123076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gridSpan="1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144">
                      <a:solidFill>
                        <a:srgbClr val="123076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</a:tr>
              <a:tr h="100330">
                <a:tc gridSpan="5" vMerge="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1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5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3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144">
                      <a:solidFill>
                        <a:srgbClr val="123076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1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</a:tr>
              <a:tr h="189420">
                <a:tc gridSpan="5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30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</a:tr>
              <a:tr h="185483">
                <a:tc rowSpan="3" gridSpan="5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  <a:tc rowSpan="3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3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3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3"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3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144">
                      <a:solidFill>
                        <a:srgbClr val="123076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gridSpan="3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gridSpan="12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2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144">
                      <a:solidFill>
                        <a:srgbClr val="123076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6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144">
                      <a:solidFill>
                        <a:srgbClr val="123076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rowSpan="3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</a:tr>
              <a:tr h="55245">
                <a:tc gridSpan="5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144">
                      <a:solidFill>
                        <a:srgbClr val="123076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rowSpan="2" gridSpan="3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rowSpan="2" gridSpan="12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gridSpan="2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144">
                      <a:solidFill>
                        <a:srgbClr val="123076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gridSpan="6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rowSpan="2"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 h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2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144">
                      <a:solidFill>
                        <a:srgbClr val="123076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sz="4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</a:tr>
              <a:tr h="344043">
                <a:tc gridSpan="5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3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12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2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6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</a:tr>
              <a:tr h="185991">
                <a:tc gridSpan="5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30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</a:tr>
              <a:tr h="119951">
                <a:tc rowSpan="3" gridSpan="5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  <a:tc rowSpan="3"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3"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3"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3"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3" gridSpan="5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rowSpan="3"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3"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3"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3"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3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144">
                      <a:solidFill>
                        <a:srgbClr val="123076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gridSpan="20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144">
                      <a:solidFill>
                        <a:srgbClr val="123076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gridSpan="3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5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</a:tr>
              <a:tr h="120650">
                <a:tc gridSpan="5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5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20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144">
                      <a:solidFill>
                        <a:srgbClr val="123076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144">
                      <a:solidFill>
                        <a:srgbClr val="123076"/>
                      </a:solidFill>
                      <a:prstDash val="solid"/>
                    </a:lnL>
                    <a:lnR w="9144">
                      <a:solidFill>
                        <a:srgbClr val="123076"/>
                      </a:solidFill>
                      <a:prstDash val="solid"/>
                    </a:lnR>
                    <a:lnT w="9144">
                      <a:solidFill>
                        <a:srgbClr val="123076"/>
                      </a:solidFill>
                      <a:prstDash val="solid"/>
                    </a:lnT>
                    <a:lnB w="9144">
                      <a:solidFill>
                        <a:srgbClr val="123076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gridSpan="3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144">
                      <a:solidFill>
                        <a:srgbClr val="123076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</a:tr>
              <a:tr h="123190">
                <a:tc gridSpan="5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5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20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3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144">
                      <a:solidFill>
                        <a:srgbClr val="123076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rowSpan="3" gridSpan="3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rowSpan="3"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3"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</a:tr>
              <a:tr h="117094">
                <a:tc gridSpan="5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5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144">
                      <a:solidFill>
                        <a:srgbClr val="123076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144">
                      <a:solidFill>
                        <a:srgbClr val="123076"/>
                      </a:solidFill>
                      <a:prstDash val="solid"/>
                    </a:lnL>
                    <a:lnR w="9144">
                      <a:solidFill>
                        <a:srgbClr val="123076"/>
                      </a:solidFill>
                      <a:prstDash val="solid"/>
                    </a:lnR>
                    <a:lnT w="9144">
                      <a:solidFill>
                        <a:srgbClr val="123076"/>
                      </a:solidFill>
                      <a:prstDash val="solid"/>
                    </a:lnT>
                    <a:lnB w="9144">
                      <a:solidFill>
                        <a:srgbClr val="123076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gridSpan="20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144">
                      <a:solidFill>
                        <a:srgbClr val="123076"/>
                      </a:solidFill>
                      <a:prstDash val="soli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3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</a:tr>
              <a:tr h="103886">
                <a:tc gridSpan="5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5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144">
                      <a:solidFill>
                        <a:srgbClr val="123076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gridSpan="20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3" vMerge="1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 sz="8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</a:tr>
              <a:tr h="119240">
                <a:tc gridSpan="5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30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</a:tcPr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endParaRPr sz="9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</a:tr>
              <a:tr h="135737">
                <a:tc rowSpan="3" gridSpan="5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  <a:tc rowSpan="3"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3"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3"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3"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30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9525">
                      <a:solidFill>
                        <a:srgbClr val="000000"/>
                      </a:solidFill>
                      <a:prstDash val="solid"/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rowSpan="3">
                  <a:txBody>
                    <a:bodyPr/>
                    <a:lstStyle/>
                    <a:p>
                      <a:endParaRPr sz="10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0">
                      <a:solidFill>
                        <a:srgbClr val="000000">
                          <a:alpha val="0"/>
                        </a:srgbClr>
                      </a:solidFill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</a:tcPr>
                </a:tc>
              </a:tr>
              <a:tr h="85801">
                <a:tc gridSpan="5" v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8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22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9525">
                      <a:solidFill>
                        <a:srgbClr val="000000"/>
                      </a:solidFill>
                      <a:prstDash val="solid"/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0">
                      <a:solidFill>
                        <a:srgbClr val="000000">
                          <a:alpha val="0"/>
                        </a:srgbClr>
                      </a:solidFill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 sz="6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</a:tr>
              <a:tr h="363233">
                <a:tc gridSpan="5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gridSpan="30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0">
                      <a:solidFill>
                        <a:srgbClr val="000000">
                          <a:alpha val="0"/>
                        </a:srgbClr>
                      </a:solidFill>
                    </a:lnL>
                    <a:lnR w="9525">
                      <a:solidFill>
                        <a:srgbClr val="000000"/>
                      </a:solidFill>
                      <a:prstDash val="solid"/>
                    </a:lnR>
                    <a:lnT w="0">
                      <a:solidFill>
                        <a:srgbClr val="000000">
                          <a:alpha val="0"/>
                        </a:srgbClr>
                      </a:solidFill>
                    </a:lnT>
                    <a:lnB w="9525">
                      <a:solidFill>
                        <a:srgbClr val="000000"/>
                      </a:solidFill>
                      <a:prstDash val="solid"/>
                    </a:lnB>
                    <a:solidFill>
                      <a:srgbClr val="0E539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  <a:tc vMerge="1">
                  <a:txBody>
                    <a:bodyPr/>
                    <a:lstStyle/>
                    <a:p>
                      <a:endParaRPr sz="12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23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"/>
            <a:ext cx="9144000" cy="1103249"/>
          </a:xfrm>
          <a:prstGeom prst="rect">
            <a:avLst/>
          </a:prstGeom>
        </p:spPr>
      </p:pic>
      <p:pic>
        <p:nvPicPr>
          <p:cNvPr id="24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1757" y="6401004"/>
            <a:ext cx="678215" cy="457097"/>
          </a:xfrm>
          <a:prstGeom prst="rect">
            <a:avLst/>
          </a:prstGeom>
        </p:spPr>
      </p:pic>
      <p:pic>
        <p:nvPicPr>
          <p:cNvPr id="25" name="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300" y="335211"/>
            <a:ext cx="1537740" cy="1077300"/>
          </a:xfrm>
          <a:prstGeom prst="rect">
            <a:avLst/>
          </a:prstGeom>
        </p:spPr>
      </p:pic>
      <p:pic>
        <p:nvPicPr>
          <p:cNvPr id="26" name="Image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4192" y="1682496"/>
            <a:ext cx="469392" cy="4788408"/>
          </a:xfrm>
          <a:prstGeom prst="rect">
            <a:avLst/>
          </a:prstGeom>
        </p:spPr>
      </p:pic>
      <p:pic>
        <p:nvPicPr>
          <p:cNvPr id="27" name="Image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8826" y="1239685"/>
            <a:ext cx="8650491" cy="5164290"/>
          </a:xfrm>
          <a:prstGeom prst="rect">
            <a:avLst/>
          </a:prstGeom>
        </p:spPr>
      </p:pic>
      <p:sp>
        <p:nvSpPr>
          <p:cNvPr id="2" name="text 1"/>
          <p:cNvSpPr txBox="1"/>
          <p:nvPr/>
        </p:nvSpPr>
        <p:spPr>
          <a:xfrm>
            <a:off x="4267454" y="1807534"/>
            <a:ext cx="599844" cy="32765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929" spc="10" dirty="0">
                <a:solidFill>
                  <a:prstClr val="black"/>
                </a:solidFill>
                <a:latin typeface="Verdana"/>
                <a:cs typeface="Verdana"/>
              </a:rPr>
              <a:t>February-</a:t>
            </a:r>
            <a:endParaRPr sz="900">
              <a:solidFill>
                <a:prstClr val="black"/>
              </a:solidFill>
              <a:latin typeface="Verdana"/>
              <a:cs typeface="Verdana"/>
            </a:endParaRPr>
          </a:p>
          <a:p>
            <a:pPr marL="198120"/>
            <a:r>
              <a:rPr sz="1200" spc="10" dirty="0">
                <a:solidFill>
                  <a:prstClr val="black"/>
                </a:solidFill>
                <a:latin typeface="Verdana"/>
                <a:cs typeface="Verdana"/>
              </a:rPr>
              <a:t>April</a:t>
            </a:r>
            <a:endParaRPr sz="1200">
              <a:solidFill>
                <a:prstClr val="black"/>
              </a:solidFill>
              <a:latin typeface="Verdana"/>
              <a:cs typeface="Verdana"/>
            </a:endParaRPr>
          </a:p>
        </p:txBody>
      </p:sp>
      <p:sp>
        <p:nvSpPr>
          <p:cNvPr id="743" name="object 743"/>
          <p:cNvSpPr/>
          <p:nvPr/>
        </p:nvSpPr>
        <p:spPr>
          <a:xfrm>
            <a:off x="4794250" y="2549588"/>
            <a:ext cx="1166812" cy="277812"/>
          </a:xfrm>
          <a:custGeom>
            <a:avLst/>
            <a:gdLst/>
            <a:ahLst/>
            <a:cxnLst/>
            <a:rect l="l" t="t" r="r" b="b"/>
            <a:pathLst>
              <a:path w="1166812" h="277812">
                <a:moveTo>
                  <a:pt x="0" y="0"/>
                </a:moveTo>
                <a:lnTo>
                  <a:pt x="0" y="277813"/>
                </a:lnTo>
                <a:lnTo>
                  <a:pt x="1166812" y="277813"/>
                </a:lnTo>
                <a:lnTo>
                  <a:pt x="1166812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44" name="object 744"/>
          <p:cNvSpPr/>
          <p:nvPr/>
        </p:nvSpPr>
        <p:spPr>
          <a:xfrm>
            <a:off x="4789543" y="2544938"/>
            <a:ext cx="1176337" cy="287337"/>
          </a:xfrm>
          <a:custGeom>
            <a:avLst/>
            <a:gdLst/>
            <a:ahLst/>
            <a:cxnLst/>
            <a:rect l="l" t="t" r="r" b="b"/>
            <a:pathLst>
              <a:path w="1176337" h="287337">
                <a:moveTo>
                  <a:pt x="4763" y="4762"/>
                </a:moveTo>
                <a:lnTo>
                  <a:pt x="4763" y="282575"/>
                </a:lnTo>
                <a:lnTo>
                  <a:pt x="1171575" y="282575"/>
                </a:lnTo>
                <a:lnTo>
                  <a:pt x="1171575" y="4762"/>
                </a:lnTo>
                <a:lnTo>
                  <a:pt x="4763" y="4762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" name="text 1"/>
          <p:cNvSpPr txBox="1"/>
          <p:nvPr/>
        </p:nvSpPr>
        <p:spPr>
          <a:xfrm>
            <a:off x="4941697" y="2593664"/>
            <a:ext cx="899798" cy="18466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200" spc="10" dirty="0">
                <a:solidFill>
                  <a:prstClr val="black"/>
                </a:solidFill>
                <a:latin typeface="Verdana"/>
                <a:cs typeface="Verdana"/>
              </a:rPr>
              <a:t>March-June</a:t>
            </a:r>
            <a:endParaRPr sz="1200">
              <a:solidFill>
                <a:prstClr val="black"/>
              </a:solidFill>
              <a:latin typeface="Verdana"/>
              <a:cs typeface="Verdana"/>
            </a:endParaRPr>
          </a:p>
        </p:txBody>
      </p:sp>
      <p:sp>
        <p:nvSpPr>
          <p:cNvPr id="745" name="object 745"/>
          <p:cNvSpPr/>
          <p:nvPr/>
        </p:nvSpPr>
        <p:spPr>
          <a:xfrm>
            <a:off x="4040251" y="2897363"/>
            <a:ext cx="781050" cy="276225"/>
          </a:xfrm>
          <a:custGeom>
            <a:avLst/>
            <a:gdLst/>
            <a:ahLst/>
            <a:cxnLst/>
            <a:rect l="l" t="t" r="r" b="b"/>
            <a:pathLst>
              <a:path w="781050" h="276225">
                <a:moveTo>
                  <a:pt x="0" y="0"/>
                </a:moveTo>
                <a:lnTo>
                  <a:pt x="0" y="276225"/>
                </a:lnTo>
                <a:lnTo>
                  <a:pt x="781050" y="276225"/>
                </a:lnTo>
                <a:lnTo>
                  <a:pt x="78105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46" name="object 746"/>
          <p:cNvSpPr/>
          <p:nvPr/>
        </p:nvSpPr>
        <p:spPr>
          <a:xfrm>
            <a:off x="4035488" y="2892488"/>
            <a:ext cx="790575" cy="285750"/>
          </a:xfrm>
          <a:custGeom>
            <a:avLst/>
            <a:gdLst/>
            <a:ahLst/>
            <a:cxnLst/>
            <a:rect l="l" t="t" r="r" b="b"/>
            <a:pathLst>
              <a:path w="790575" h="285750">
                <a:moveTo>
                  <a:pt x="4763" y="4763"/>
                </a:moveTo>
                <a:lnTo>
                  <a:pt x="4763" y="280988"/>
                </a:lnTo>
                <a:lnTo>
                  <a:pt x="785813" y="280988"/>
                </a:lnTo>
                <a:lnTo>
                  <a:pt x="785813" y="4763"/>
                </a:lnTo>
                <a:lnTo>
                  <a:pt x="4763" y="4763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text 1"/>
          <p:cNvSpPr txBox="1"/>
          <p:nvPr/>
        </p:nvSpPr>
        <p:spPr>
          <a:xfrm>
            <a:off x="4277868" y="2941390"/>
            <a:ext cx="316818" cy="18466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200" spc="10" dirty="0">
                <a:solidFill>
                  <a:prstClr val="black"/>
                </a:solidFill>
                <a:latin typeface="Verdana"/>
                <a:cs typeface="Verdana"/>
              </a:rPr>
              <a:t>May</a:t>
            </a:r>
            <a:endParaRPr sz="1200">
              <a:solidFill>
                <a:prstClr val="black"/>
              </a:solidFill>
              <a:latin typeface="Verdana"/>
              <a:cs typeface="Verdana"/>
            </a:endParaRPr>
          </a:p>
        </p:txBody>
      </p:sp>
      <p:sp>
        <p:nvSpPr>
          <p:cNvPr id="747" name="object 747"/>
          <p:cNvSpPr/>
          <p:nvPr/>
        </p:nvSpPr>
        <p:spPr>
          <a:xfrm>
            <a:off x="4830826" y="3449709"/>
            <a:ext cx="893762" cy="276225"/>
          </a:xfrm>
          <a:custGeom>
            <a:avLst/>
            <a:gdLst/>
            <a:ahLst/>
            <a:cxnLst/>
            <a:rect l="l" t="t" r="r" b="b"/>
            <a:pathLst>
              <a:path w="893762" h="276225">
                <a:moveTo>
                  <a:pt x="0" y="0"/>
                </a:moveTo>
                <a:lnTo>
                  <a:pt x="0" y="276225"/>
                </a:lnTo>
                <a:lnTo>
                  <a:pt x="893762" y="276225"/>
                </a:lnTo>
                <a:lnTo>
                  <a:pt x="893762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48" name="object 748"/>
          <p:cNvSpPr/>
          <p:nvPr/>
        </p:nvSpPr>
        <p:spPr>
          <a:xfrm>
            <a:off x="4826119" y="3444938"/>
            <a:ext cx="903287" cy="285750"/>
          </a:xfrm>
          <a:custGeom>
            <a:avLst/>
            <a:gdLst/>
            <a:ahLst/>
            <a:cxnLst/>
            <a:rect l="l" t="t" r="r" b="b"/>
            <a:pathLst>
              <a:path w="903287" h="285750">
                <a:moveTo>
                  <a:pt x="4763" y="4763"/>
                </a:moveTo>
                <a:lnTo>
                  <a:pt x="4763" y="280988"/>
                </a:lnTo>
                <a:lnTo>
                  <a:pt x="898525" y="280988"/>
                </a:lnTo>
                <a:lnTo>
                  <a:pt x="898525" y="4763"/>
                </a:lnTo>
                <a:lnTo>
                  <a:pt x="4763" y="4763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" name="text 1"/>
          <p:cNvSpPr txBox="1"/>
          <p:nvPr/>
        </p:nvSpPr>
        <p:spPr>
          <a:xfrm>
            <a:off x="5130673" y="3493967"/>
            <a:ext cx="306494" cy="18466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200" spc="10" dirty="0">
                <a:solidFill>
                  <a:prstClr val="black"/>
                </a:solidFill>
                <a:latin typeface="Verdana"/>
                <a:cs typeface="Verdana"/>
              </a:rPr>
              <a:t>July</a:t>
            </a:r>
            <a:endParaRPr sz="1200">
              <a:solidFill>
                <a:prstClr val="black"/>
              </a:solidFill>
              <a:latin typeface="Verdana"/>
              <a:cs typeface="Verdana"/>
            </a:endParaRPr>
          </a:p>
        </p:txBody>
      </p:sp>
      <p:sp>
        <p:nvSpPr>
          <p:cNvPr id="749" name="object 749"/>
          <p:cNvSpPr/>
          <p:nvPr/>
        </p:nvSpPr>
        <p:spPr>
          <a:xfrm>
            <a:off x="4437126" y="4803711"/>
            <a:ext cx="1227137" cy="277812"/>
          </a:xfrm>
          <a:custGeom>
            <a:avLst/>
            <a:gdLst/>
            <a:ahLst/>
            <a:cxnLst/>
            <a:rect l="l" t="t" r="r" b="b"/>
            <a:pathLst>
              <a:path w="1227137" h="277812">
                <a:moveTo>
                  <a:pt x="0" y="0"/>
                </a:moveTo>
                <a:lnTo>
                  <a:pt x="0" y="277813"/>
                </a:lnTo>
                <a:lnTo>
                  <a:pt x="1227137" y="277813"/>
                </a:lnTo>
                <a:lnTo>
                  <a:pt x="1227137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50" name="object 750"/>
          <p:cNvSpPr/>
          <p:nvPr/>
        </p:nvSpPr>
        <p:spPr>
          <a:xfrm>
            <a:off x="4432367" y="4799061"/>
            <a:ext cx="1236662" cy="287337"/>
          </a:xfrm>
          <a:custGeom>
            <a:avLst/>
            <a:gdLst/>
            <a:ahLst/>
            <a:cxnLst/>
            <a:rect l="l" t="t" r="r" b="b"/>
            <a:pathLst>
              <a:path w="1236662" h="287337">
                <a:moveTo>
                  <a:pt x="4763" y="4762"/>
                </a:moveTo>
                <a:lnTo>
                  <a:pt x="4763" y="282575"/>
                </a:lnTo>
                <a:lnTo>
                  <a:pt x="1231900" y="282575"/>
                </a:lnTo>
                <a:lnTo>
                  <a:pt x="1231900" y="4762"/>
                </a:lnTo>
                <a:lnTo>
                  <a:pt x="4763" y="4762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" name="text 1"/>
          <p:cNvSpPr txBox="1"/>
          <p:nvPr/>
        </p:nvSpPr>
        <p:spPr>
          <a:xfrm>
            <a:off x="4700270" y="4848295"/>
            <a:ext cx="728276" cy="18466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200" spc="10" dirty="0">
                <a:solidFill>
                  <a:prstClr val="black"/>
                </a:solidFill>
                <a:latin typeface="Verdana"/>
                <a:cs typeface="Verdana"/>
              </a:rPr>
              <a:t>April-July</a:t>
            </a:r>
            <a:endParaRPr sz="1200">
              <a:solidFill>
                <a:prstClr val="black"/>
              </a:solidFill>
              <a:latin typeface="Verdana"/>
              <a:cs typeface="Verdana"/>
            </a:endParaRP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29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"/>
            <a:ext cx="9144000" cy="1103249"/>
          </a:xfrm>
          <a:prstGeom prst="rect">
            <a:avLst/>
          </a:prstGeom>
        </p:spPr>
      </p:pic>
      <p:pic>
        <p:nvPicPr>
          <p:cNvPr id="30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1757" y="6401004"/>
            <a:ext cx="678215" cy="457097"/>
          </a:xfrm>
          <a:prstGeom prst="rect">
            <a:avLst/>
          </a:prstGeom>
        </p:spPr>
      </p:pic>
      <p:pic>
        <p:nvPicPr>
          <p:cNvPr id="31" name="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300" y="335211"/>
            <a:ext cx="1537740" cy="1077300"/>
          </a:xfrm>
          <a:prstGeom prst="rect">
            <a:avLst/>
          </a:prstGeom>
        </p:spPr>
      </p:pic>
      <p:pic>
        <p:nvPicPr>
          <p:cNvPr id="32" name="Image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320" y="5301996"/>
            <a:ext cx="2665476" cy="1290828"/>
          </a:xfrm>
          <a:prstGeom prst="rect">
            <a:avLst/>
          </a:prstGeom>
        </p:spPr>
      </p:pic>
      <p:pic>
        <p:nvPicPr>
          <p:cNvPr id="33" name="Image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2624" y="5341620"/>
            <a:ext cx="2453640" cy="839724"/>
          </a:xfrm>
          <a:prstGeom prst="rect">
            <a:avLst/>
          </a:prstGeom>
        </p:spPr>
      </p:pic>
      <p:sp>
        <p:nvSpPr>
          <p:cNvPr id="751" name="object 751"/>
          <p:cNvSpPr/>
          <p:nvPr/>
        </p:nvSpPr>
        <p:spPr>
          <a:xfrm>
            <a:off x="1084262" y="5326238"/>
            <a:ext cx="2570162" cy="1196911"/>
          </a:xfrm>
          <a:custGeom>
            <a:avLst/>
            <a:gdLst/>
            <a:ahLst/>
            <a:cxnLst/>
            <a:rect l="l" t="t" r="r" b="b"/>
            <a:pathLst>
              <a:path w="2570162" h="1196911">
                <a:moveTo>
                  <a:pt x="0" y="199390"/>
                </a:moveTo>
                <a:cubicBezTo>
                  <a:pt x="0" y="89281"/>
                  <a:pt x="89319" y="0"/>
                  <a:pt x="199454" y="0"/>
                </a:cubicBezTo>
                <a:lnTo>
                  <a:pt x="2370646" y="0"/>
                </a:lnTo>
                <a:cubicBezTo>
                  <a:pt x="2480882" y="0"/>
                  <a:pt x="2570163" y="89281"/>
                  <a:pt x="2570163" y="199390"/>
                </a:cubicBezTo>
                <a:lnTo>
                  <a:pt x="2570163" y="997407"/>
                </a:lnTo>
                <a:cubicBezTo>
                  <a:pt x="2570163" y="1107592"/>
                  <a:pt x="2480882" y="1196911"/>
                  <a:pt x="2370646" y="1196911"/>
                </a:cubicBezTo>
                <a:lnTo>
                  <a:pt x="199454" y="1196911"/>
                </a:lnTo>
                <a:cubicBezTo>
                  <a:pt x="89319" y="1196911"/>
                  <a:pt x="0" y="1107592"/>
                  <a:pt x="0" y="997407"/>
                </a:cubicBezTo>
                <a:close/>
              </a:path>
            </a:pathLst>
          </a:custGeom>
          <a:solidFill>
            <a:srgbClr val="123076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52" name="object 752"/>
          <p:cNvSpPr/>
          <p:nvPr/>
        </p:nvSpPr>
        <p:spPr>
          <a:xfrm>
            <a:off x="1079532" y="5321363"/>
            <a:ext cx="2579687" cy="1206436"/>
          </a:xfrm>
          <a:custGeom>
            <a:avLst/>
            <a:gdLst/>
            <a:ahLst/>
            <a:cxnLst/>
            <a:rect l="l" t="t" r="r" b="b"/>
            <a:pathLst>
              <a:path w="2579687" h="1206436">
                <a:moveTo>
                  <a:pt x="4762" y="204153"/>
                </a:moveTo>
                <a:cubicBezTo>
                  <a:pt x="4762" y="94044"/>
                  <a:pt x="94081" y="4763"/>
                  <a:pt x="204216" y="4763"/>
                </a:cubicBezTo>
                <a:lnTo>
                  <a:pt x="2375408" y="4763"/>
                </a:lnTo>
                <a:cubicBezTo>
                  <a:pt x="2485644" y="4763"/>
                  <a:pt x="2574925" y="94044"/>
                  <a:pt x="2574925" y="204153"/>
                </a:cubicBezTo>
                <a:lnTo>
                  <a:pt x="2574925" y="1002170"/>
                </a:lnTo>
                <a:cubicBezTo>
                  <a:pt x="2574925" y="1112355"/>
                  <a:pt x="2485644" y="1201674"/>
                  <a:pt x="2375408" y="1201674"/>
                </a:cubicBezTo>
                <a:lnTo>
                  <a:pt x="204216" y="1201674"/>
                </a:lnTo>
                <a:cubicBezTo>
                  <a:pt x="94081" y="1201674"/>
                  <a:pt x="4762" y="1112355"/>
                  <a:pt x="4762" y="1002170"/>
                </a:cubicBezTo>
                <a:close/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text 1"/>
          <p:cNvSpPr txBox="1"/>
          <p:nvPr/>
        </p:nvSpPr>
        <p:spPr>
          <a:xfrm>
            <a:off x="1362457" y="5451666"/>
            <a:ext cx="1418978" cy="49859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440" b="1" spc="10" dirty="0">
                <a:solidFill>
                  <a:srgbClr val="FFFFFF"/>
                </a:solidFill>
                <a:latin typeface="Arial"/>
                <a:cs typeface="Arial"/>
              </a:rPr>
              <a:t>EU-Coordinated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  <a:p>
            <a:pPr marL="635762"/>
            <a:r>
              <a:rPr b="1" spc="10" dirty="0">
                <a:solidFill>
                  <a:srgbClr val="FFFFFF"/>
                </a:solidFill>
                <a:latin typeface="Arial"/>
                <a:cs typeface="Arial"/>
              </a:rPr>
              <a:t>Cases</a:t>
            </a:r>
            <a:endParaRPr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34" name="Image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84192" y="1682496"/>
            <a:ext cx="469392" cy="4788408"/>
          </a:xfrm>
          <a:prstGeom prst="rect">
            <a:avLst/>
          </a:prstGeom>
        </p:spPr>
      </p:pic>
      <p:pic>
        <p:nvPicPr>
          <p:cNvPr id="35" name="Image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1123" y="1407962"/>
            <a:ext cx="3263544" cy="4996015"/>
          </a:xfrm>
          <a:prstGeom prst="rect">
            <a:avLst/>
          </a:prstGeom>
        </p:spPr>
      </p:pic>
      <p:pic>
        <p:nvPicPr>
          <p:cNvPr id="36" name="Image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197" y="2180856"/>
            <a:ext cx="1679575" cy="1209852"/>
          </a:xfrm>
          <a:prstGeom prst="rect">
            <a:avLst/>
          </a:prstGeom>
        </p:spPr>
      </p:pic>
      <p:sp>
        <p:nvSpPr>
          <p:cNvPr id="3" name="text 1"/>
          <p:cNvSpPr txBox="1"/>
          <p:nvPr/>
        </p:nvSpPr>
        <p:spPr>
          <a:xfrm>
            <a:off x="4214114" y="2690260"/>
            <a:ext cx="472886" cy="18466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200" spc="10" dirty="0">
                <a:solidFill>
                  <a:prstClr val="black"/>
                </a:solidFill>
                <a:latin typeface="Verdana"/>
                <a:cs typeface="Verdana"/>
              </a:rPr>
              <a:t>March</a:t>
            </a:r>
            <a:endParaRPr sz="1200">
              <a:solidFill>
                <a:prstClr val="black"/>
              </a:solidFill>
              <a:latin typeface="Verdana"/>
              <a:cs typeface="Verdana"/>
            </a:endParaRPr>
          </a:p>
        </p:txBody>
      </p:sp>
      <p:sp>
        <p:nvSpPr>
          <p:cNvPr id="753" name="object 753"/>
          <p:cNvSpPr/>
          <p:nvPr/>
        </p:nvSpPr>
        <p:spPr>
          <a:xfrm>
            <a:off x="4194175" y="3324226"/>
            <a:ext cx="781050" cy="276225"/>
          </a:xfrm>
          <a:custGeom>
            <a:avLst/>
            <a:gdLst/>
            <a:ahLst/>
            <a:cxnLst/>
            <a:rect l="l" t="t" r="r" b="b"/>
            <a:pathLst>
              <a:path w="781050" h="276225">
                <a:moveTo>
                  <a:pt x="0" y="0"/>
                </a:moveTo>
                <a:lnTo>
                  <a:pt x="0" y="276225"/>
                </a:lnTo>
                <a:lnTo>
                  <a:pt x="781050" y="276225"/>
                </a:lnTo>
                <a:lnTo>
                  <a:pt x="78105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54" name="object 754"/>
          <p:cNvSpPr/>
          <p:nvPr/>
        </p:nvSpPr>
        <p:spPr>
          <a:xfrm>
            <a:off x="4189412" y="3319462"/>
            <a:ext cx="790575" cy="285750"/>
          </a:xfrm>
          <a:custGeom>
            <a:avLst/>
            <a:gdLst/>
            <a:ahLst/>
            <a:cxnLst/>
            <a:rect l="l" t="t" r="r" b="b"/>
            <a:pathLst>
              <a:path w="790575" h="285750">
                <a:moveTo>
                  <a:pt x="4763" y="4763"/>
                </a:moveTo>
                <a:lnTo>
                  <a:pt x="4763" y="280988"/>
                </a:lnTo>
                <a:lnTo>
                  <a:pt x="785813" y="280988"/>
                </a:lnTo>
                <a:lnTo>
                  <a:pt x="785813" y="4763"/>
                </a:lnTo>
                <a:lnTo>
                  <a:pt x="4763" y="4763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text 1"/>
          <p:cNvSpPr txBox="1"/>
          <p:nvPr/>
        </p:nvSpPr>
        <p:spPr>
          <a:xfrm>
            <a:off x="4411981" y="3368491"/>
            <a:ext cx="357470" cy="18466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200" spc="10" dirty="0">
                <a:solidFill>
                  <a:prstClr val="black"/>
                </a:solidFill>
                <a:latin typeface="Verdana"/>
                <a:cs typeface="Verdana"/>
              </a:rPr>
              <a:t>April</a:t>
            </a:r>
            <a:endParaRPr sz="1200">
              <a:solidFill>
                <a:prstClr val="black"/>
              </a:solidFill>
              <a:latin typeface="Verdana"/>
              <a:cs typeface="Verdana"/>
            </a:endParaRPr>
          </a:p>
        </p:txBody>
      </p:sp>
      <p:sp>
        <p:nvSpPr>
          <p:cNvPr id="755" name="object 755"/>
          <p:cNvSpPr/>
          <p:nvPr/>
        </p:nvSpPr>
        <p:spPr>
          <a:xfrm>
            <a:off x="3979926" y="4052887"/>
            <a:ext cx="1227137" cy="277812"/>
          </a:xfrm>
          <a:custGeom>
            <a:avLst/>
            <a:gdLst/>
            <a:ahLst/>
            <a:cxnLst/>
            <a:rect l="l" t="t" r="r" b="b"/>
            <a:pathLst>
              <a:path w="1227137" h="277812">
                <a:moveTo>
                  <a:pt x="0" y="0"/>
                </a:moveTo>
                <a:lnTo>
                  <a:pt x="0" y="277813"/>
                </a:lnTo>
                <a:lnTo>
                  <a:pt x="1227137" y="277813"/>
                </a:lnTo>
                <a:lnTo>
                  <a:pt x="1227137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56" name="object 756"/>
          <p:cNvSpPr/>
          <p:nvPr/>
        </p:nvSpPr>
        <p:spPr>
          <a:xfrm>
            <a:off x="3975167" y="4048126"/>
            <a:ext cx="1236662" cy="287337"/>
          </a:xfrm>
          <a:custGeom>
            <a:avLst/>
            <a:gdLst/>
            <a:ahLst/>
            <a:cxnLst/>
            <a:rect l="l" t="t" r="r" b="b"/>
            <a:pathLst>
              <a:path w="1236662" h="287337">
                <a:moveTo>
                  <a:pt x="4763" y="4762"/>
                </a:moveTo>
                <a:lnTo>
                  <a:pt x="4763" y="282575"/>
                </a:lnTo>
                <a:lnTo>
                  <a:pt x="1231900" y="282575"/>
                </a:lnTo>
                <a:lnTo>
                  <a:pt x="1231900" y="4762"/>
                </a:lnTo>
                <a:lnTo>
                  <a:pt x="4763" y="4762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" name="text 1"/>
          <p:cNvSpPr txBox="1"/>
          <p:nvPr/>
        </p:nvSpPr>
        <p:spPr>
          <a:xfrm>
            <a:off x="4201981" y="4097217"/>
            <a:ext cx="801245" cy="18466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200" spc="10" dirty="0">
                <a:solidFill>
                  <a:prstClr val="black"/>
                </a:solidFill>
                <a:latin typeface="Verdana"/>
                <a:cs typeface="Verdana"/>
              </a:rPr>
              <a:t>November</a:t>
            </a:r>
            <a:endParaRPr sz="1200">
              <a:solidFill>
                <a:prstClr val="black"/>
              </a:solidFill>
              <a:latin typeface="Verdana"/>
              <a:cs typeface="Verdana"/>
            </a:endParaRPr>
          </a:p>
        </p:txBody>
      </p:sp>
      <p:pic>
        <p:nvPicPr>
          <p:cNvPr id="37" name="Image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3258" y="3771544"/>
            <a:ext cx="1737741" cy="840524"/>
          </a:xfrm>
          <a:prstGeom prst="rect">
            <a:avLst/>
          </a:prstGeom>
        </p:spPr>
      </p:pic>
      <p:pic>
        <p:nvPicPr>
          <p:cNvPr id="38" name="Image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607" y="5850049"/>
            <a:ext cx="1235075" cy="822325"/>
          </a:xfrm>
          <a:prstGeom prst="rect">
            <a:avLst/>
          </a:prstGeom>
        </p:spPr>
      </p:pic>
      <p:pic>
        <p:nvPicPr>
          <p:cNvPr id="39" name="Image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2231" y="6046899"/>
            <a:ext cx="427037" cy="428625"/>
          </a:xfrm>
          <a:prstGeom prst="rect">
            <a:avLst/>
          </a:prstGeom>
        </p:spPr>
      </p:pic>
      <p:sp>
        <p:nvSpPr>
          <p:cNvPr id="757" name="object 757"/>
          <p:cNvSpPr/>
          <p:nvPr/>
        </p:nvSpPr>
        <p:spPr>
          <a:xfrm>
            <a:off x="4270431" y="2046287"/>
            <a:ext cx="1012825" cy="277812"/>
          </a:xfrm>
          <a:custGeom>
            <a:avLst/>
            <a:gdLst/>
            <a:ahLst/>
            <a:cxnLst/>
            <a:rect l="l" t="t" r="r" b="b"/>
            <a:pathLst>
              <a:path w="1012825" h="277812">
                <a:moveTo>
                  <a:pt x="0" y="0"/>
                </a:moveTo>
                <a:lnTo>
                  <a:pt x="0" y="277813"/>
                </a:lnTo>
                <a:lnTo>
                  <a:pt x="1012825" y="277813"/>
                </a:lnTo>
                <a:lnTo>
                  <a:pt x="1012825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58" name="object 758"/>
          <p:cNvSpPr/>
          <p:nvPr/>
        </p:nvSpPr>
        <p:spPr>
          <a:xfrm>
            <a:off x="4265612" y="2041637"/>
            <a:ext cx="1022350" cy="287337"/>
          </a:xfrm>
          <a:custGeom>
            <a:avLst/>
            <a:gdLst/>
            <a:ahLst/>
            <a:cxnLst/>
            <a:rect l="l" t="t" r="r" b="b"/>
            <a:pathLst>
              <a:path w="1022350" h="287337">
                <a:moveTo>
                  <a:pt x="4763" y="4762"/>
                </a:moveTo>
                <a:lnTo>
                  <a:pt x="4763" y="282575"/>
                </a:lnTo>
                <a:lnTo>
                  <a:pt x="1017588" y="282575"/>
                </a:lnTo>
                <a:lnTo>
                  <a:pt x="1017588" y="4762"/>
                </a:lnTo>
                <a:lnTo>
                  <a:pt x="4763" y="4762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" name="text 1"/>
          <p:cNvSpPr txBox="1"/>
          <p:nvPr/>
        </p:nvSpPr>
        <p:spPr>
          <a:xfrm>
            <a:off x="4437888" y="2090109"/>
            <a:ext cx="695768" cy="18466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200" spc="10" dirty="0">
                <a:solidFill>
                  <a:prstClr val="black"/>
                </a:solidFill>
                <a:latin typeface="Verdana"/>
                <a:cs typeface="Verdana"/>
              </a:rPr>
              <a:t>February</a:t>
            </a:r>
            <a:endParaRPr sz="1200">
              <a:solidFill>
                <a:prstClr val="black"/>
              </a:solidFill>
              <a:latin typeface="Verdana"/>
              <a:cs typeface="Verdana"/>
            </a:endParaRPr>
          </a:p>
        </p:txBody>
      </p:sp>
      <p:pic>
        <p:nvPicPr>
          <p:cNvPr id="40" name="Image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5120" y="2056153"/>
            <a:ext cx="2241804" cy="655853"/>
          </a:xfrm>
          <a:prstGeom prst="rect">
            <a:avLst/>
          </a:prstGeom>
        </p:spPr>
      </p:pic>
      <p:sp>
        <p:nvSpPr>
          <p:cNvPr id="759" name="object 759"/>
          <p:cNvSpPr/>
          <p:nvPr/>
        </p:nvSpPr>
        <p:spPr>
          <a:xfrm>
            <a:off x="7699248" y="2046707"/>
            <a:ext cx="1193215" cy="461670"/>
          </a:xfrm>
          <a:custGeom>
            <a:avLst/>
            <a:gdLst/>
            <a:ahLst/>
            <a:cxnLst/>
            <a:rect l="l" t="t" r="r" b="b"/>
            <a:pathLst>
              <a:path w="1193215" h="461670">
                <a:moveTo>
                  <a:pt x="0" y="0"/>
                </a:moveTo>
                <a:lnTo>
                  <a:pt x="0" y="461670"/>
                </a:lnTo>
                <a:lnTo>
                  <a:pt x="1193215" y="461670"/>
                </a:lnTo>
                <a:lnTo>
                  <a:pt x="1193215" y="0"/>
                </a:lnTo>
                <a:lnTo>
                  <a:pt x="0" y="0"/>
                </a:ln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60" name="object 760"/>
          <p:cNvSpPr/>
          <p:nvPr/>
        </p:nvSpPr>
        <p:spPr>
          <a:xfrm>
            <a:off x="7694485" y="2042056"/>
            <a:ext cx="1202740" cy="471195"/>
          </a:xfrm>
          <a:custGeom>
            <a:avLst/>
            <a:gdLst/>
            <a:ahLst/>
            <a:cxnLst/>
            <a:rect l="l" t="t" r="r" b="b"/>
            <a:pathLst>
              <a:path w="1202740" h="471195">
                <a:moveTo>
                  <a:pt x="4763" y="4763"/>
                </a:moveTo>
                <a:lnTo>
                  <a:pt x="4763" y="466433"/>
                </a:lnTo>
                <a:lnTo>
                  <a:pt x="1197978" y="466433"/>
                </a:lnTo>
                <a:lnTo>
                  <a:pt x="1197978" y="4763"/>
                </a:lnTo>
                <a:lnTo>
                  <a:pt x="4763" y="4763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61" name="object 761"/>
          <p:cNvSpPr/>
          <p:nvPr/>
        </p:nvSpPr>
        <p:spPr>
          <a:xfrm>
            <a:off x="8141593" y="2130425"/>
            <a:ext cx="304546" cy="115062"/>
          </a:xfrm>
          <a:custGeom>
            <a:avLst/>
            <a:gdLst/>
            <a:ahLst/>
            <a:cxnLst/>
            <a:rect l="l" t="t" r="r" b="b"/>
            <a:pathLst>
              <a:path w="304546" h="115062">
                <a:moveTo>
                  <a:pt x="124841" y="22479"/>
                </a:moveTo>
                <a:lnTo>
                  <a:pt x="124841" y="52324"/>
                </a:lnTo>
                <a:lnTo>
                  <a:pt x="133604" y="52324"/>
                </a:lnTo>
                <a:cubicBezTo>
                  <a:pt x="138176" y="52324"/>
                  <a:pt x="141986" y="52197"/>
                  <a:pt x="145034" y="51689"/>
                </a:cubicBezTo>
                <a:cubicBezTo>
                  <a:pt x="148209" y="51181"/>
                  <a:pt x="150749" y="50165"/>
                  <a:pt x="152780" y="48641"/>
                </a:cubicBezTo>
                <a:cubicBezTo>
                  <a:pt x="154813" y="47117"/>
                  <a:pt x="156210" y="45339"/>
                  <a:pt x="157226" y="43561"/>
                </a:cubicBezTo>
                <a:cubicBezTo>
                  <a:pt x="158115" y="41656"/>
                  <a:pt x="158496" y="39243"/>
                  <a:pt x="158496" y="36068"/>
                </a:cubicBezTo>
                <a:cubicBezTo>
                  <a:pt x="158496" y="33274"/>
                  <a:pt x="157988" y="30861"/>
                  <a:pt x="156845" y="28956"/>
                </a:cubicBezTo>
                <a:cubicBezTo>
                  <a:pt x="155702" y="26924"/>
                  <a:pt x="153797" y="25400"/>
                  <a:pt x="151003" y="24257"/>
                </a:cubicBezTo>
                <a:cubicBezTo>
                  <a:pt x="148971" y="23495"/>
                  <a:pt x="146812" y="22987"/>
                  <a:pt x="144145" y="22733"/>
                </a:cubicBezTo>
                <a:cubicBezTo>
                  <a:pt x="141604" y="22606"/>
                  <a:pt x="138557" y="22479"/>
                  <a:pt x="135128" y="22479"/>
                </a:cubicBezTo>
                <a:close/>
                <a:moveTo>
                  <a:pt x="96392" y="2159"/>
                </a:moveTo>
                <a:lnTo>
                  <a:pt x="144399" y="2159"/>
                </a:lnTo>
                <a:cubicBezTo>
                  <a:pt x="150876" y="2159"/>
                  <a:pt x="156464" y="2540"/>
                  <a:pt x="161290" y="3302"/>
                </a:cubicBezTo>
                <a:cubicBezTo>
                  <a:pt x="165989" y="3937"/>
                  <a:pt x="170307" y="5588"/>
                  <a:pt x="174498" y="8128"/>
                </a:cubicBezTo>
                <a:cubicBezTo>
                  <a:pt x="178689" y="10541"/>
                  <a:pt x="181991" y="13716"/>
                  <a:pt x="184404" y="17780"/>
                </a:cubicBezTo>
                <a:cubicBezTo>
                  <a:pt x="186817" y="21717"/>
                  <a:pt x="188087" y="26670"/>
                  <a:pt x="188087" y="32512"/>
                </a:cubicBezTo>
                <a:cubicBezTo>
                  <a:pt x="188087" y="40767"/>
                  <a:pt x="186182" y="47371"/>
                  <a:pt x="182372" y="52578"/>
                </a:cubicBezTo>
                <a:cubicBezTo>
                  <a:pt x="178562" y="57785"/>
                  <a:pt x="173228" y="61976"/>
                  <a:pt x="166116" y="65405"/>
                </a:cubicBezTo>
                <a:lnTo>
                  <a:pt x="203073" y="112903"/>
                </a:lnTo>
                <a:lnTo>
                  <a:pt x="168275" y="112903"/>
                </a:lnTo>
                <a:lnTo>
                  <a:pt x="138049" y="72263"/>
                </a:lnTo>
                <a:lnTo>
                  <a:pt x="124841" y="72263"/>
                </a:lnTo>
                <a:lnTo>
                  <a:pt x="124841" y="112903"/>
                </a:lnTo>
                <a:lnTo>
                  <a:pt x="96392" y="112903"/>
                </a:lnTo>
                <a:close/>
                <a:moveTo>
                  <a:pt x="14859" y="2159"/>
                </a:moveTo>
                <a:lnTo>
                  <a:pt x="68834" y="2159"/>
                </a:lnTo>
                <a:lnTo>
                  <a:pt x="68834" y="80391"/>
                </a:lnTo>
                <a:cubicBezTo>
                  <a:pt x="68834" y="85217"/>
                  <a:pt x="67945" y="89789"/>
                  <a:pt x="66167" y="94107"/>
                </a:cubicBezTo>
                <a:cubicBezTo>
                  <a:pt x="64516" y="98298"/>
                  <a:pt x="61849" y="101854"/>
                  <a:pt x="58420" y="104775"/>
                </a:cubicBezTo>
                <a:cubicBezTo>
                  <a:pt x="54864" y="107950"/>
                  <a:pt x="50546" y="110363"/>
                  <a:pt x="45339" y="112014"/>
                </a:cubicBezTo>
                <a:cubicBezTo>
                  <a:pt x="40259" y="113792"/>
                  <a:pt x="33909" y="114681"/>
                  <a:pt x="26416" y="114681"/>
                </a:cubicBezTo>
                <a:cubicBezTo>
                  <a:pt x="21336" y="114681"/>
                  <a:pt x="16510" y="114427"/>
                  <a:pt x="11938" y="114046"/>
                </a:cubicBezTo>
                <a:cubicBezTo>
                  <a:pt x="7492" y="113665"/>
                  <a:pt x="3429" y="113157"/>
                  <a:pt x="0" y="112522"/>
                </a:cubicBezTo>
                <a:lnTo>
                  <a:pt x="0" y="90043"/>
                </a:lnTo>
                <a:lnTo>
                  <a:pt x="2793" y="90043"/>
                </a:lnTo>
                <a:cubicBezTo>
                  <a:pt x="5079" y="90932"/>
                  <a:pt x="7620" y="91821"/>
                  <a:pt x="10160" y="92583"/>
                </a:cubicBezTo>
                <a:cubicBezTo>
                  <a:pt x="12700" y="93345"/>
                  <a:pt x="16002" y="93726"/>
                  <a:pt x="20066" y="93726"/>
                </a:cubicBezTo>
                <a:cubicBezTo>
                  <a:pt x="25273" y="93726"/>
                  <a:pt x="29337" y="93091"/>
                  <a:pt x="32130" y="91694"/>
                </a:cubicBezTo>
                <a:cubicBezTo>
                  <a:pt x="34925" y="90297"/>
                  <a:pt x="36829" y="88265"/>
                  <a:pt x="38100" y="85852"/>
                </a:cubicBezTo>
                <a:cubicBezTo>
                  <a:pt x="39242" y="83439"/>
                  <a:pt x="39878" y="80772"/>
                  <a:pt x="40004" y="77851"/>
                </a:cubicBezTo>
                <a:cubicBezTo>
                  <a:pt x="40132" y="74930"/>
                  <a:pt x="40259" y="71247"/>
                  <a:pt x="40259" y="66675"/>
                </a:cubicBezTo>
                <a:lnTo>
                  <a:pt x="40259" y="22479"/>
                </a:lnTo>
                <a:lnTo>
                  <a:pt x="14859" y="22479"/>
                </a:lnTo>
                <a:close/>
                <a:moveTo>
                  <a:pt x="265430" y="0"/>
                </a:moveTo>
                <a:cubicBezTo>
                  <a:pt x="270129" y="0"/>
                  <a:pt x="274320" y="254"/>
                  <a:pt x="278003" y="762"/>
                </a:cubicBezTo>
                <a:cubicBezTo>
                  <a:pt x="281813" y="1270"/>
                  <a:pt x="285242" y="1905"/>
                  <a:pt x="288417" y="2794"/>
                </a:cubicBezTo>
                <a:cubicBezTo>
                  <a:pt x="291719" y="3683"/>
                  <a:pt x="294767" y="4826"/>
                  <a:pt x="297434" y="5969"/>
                </a:cubicBezTo>
                <a:cubicBezTo>
                  <a:pt x="300228" y="7112"/>
                  <a:pt x="302514" y="8255"/>
                  <a:pt x="304546" y="9144"/>
                </a:cubicBezTo>
                <a:lnTo>
                  <a:pt x="304546" y="36068"/>
                </a:lnTo>
                <a:lnTo>
                  <a:pt x="301371" y="36068"/>
                </a:lnTo>
                <a:cubicBezTo>
                  <a:pt x="299974" y="34925"/>
                  <a:pt x="298196" y="33528"/>
                  <a:pt x="296037" y="31877"/>
                </a:cubicBezTo>
                <a:cubicBezTo>
                  <a:pt x="294005" y="30226"/>
                  <a:pt x="291592" y="28575"/>
                  <a:pt x="288925" y="27051"/>
                </a:cubicBezTo>
                <a:cubicBezTo>
                  <a:pt x="286131" y="25400"/>
                  <a:pt x="283210" y="24130"/>
                  <a:pt x="280035" y="22987"/>
                </a:cubicBezTo>
                <a:cubicBezTo>
                  <a:pt x="276860" y="21971"/>
                  <a:pt x="273431" y="21463"/>
                  <a:pt x="269875" y="21463"/>
                </a:cubicBezTo>
                <a:cubicBezTo>
                  <a:pt x="265811" y="21463"/>
                  <a:pt x="262001" y="21971"/>
                  <a:pt x="258318" y="23241"/>
                </a:cubicBezTo>
                <a:cubicBezTo>
                  <a:pt x="254762" y="24511"/>
                  <a:pt x="251460" y="26670"/>
                  <a:pt x="248285" y="29591"/>
                </a:cubicBezTo>
                <a:cubicBezTo>
                  <a:pt x="245364" y="32385"/>
                  <a:pt x="243078" y="36068"/>
                  <a:pt x="241173" y="40767"/>
                </a:cubicBezTo>
                <a:cubicBezTo>
                  <a:pt x="239395" y="45466"/>
                  <a:pt x="238505" y="51054"/>
                  <a:pt x="238505" y="57658"/>
                </a:cubicBezTo>
                <a:cubicBezTo>
                  <a:pt x="238505" y="64643"/>
                  <a:pt x="239522" y="70485"/>
                  <a:pt x="241427" y="75057"/>
                </a:cubicBezTo>
                <a:cubicBezTo>
                  <a:pt x="243459" y="79756"/>
                  <a:pt x="245872" y="83439"/>
                  <a:pt x="248793" y="86106"/>
                </a:cubicBezTo>
                <a:cubicBezTo>
                  <a:pt x="251841" y="88773"/>
                  <a:pt x="255270" y="90805"/>
                  <a:pt x="258953" y="91948"/>
                </a:cubicBezTo>
                <a:cubicBezTo>
                  <a:pt x="262636" y="93091"/>
                  <a:pt x="266319" y="93599"/>
                  <a:pt x="270002" y="93599"/>
                </a:cubicBezTo>
                <a:cubicBezTo>
                  <a:pt x="273431" y="93599"/>
                  <a:pt x="276860" y="93091"/>
                  <a:pt x="280289" y="92075"/>
                </a:cubicBezTo>
                <a:cubicBezTo>
                  <a:pt x="283718" y="91059"/>
                  <a:pt x="286766" y="89662"/>
                  <a:pt x="289687" y="87884"/>
                </a:cubicBezTo>
                <a:cubicBezTo>
                  <a:pt x="292100" y="86487"/>
                  <a:pt x="294386" y="84963"/>
                  <a:pt x="296418" y="83312"/>
                </a:cubicBezTo>
                <a:cubicBezTo>
                  <a:pt x="298577" y="81661"/>
                  <a:pt x="300228" y="80264"/>
                  <a:pt x="301625" y="79121"/>
                </a:cubicBezTo>
                <a:lnTo>
                  <a:pt x="304546" y="79121"/>
                </a:lnTo>
                <a:lnTo>
                  <a:pt x="304546" y="105537"/>
                </a:lnTo>
                <a:cubicBezTo>
                  <a:pt x="301752" y="106807"/>
                  <a:pt x="299212" y="107950"/>
                  <a:pt x="296672" y="109093"/>
                </a:cubicBezTo>
                <a:cubicBezTo>
                  <a:pt x="294132" y="110109"/>
                  <a:pt x="291465" y="111125"/>
                  <a:pt x="288671" y="111887"/>
                </a:cubicBezTo>
                <a:cubicBezTo>
                  <a:pt x="284988" y="112903"/>
                  <a:pt x="281686" y="113665"/>
                  <a:pt x="278511" y="114300"/>
                </a:cubicBezTo>
                <a:cubicBezTo>
                  <a:pt x="275336" y="114808"/>
                  <a:pt x="270891" y="115062"/>
                  <a:pt x="265430" y="115062"/>
                </a:cubicBezTo>
                <a:cubicBezTo>
                  <a:pt x="257175" y="115062"/>
                  <a:pt x="249555" y="113919"/>
                  <a:pt x="242570" y="111506"/>
                </a:cubicBezTo>
                <a:cubicBezTo>
                  <a:pt x="235585" y="108966"/>
                  <a:pt x="229616" y="105410"/>
                  <a:pt x="224536" y="100584"/>
                </a:cubicBezTo>
                <a:cubicBezTo>
                  <a:pt x="219583" y="95758"/>
                  <a:pt x="215646" y="89789"/>
                  <a:pt x="212979" y="82550"/>
                </a:cubicBezTo>
                <a:cubicBezTo>
                  <a:pt x="210185" y="75438"/>
                  <a:pt x="208788" y="67056"/>
                  <a:pt x="208788" y="57658"/>
                </a:cubicBezTo>
                <a:cubicBezTo>
                  <a:pt x="208788" y="48895"/>
                  <a:pt x="210185" y="40894"/>
                  <a:pt x="212725" y="33782"/>
                </a:cubicBezTo>
                <a:cubicBezTo>
                  <a:pt x="215392" y="26670"/>
                  <a:pt x="219202" y="20447"/>
                  <a:pt x="224154" y="15367"/>
                </a:cubicBezTo>
                <a:cubicBezTo>
                  <a:pt x="228980" y="10414"/>
                  <a:pt x="234950" y="6731"/>
                  <a:pt x="242062" y="3937"/>
                </a:cubicBezTo>
                <a:cubicBezTo>
                  <a:pt x="249174" y="1270"/>
                  <a:pt x="257048" y="0"/>
                  <a:pt x="265430" y="0"/>
                </a:cubicBez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62" name="object 762"/>
          <p:cNvSpPr/>
          <p:nvPr/>
        </p:nvSpPr>
        <p:spPr>
          <a:xfrm>
            <a:off x="8261858" y="2148444"/>
            <a:ext cx="17906" cy="38989"/>
          </a:xfrm>
          <a:custGeom>
            <a:avLst/>
            <a:gdLst/>
            <a:ahLst/>
            <a:cxnLst/>
            <a:rect l="l" t="t" r="r" b="b"/>
            <a:pathLst>
              <a:path w="17906" h="38989">
                <a:moveTo>
                  <a:pt x="4572" y="4572"/>
                </a:moveTo>
                <a:lnTo>
                  <a:pt x="4572" y="34417"/>
                </a:lnTo>
                <a:lnTo>
                  <a:pt x="13335" y="34417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63" name="object 763"/>
          <p:cNvSpPr/>
          <p:nvPr/>
        </p:nvSpPr>
        <p:spPr>
          <a:xfrm>
            <a:off x="8270677" y="2148444"/>
            <a:ext cx="34035" cy="38989"/>
          </a:xfrm>
          <a:custGeom>
            <a:avLst/>
            <a:gdLst/>
            <a:ahLst/>
            <a:cxnLst/>
            <a:rect l="l" t="t" r="r" b="b"/>
            <a:pathLst>
              <a:path w="34035" h="38989">
                <a:moveTo>
                  <a:pt x="4572" y="34417"/>
                </a:moveTo>
                <a:cubicBezTo>
                  <a:pt x="9144" y="34417"/>
                  <a:pt x="12954" y="34290"/>
                  <a:pt x="16002" y="33782"/>
                </a:cubicBezTo>
                <a:cubicBezTo>
                  <a:pt x="19177" y="33274"/>
                  <a:pt x="21717" y="32258"/>
                  <a:pt x="23748" y="30734"/>
                </a:cubicBezTo>
                <a:cubicBezTo>
                  <a:pt x="25781" y="29210"/>
                  <a:pt x="27178" y="27432"/>
                  <a:pt x="28194" y="25654"/>
                </a:cubicBezTo>
                <a:cubicBezTo>
                  <a:pt x="29083" y="23749"/>
                  <a:pt x="29464" y="21336"/>
                  <a:pt x="29464" y="18161"/>
                </a:cubicBezTo>
                <a:cubicBezTo>
                  <a:pt x="29464" y="15367"/>
                  <a:pt x="28956" y="12954"/>
                  <a:pt x="27813" y="11049"/>
                </a:cubicBezTo>
                <a:cubicBezTo>
                  <a:pt x="26670" y="9017"/>
                  <a:pt x="24765" y="7493"/>
                  <a:pt x="21971" y="6350"/>
                </a:cubicBezTo>
                <a:cubicBezTo>
                  <a:pt x="19939" y="5588"/>
                  <a:pt x="17780" y="5080"/>
                  <a:pt x="15113" y="4826"/>
                </a:cubicBezTo>
                <a:cubicBezTo>
                  <a:pt x="12572" y="4699"/>
                  <a:pt x="9525" y="4572"/>
                  <a:pt x="6096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64" name="object 764"/>
          <p:cNvSpPr/>
          <p:nvPr/>
        </p:nvSpPr>
        <p:spPr>
          <a:xfrm>
            <a:off x="8233410" y="2128124"/>
            <a:ext cx="57150" cy="29463"/>
          </a:xfrm>
          <a:custGeom>
            <a:avLst/>
            <a:gdLst/>
            <a:ahLst/>
            <a:cxnLst/>
            <a:rect l="l" t="t" r="r" b="b"/>
            <a:pathLst>
              <a:path w="57150" h="29463">
                <a:moveTo>
                  <a:pt x="43307" y="24892"/>
                </a:moveTo>
                <a:moveTo>
                  <a:pt x="33020" y="24892"/>
                </a:moveTo>
                <a:moveTo>
                  <a:pt x="4571" y="4572"/>
                </a:moveTo>
                <a:lnTo>
                  <a:pt x="52578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65" name="object 765"/>
          <p:cNvSpPr/>
          <p:nvPr/>
        </p:nvSpPr>
        <p:spPr>
          <a:xfrm>
            <a:off x="8281416" y="2128124"/>
            <a:ext cx="67818" cy="119887"/>
          </a:xfrm>
          <a:custGeom>
            <a:avLst/>
            <a:gdLst/>
            <a:ahLst/>
            <a:cxnLst/>
            <a:rect l="l" t="t" r="r" b="b"/>
            <a:pathLst>
              <a:path w="67818" h="119887">
                <a:moveTo>
                  <a:pt x="4572" y="4572"/>
                </a:moveTo>
                <a:cubicBezTo>
                  <a:pt x="11049" y="4572"/>
                  <a:pt x="16637" y="4953"/>
                  <a:pt x="21463" y="5715"/>
                </a:cubicBezTo>
                <a:cubicBezTo>
                  <a:pt x="26162" y="6350"/>
                  <a:pt x="30480" y="8001"/>
                  <a:pt x="34671" y="10541"/>
                </a:cubicBezTo>
                <a:cubicBezTo>
                  <a:pt x="38862" y="12954"/>
                  <a:pt x="42164" y="16129"/>
                  <a:pt x="44577" y="20193"/>
                </a:cubicBezTo>
                <a:cubicBezTo>
                  <a:pt x="46990" y="24130"/>
                  <a:pt x="48260" y="29083"/>
                  <a:pt x="48260" y="34925"/>
                </a:cubicBezTo>
                <a:cubicBezTo>
                  <a:pt x="48260" y="43180"/>
                  <a:pt x="46355" y="49784"/>
                  <a:pt x="42545" y="54991"/>
                </a:cubicBezTo>
                <a:cubicBezTo>
                  <a:pt x="38735" y="60198"/>
                  <a:pt x="33401" y="64389"/>
                  <a:pt x="26289" y="67818"/>
                </a:cubicBezTo>
                <a:lnTo>
                  <a:pt x="63246" y="115316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66" name="object 766"/>
          <p:cNvSpPr/>
          <p:nvPr/>
        </p:nvSpPr>
        <p:spPr>
          <a:xfrm>
            <a:off x="8305348" y="2238868"/>
            <a:ext cx="43941" cy="9143"/>
          </a:xfrm>
          <a:custGeom>
            <a:avLst/>
            <a:gdLst/>
            <a:ahLst/>
            <a:cxnLst/>
            <a:rect l="l" t="t" r="r" b="b"/>
            <a:pathLst>
              <a:path w="43941" h="9143">
                <a:moveTo>
                  <a:pt x="39370" y="4572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67" name="object 767"/>
          <p:cNvSpPr/>
          <p:nvPr/>
        </p:nvSpPr>
        <p:spPr>
          <a:xfrm>
            <a:off x="8275069" y="2198116"/>
            <a:ext cx="39370" cy="49784"/>
          </a:xfrm>
          <a:custGeom>
            <a:avLst/>
            <a:gdLst/>
            <a:ahLst/>
            <a:cxnLst/>
            <a:rect l="l" t="t" r="r" b="b"/>
            <a:pathLst>
              <a:path w="39370" h="49784">
                <a:moveTo>
                  <a:pt x="34798" y="45212"/>
                </a:moveTo>
                <a:lnTo>
                  <a:pt x="457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68" name="object 768"/>
          <p:cNvSpPr/>
          <p:nvPr/>
        </p:nvSpPr>
        <p:spPr>
          <a:xfrm>
            <a:off x="8233414" y="2198116"/>
            <a:ext cx="50800" cy="49784"/>
          </a:xfrm>
          <a:custGeom>
            <a:avLst/>
            <a:gdLst/>
            <a:ahLst/>
            <a:cxnLst/>
            <a:rect l="l" t="t" r="r" b="b"/>
            <a:pathLst>
              <a:path w="50800" h="49784">
                <a:moveTo>
                  <a:pt x="46228" y="4572"/>
                </a:moveTo>
                <a:lnTo>
                  <a:pt x="33020" y="4572"/>
                </a:lnTo>
                <a:lnTo>
                  <a:pt x="33020" y="45212"/>
                </a:lnTo>
                <a:lnTo>
                  <a:pt x="4571" y="4521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69" name="object 769"/>
          <p:cNvSpPr/>
          <p:nvPr/>
        </p:nvSpPr>
        <p:spPr>
          <a:xfrm>
            <a:off x="8151876" y="2128124"/>
            <a:ext cx="119126" cy="119887"/>
          </a:xfrm>
          <a:custGeom>
            <a:avLst/>
            <a:gdLst/>
            <a:ahLst/>
            <a:cxnLst/>
            <a:rect l="l" t="t" r="r" b="b"/>
            <a:pathLst>
              <a:path w="119126" h="119887">
                <a:moveTo>
                  <a:pt x="86105" y="115316"/>
                </a:moveTo>
                <a:moveTo>
                  <a:pt x="114554" y="24892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70" name="object 770"/>
          <p:cNvSpPr/>
          <p:nvPr/>
        </p:nvSpPr>
        <p:spPr>
          <a:xfrm>
            <a:off x="8151876" y="2128124"/>
            <a:ext cx="63118" cy="87375"/>
          </a:xfrm>
          <a:custGeom>
            <a:avLst/>
            <a:gdLst/>
            <a:ahLst/>
            <a:cxnLst/>
            <a:rect l="l" t="t" r="r" b="b"/>
            <a:pathLst>
              <a:path w="63118" h="87375">
                <a:moveTo>
                  <a:pt x="4572" y="4572"/>
                </a:moveTo>
                <a:lnTo>
                  <a:pt x="58547" y="4572"/>
                </a:lnTo>
                <a:lnTo>
                  <a:pt x="58547" y="82804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71" name="object 771"/>
          <p:cNvSpPr/>
          <p:nvPr/>
        </p:nvSpPr>
        <p:spPr>
          <a:xfrm>
            <a:off x="8137073" y="2206244"/>
            <a:ext cx="77977" cy="43434"/>
          </a:xfrm>
          <a:custGeom>
            <a:avLst/>
            <a:gdLst/>
            <a:ahLst/>
            <a:cxnLst/>
            <a:rect l="l" t="t" r="r" b="b"/>
            <a:pathLst>
              <a:path w="77977" h="43434">
                <a:moveTo>
                  <a:pt x="73406" y="4572"/>
                </a:moveTo>
                <a:cubicBezTo>
                  <a:pt x="73406" y="9398"/>
                  <a:pt x="72517" y="13970"/>
                  <a:pt x="70739" y="18288"/>
                </a:cubicBezTo>
                <a:cubicBezTo>
                  <a:pt x="69088" y="22479"/>
                  <a:pt x="66421" y="26035"/>
                  <a:pt x="62992" y="28956"/>
                </a:cubicBezTo>
                <a:cubicBezTo>
                  <a:pt x="59436" y="32131"/>
                  <a:pt x="55118" y="34544"/>
                  <a:pt x="49911" y="36195"/>
                </a:cubicBezTo>
                <a:cubicBezTo>
                  <a:pt x="44831" y="37973"/>
                  <a:pt x="38481" y="38862"/>
                  <a:pt x="30988" y="38862"/>
                </a:cubicBezTo>
                <a:cubicBezTo>
                  <a:pt x="25908" y="38862"/>
                  <a:pt x="21082" y="38608"/>
                  <a:pt x="16510" y="38227"/>
                </a:cubicBezTo>
                <a:cubicBezTo>
                  <a:pt x="12064" y="37846"/>
                  <a:pt x="8001" y="37338"/>
                  <a:pt x="4572" y="36703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72" name="object 772"/>
          <p:cNvSpPr/>
          <p:nvPr/>
        </p:nvSpPr>
        <p:spPr>
          <a:xfrm>
            <a:off x="8137017" y="2215896"/>
            <a:ext cx="11937" cy="31622"/>
          </a:xfrm>
          <a:custGeom>
            <a:avLst/>
            <a:gdLst/>
            <a:ahLst/>
            <a:cxnLst/>
            <a:rect l="l" t="t" r="r" b="b"/>
            <a:pathLst>
              <a:path w="11937" h="31622">
                <a:moveTo>
                  <a:pt x="4572" y="27051"/>
                </a:moveTo>
                <a:lnTo>
                  <a:pt x="4572" y="4572"/>
                </a:lnTo>
                <a:lnTo>
                  <a:pt x="7365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73" name="object 773"/>
          <p:cNvSpPr/>
          <p:nvPr/>
        </p:nvSpPr>
        <p:spPr>
          <a:xfrm>
            <a:off x="8139811" y="2192640"/>
            <a:ext cx="46608" cy="36195"/>
          </a:xfrm>
          <a:custGeom>
            <a:avLst/>
            <a:gdLst/>
            <a:ahLst/>
            <a:cxnLst/>
            <a:rect l="l" t="t" r="r" b="b"/>
            <a:pathLst>
              <a:path w="46608" h="36195">
                <a:moveTo>
                  <a:pt x="4571" y="27940"/>
                </a:moveTo>
                <a:cubicBezTo>
                  <a:pt x="6857" y="28829"/>
                  <a:pt x="9398" y="29718"/>
                  <a:pt x="11938" y="30480"/>
                </a:cubicBezTo>
                <a:cubicBezTo>
                  <a:pt x="14478" y="31242"/>
                  <a:pt x="17780" y="31623"/>
                  <a:pt x="21844" y="31623"/>
                </a:cubicBezTo>
                <a:cubicBezTo>
                  <a:pt x="27051" y="31623"/>
                  <a:pt x="31115" y="30988"/>
                  <a:pt x="33908" y="29591"/>
                </a:cubicBezTo>
                <a:cubicBezTo>
                  <a:pt x="36703" y="28194"/>
                  <a:pt x="38607" y="26162"/>
                  <a:pt x="39878" y="23749"/>
                </a:cubicBezTo>
                <a:cubicBezTo>
                  <a:pt x="41020" y="21336"/>
                  <a:pt x="41656" y="18669"/>
                  <a:pt x="41782" y="15748"/>
                </a:cubicBezTo>
                <a:cubicBezTo>
                  <a:pt x="41910" y="12827"/>
                  <a:pt x="42037" y="9144"/>
                  <a:pt x="42037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74" name="object 774"/>
          <p:cNvSpPr/>
          <p:nvPr/>
        </p:nvSpPr>
        <p:spPr>
          <a:xfrm>
            <a:off x="8151877" y="2125965"/>
            <a:ext cx="259714" cy="75819"/>
          </a:xfrm>
          <a:custGeom>
            <a:avLst/>
            <a:gdLst/>
            <a:ahLst/>
            <a:cxnLst/>
            <a:rect l="l" t="t" r="r" b="b"/>
            <a:pathLst>
              <a:path w="259714" h="75819">
                <a:moveTo>
                  <a:pt x="29972" y="71247"/>
                </a:moveTo>
                <a:lnTo>
                  <a:pt x="29972" y="27051"/>
                </a:lnTo>
                <a:lnTo>
                  <a:pt x="4572" y="27051"/>
                </a:lnTo>
                <a:moveTo>
                  <a:pt x="114554" y="27051"/>
                </a:moveTo>
                <a:moveTo>
                  <a:pt x="255143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75" name="object 775"/>
          <p:cNvSpPr/>
          <p:nvPr/>
        </p:nvSpPr>
        <p:spPr>
          <a:xfrm>
            <a:off x="8402447" y="2125853"/>
            <a:ext cx="48260" cy="18288"/>
          </a:xfrm>
          <a:custGeom>
            <a:avLst/>
            <a:gdLst/>
            <a:ahLst/>
            <a:cxnLst/>
            <a:rect l="l" t="t" r="r" b="b"/>
            <a:pathLst>
              <a:path w="48260" h="18288">
                <a:moveTo>
                  <a:pt x="4572" y="4572"/>
                </a:moveTo>
                <a:cubicBezTo>
                  <a:pt x="9271" y="4572"/>
                  <a:pt x="13462" y="4826"/>
                  <a:pt x="17145" y="5334"/>
                </a:cubicBezTo>
                <a:cubicBezTo>
                  <a:pt x="20955" y="5842"/>
                  <a:pt x="24384" y="6477"/>
                  <a:pt x="27559" y="7366"/>
                </a:cubicBezTo>
                <a:cubicBezTo>
                  <a:pt x="30861" y="8255"/>
                  <a:pt x="33909" y="9398"/>
                  <a:pt x="36576" y="10541"/>
                </a:cubicBezTo>
                <a:cubicBezTo>
                  <a:pt x="39370" y="11684"/>
                  <a:pt x="41656" y="12827"/>
                  <a:pt x="43688" y="13716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76" name="object 776"/>
          <p:cNvSpPr/>
          <p:nvPr/>
        </p:nvSpPr>
        <p:spPr>
          <a:xfrm>
            <a:off x="8438388" y="2134997"/>
            <a:ext cx="12319" cy="36068"/>
          </a:xfrm>
          <a:custGeom>
            <a:avLst/>
            <a:gdLst/>
            <a:ahLst/>
            <a:cxnLst/>
            <a:rect l="l" t="t" r="r" b="b"/>
            <a:pathLst>
              <a:path w="12319" h="36068">
                <a:moveTo>
                  <a:pt x="7747" y="4572"/>
                </a:moveTo>
                <a:lnTo>
                  <a:pt x="7747" y="31496"/>
                </a:lnTo>
                <a:lnTo>
                  <a:pt x="4572" y="31496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77" name="object 777"/>
          <p:cNvSpPr/>
          <p:nvPr/>
        </p:nvSpPr>
        <p:spPr>
          <a:xfrm>
            <a:off x="8375579" y="2147316"/>
            <a:ext cx="72263" cy="81280"/>
          </a:xfrm>
          <a:custGeom>
            <a:avLst/>
            <a:gdLst/>
            <a:ahLst/>
            <a:cxnLst/>
            <a:rect l="l" t="t" r="r" b="b"/>
            <a:pathLst>
              <a:path w="72263" h="81280">
                <a:moveTo>
                  <a:pt x="67437" y="19177"/>
                </a:moveTo>
                <a:cubicBezTo>
                  <a:pt x="66040" y="18034"/>
                  <a:pt x="64262" y="16637"/>
                  <a:pt x="62103" y="14986"/>
                </a:cubicBezTo>
                <a:cubicBezTo>
                  <a:pt x="60071" y="13335"/>
                  <a:pt x="57658" y="11684"/>
                  <a:pt x="54991" y="10160"/>
                </a:cubicBezTo>
                <a:cubicBezTo>
                  <a:pt x="52197" y="8509"/>
                  <a:pt x="49276" y="7239"/>
                  <a:pt x="46101" y="6096"/>
                </a:cubicBezTo>
                <a:cubicBezTo>
                  <a:pt x="42926" y="5080"/>
                  <a:pt x="39497" y="4572"/>
                  <a:pt x="35941" y="4572"/>
                </a:cubicBezTo>
                <a:cubicBezTo>
                  <a:pt x="31877" y="4572"/>
                  <a:pt x="28067" y="5080"/>
                  <a:pt x="24384" y="6350"/>
                </a:cubicBezTo>
                <a:cubicBezTo>
                  <a:pt x="20828" y="7620"/>
                  <a:pt x="17526" y="9779"/>
                  <a:pt x="14351" y="12700"/>
                </a:cubicBezTo>
                <a:cubicBezTo>
                  <a:pt x="11430" y="15494"/>
                  <a:pt x="9144" y="19177"/>
                  <a:pt x="7239" y="23876"/>
                </a:cubicBezTo>
                <a:cubicBezTo>
                  <a:pt x="5461" y="28575"/>
                  <a:pt x="4571" y="34163"/>
                  <a:pt x="4571" y="40767"/>
                </a:cubicBezTo>
                <a:cubicBezTo>
                  <a:pt x="4571" y="47752"/>
                  <a:pt x="5588" y="53594"/>
                  <a:pt x="7493" y="58166"/>
                </a:cubicBezTo>
                <a:cubicBezTo>
                  <a:pt x="9525" y="62865"/>
                  <a:pt x="11938" y="66548"/>
                  <a:pt x="14859" y="69215"/>
                </a:cubicBezTo>
                <a:cubicBezTo>
                  <a:pt x="17907" y="71882"/>
                  <a:pt x="21336" y="73914"/>
                  <a:pt x="25019" y="75057"/>
                </a:cubicBezTo>
                <a:cubicBezTo>
                  <a:pt x="28702" y="76200"/>
                  <a:pt x="32385" y="76708"/>
                  <a:pt x="36068" y="76708"/>
                </a:cubicBezTo>
                <a:cubicBezTo>
                  <a:pt x="39497" y="76708"/>
                  <a:pt x="42926" y="76200"/>
                  <a:pt x="46355" y="75184"/>
                </a:cubicBezTo>
                <a:cubicBezTo>
                  <a:pt x="49784" y="74168"/>
                  <a:pt x="52832" y="72771"/>
                  <a:pt x="55753" y="70993"/>
                </a:cubicBezTo>
                <a:cubicBezTo>
                  <a:pt x="58166" y="69596"/>
                  <a:pt x="60452" y="68072"/>
                  <a:pt x="62484" y="66421"/>
                </a:cubicBezTo>
                <a:cubicBezTo>
                  <a:pt x="64643" y="64770"/>
                  <a:pt x="66294" y="63373"/>
                  <a:pt x="67691" y="62230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78" name="object 778"/>
          <p:cNvSpPr/>
          <p:nvPr/>
        </p:nvSpPr>
        <p:spPr>
          <a:xfrm>
            <a:off x="8438644" y="2205086"/>
            <a:ext cx="12065" cy="35559"/>
          </a:xfrm>
          <a:custGeom>
            <a:avLst/>
            <a:gdLst/>
            <a:ahLst/>
            <a:cxnLst/>
            <a:rect l="l" t="t" r="r" b="b"/>
            <a:pathLst>
              <a:path w="12065" h="35559">
                <a:moveTo>
                  <a:pt x="4572" y="4572"/>
                </a:moveTo>
                <a:lnTo>
                  <a:pt x="7493" y="4572"/>
                </a:lnTo>
                <a:lnTo>
                  <a:pt x="7493" y="30988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79" name="object 779"/>
          <p:cNvSpPr/>
          <p:nvPr/>
        </p:nvSpPr>
        <p:spPr>
          <a:xfrm>
            <a:off x="8261858" y="2125853"/>
            <a:ext cx="188848" cy="124206"/>
          </a:xfrm>
          <a:custGeom>
            <a:avLst/>
            <a:gdLst/>
            <a:ahLst/>
            <a:cxnLst/>
            <a:rect l="l" t="t" r="r" b="b"/>
            <a:pathLst>
              <a:path w="188848" h="124206">
                <a:moveTo>
                  <a:pt x="184277" y="110109"/>
                </a:moveTo>
                <a:cubicBezTo>
                  <a:pt x="181483" y="111379"/>
                  <a:pt x="178943" y="112522"/>
                  <a:pt x="176403" y="113665"/>
                </a:cubicBezTo>
                <a:cubicBezTo>
                  <a:pt x="173863" y="114681"/>
                  <a:pt x="171196" y="115697"/>
                  <a:pt x="168402" y="116459"/>
                </a:cubicBezTo>
                <a:cubicBezTo>
                  <a:pt x="164719" y="117475"/>
                  <a:pt x="161417" y="118237"/>
                  <a:pt x="158242" y="118872"/>
                </a:cubicBezTo>
                <a:cubicBezTo>
                  <a:pt x="155067" y="119380"/>
                  <a:pt x="150622" y="119634"/>
                  <a:pt x="145161" y="119634"/>
                </a:cubicBezTo>
                <a:cubicBezTo>
                  <a:pt x="136906" y="119634"/>
                  <a:pt x="129286" y="118491"/>
                  <a:pt x="122301" y="116078"/>
                </a:cubicBezTo>
                <a:cubicBezTo>
                  <a:pt x="115316" y="113538"/>
                  <a:pt x="109347" y="109982"/>
                  <a:pt x="104267" y="105156"/>
                </a:cubicBezTo>
                <a:cubicBezTo>
                  <a:pt x="99314" y="100330"/>
                  <a:pt x="95377" y="94361"/>
                  <a:pt x="92710" y="87122"/>
                </a:cubicBezTo>
                <a:cubicBezTo>
                  <a:pt x="89916" y="80010"/>
                  <a:pt x="88519" y="71628"/>
                  <a:pt x="88519" y="62230"/>
                </a:cubicBezTo>
                <a:cubicBezTo>
                  <a:pt x="88519" y="53467"/>
                  <a:pt x="89916" y="45466"/>
                  <a:pt x="92456" y="38354"/>
                </a:cubicBezTo>
                <a:cubicBezTo>
                  <a:pt x="95123" y="31242"/>
                  <a:pt x="98933" y="25019"/>
                  <a:pt x="103885" y="19939"/>
                </a:cubicBezTo>
                <a:cubicBezTo>
                  <a:pt x="108711" y="14986"/>
                  <a:pt x="114681" y="11303"/>
                  <a:pt x="121793" y="8509"/>
                </a:cubicBezTo>
                <a:cubicBezTo>
                  <a:pt x="128905" y="5842"/>
                  <a:pt x="136779" y="4572"/>
                  <a:pt x="145161" y="4572"/>
                </a:cubicBezTo>
                <a:moveTo>
                  <a:pt x="4572" y="27051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80" name="object 780"/>
          <p:cNvSpPr/>
          <p:nvPr/>
        </p:nvSpPr>
        <p:spPr>
          <a:xfrm>
            <a:off x="7907274" y="2310511"/>
            <a:ext cx="785876" cy="118364"/>
          </a:xfrm>
          <a:custGeom>
            <a:avLst/>
            <a:gdLst/>
            <a:ahLst/>
            <a:cxnLst/>
            <a:rect l="l" t="t" r="r" b="b"/>
            <a:pathLst>
              <a:path w="785876" h="118364">
                <a:moveTo>
                  <a:pt x="596011" y="48260"/>
                </a:moveTo>
                <a:cubicBezTo>
                  <a:pt x="593344" y="48260"/>
                  <a:pt x="591058" y="48641"/>
                  <a:pt x="589153" y="49276"/>
                </a:cubicBezTo>
                <a:cubicBezTo>
                  <a:pt x="587121" y="49911"/>
                  <a:pt x="585216" y="51308"/>
                  <a:pt x="583311" y="53467"/>
                </a:cubicBezTo>
                <a:cubicBezTo>
                  <a:pt x="581660" y="55372"/>
                  <a:pt x="580390" y="58039"/>
                  <a:pt x="579374" y="61341"/>
                </a:cubicBezTo>
                <a:cubicBezTo>
                  <a:pt x="578485" y="64770"/>
                  <a:pt x="577977" y="68961"/>
                  <a:pt x="577977" y="74168"/>
                </a:cubicBezTo>
                <a:cubicBezTo>
                  <a:pt x="577977" y="78740"/>
                  <a:pt x="578358" y="82677"/>
                  <a:pt x="579247" y="85979"/>
                </a:cubicBezTo>
                <a:cubicBezTo>
                  <a:pt x="580136" y="89408"/>
                  <a:pt x="581279" y="92075"/>
                  <a:pt x="582930" y="94107"/>
                </a:cubicBezTo>
                <a:cubicBezTo>
                  <a:pt x="584581" y="96012"/>
                  <a:pt x="586486" y="97409"/>
                  <a:pt x="588645" y="98298"/>
                </a:cubicBezTo>
                <a:cubicBezTo>
                  <a:pt x="590804" y="99187"/>
                  <a:pt x="593344" y="99695"/>
                  <a:pt x="596265" y="99695"/>
                </a:cubicBezTo>
                <a:cubicBezTo>
                  <a:pt x="598678" y="99695"/>
                  <a:pt x="600964" y="99187"/>
                  <a:pt x="603123" y="98425"/>
                </a:cubicBezTo>
                <a:cubicBezTo>
                  <a:pt x="605409" y="97663"/>
                  <a:pt x="607187" y="96266"/>
                  <a:pt x="608838" y="94234"/>
                </a:cubicBezTo>
                <a:cubicBezTo>
                  <a:pt x="610489" y="92202"/>
                  <a:pt x="611759" y="89535"/>
                  <a:pt x="612648" y="86614"/>
                </a:cubicBezTo>
                <a:cubicBezTo>
                  <a:pt x="613537" y="83566"/>
                  <a:pt x="614045" y="79375"/>
                  <a:pt x="614045" y="74168"/>
                </a:cubicBezTo>
                <a:cubicBezTo>
                  <a:pt x="614045" y="69215"/>
                  <a:pt x="613537" y="65151"/>
                  <a:pt x="612648" y="61722"/>
                </a:cubicBezTo>
                <a:cubicBezTo>
                  <a:pt x="611759" y="58420"/>
                  <a:pt x="610489" y="55753"/>
                  <a:pt x="608965" y="53848"/>
                </a:cubicBezTo>
                <a:cubicBezTo>
                  <a:pt x="607314" y="51816"/>
                  <a:pt x="605409" y="50292"/>
                  <a:pt x="603250" y="49530"/>
                </a:cubicBezTo>
                <a:cubicBezTo>
                  <a:pt x="600964" y="48641"/>
                  <a:pt x="598551" y="48260"/>
                  <a:pt x="596011" y="48260"/>
                </a:cubicBezTo>
                <a:close/>
                <a:moveTo>
                  <a:pt x="400939" y="48260"/>
                </a:moveTo>
                <a:cubicBezTo>
                  <a:pt x="398272" y="48260"/>
                  <a:pt x="395986" y="48641"/>
                  <a:pt x="394081" y="49276"/>
                </a:cubicBezTo>
                <a:cubicBezTo>
                  <a:pt x="392049" y="49911"/>
                  <a:pt x="390144" y="51308"/>
                  <a:pt x="388239" y="53467"/>
                </a:cubicBezTo>
                <a:cubicBezTo>
                  <a:pt x="386588" y="55372"/>
                  <a:pt x="385318" y="58039"/>
                  <a:pt x="384302" y="61341"/>
                </a:cubicBezTo>
                <a:cubicBezTo>
                  <a:pt x="383413" y="64770"/>
                  <a:pt x="382905" y="68961"/>
                  <a:pt x="382905" y="74168"/>
                </a:cubicBezTo>
                <a:cubicBezTo>
                  <a:pt x="382905" y="78740"/>
                  <a:pt x="383286" y="82677"/>
                  <a:pt x="384175" y="85979"/>
                </a:cubicBezTo>
                <a:cubicBezTo>
                  <a:pt x="385064" y="89408"/>
                  <a:pt x="386207" y="92075"/>
                  <a:pt x="387857" y="94107"/>
                </a:cubicBezTo>
                <a:cubicBezTo>
                  <a:pt x="389508" y="96012"/>
                  <a:pt x="391414" y="97409"/>
                  <a:pt x="393573" y="98298"/>
                </a:cubicBezTo>
                <a:cubicBezTo>
                  <a:pt x="395732" y="99187"/>
                  <a:pt x="398272" y="99695"/>
                  <a:pt x="401193" y="99695"/>
                </a:cubicBezTo>
                <a:cubicBezTo>
                  <a:pt x="403606" y="99695"/>
                  <a:pt x="405892" y="99187"/>
                  <a:pt x="408051" y="98425"/>
                </a:cubicBezTo>
                <a:cubicBezTo>
                  <a:pt x="410337" y="97663"/>
                  <a:pt x="412115" y="96266"/>
                  <a:pt x="413766" y="94234"/>
                </a:cubicBezTo>
                <a:cubicBezTo>
                  <a:pt x="415417" y="92202"/>
                  <a:pt x="416687" y="89535"/>
                  <a:pt x="417576" y="86614"/>
                </a:cubicBezTo>
                <a:cubicBezTo>
                  <a:pt x="418465" y="83566"/>
                  <a:pt x="418973" y="79375"/>
                  <a:pt x="418973" y="74168"/>
                </a:cubicBezTo>
                <a:cubicBezTo>
                  <a:pt x="418973" y="69215"/>
                  <a:pt x="418465" y="65151"/>
                  <a:pt x="417576" y="61722"/>
                </a:cubicBezTo>
                <a:cubicBezTo>
                  <a:pt x="416687" y="58420"/>
                  <a:pt x="415417" y="55753"/>
                  <a:pt x="413893" y="53848"/>
                </a:cubicBezTo>
                <a:cubicBezTo>
                  <a:pt x="412242" y="51816"/>
                  <a:pt x="410337" y="50292"/>
                  <a:pt x="408178" y="49530"/>
                </a:cubicBezTo>
                <a:cubicBezTo>
                  <a:pt x="405892" y="48641"/>
                  <a:pt x="403479" y="48260"/>
                  <a:pt x="400939" y="48260"/>
                </a:cubicBezTo>
                <a:close/>
                <a:moveTo>
                  <a:pt x="225679" y="48260"/>
                </a:moveTo>
                <a:cubicBezTo>
                  <a:pt x="223012" y="48260"/>
                  <a:pt x="220726" y="48641"/>
                  <a:pt x="218820" y="49276"/>
                </a:cubicBezTo>
                <a:cubicBezTo>
                  <a:pt x="216789" y="49911"/>
                  <a:pt x="214883" y="51308"/>
                  <a:pt x="212979" y="53467"/>
                </a:cubicBezTo>
                <a:cubicBezTo>
                  <a:pt x="211328" y="55372"/>
                  <a:pt x="210057" y="58039"/>
                  <a:pt x="209042" y="61341"/>
                </a:cubicBezTo>
                <a:cubicBezTo>
                  <a:pt x="208153" y="64770"/>
                  <a:pt x="207644" y="68961"/>
                  <a:pt x="207644" y="74168"/>
                </a:cubicBezTo>
                <a:cubicBezTo>
                  <a:pt x="207644" y="78740"/>
                  <a:pt x="208026" y="82677"/>
                  <a:pt x="208915" y="85979"/>
                </a:cubicBezTo>
                <a:cubicBezTo>
                  <a:pt x="209804" y="89408"/>
                  <a:pt x="210947" y="92075"/>
                  <a:pt x="212598" y="94107"/>
                </a:cubicBezTo>
                <a:cubicBezTo>
                  <a:pt x="214249" y="96012"/>
                  <a:pt x="216154" y="97409"/>
                  <a:pt x="218313" y="98298"/>
                </a:cubicBezTo>
                <a:cubicBezTo>
                  <a:pt x="220472" y="99187"/>
                  <a:pt x="223012" y="99695"/>
                  <a:pt x="225932" y="99695"/>
                </a:cubicBezTo>
                <a:cubicBezTo>
                  <a:pt x="228345" y="99695"/>
                  <a:pt x="230632" y="99187"/>
                  <a:pt x="232791" y="98425"/>
                </a:cubicBezTo>
                <a:cubicBezTo>
                  <a:pt x="235077" y="97663"/>
                  <a:pt x="236855" y="96266"/>
                  <a:pt x="238506" y="94234"/>
                </a:cubicBezTo>
                <a:cubicBezTo>
                  <a:pt x="240157" y="92202"/>
                  <a:pt x="241427" y="89535"/>
                  <a:pt x="242316" y="86614"/>
                </a:cubicBezTo>
                <a:cubicBezTo>
                  <a:pt x="243205" y="83566"/>
                  <a:pt x="243713" y="79375"/>
                  <a:pt x="243713" y="74168"/>
                </a:cubicBezTo>
                <a:cubicBezTo>
                  <a:pt x="243713" y="69215"/>
                  <a:pt x="243205" y="65151"/>
                  <a:pt x="242316" y="61722"/>
                </a:cubicBezTo>
                <a:cubicBezTo>
                  <a:pt x="241427" y="58420"/>
                  <a:pt x="240157" y="55753"/>
                  <a:pt x="238632" y="53848"/>
                </a:cubicBezTo>
                <a:cubicBezTo>
                  <a:pt x="236982" y="51816"/>
                  <a:pt x="235077" y="50292"/>
                  <a:pt x="232918" y="49530"/>
                </a:cubicBezTo>
                <a:cubicBezTo>
                  <a:pt x="230632" y="48641"/>
                  <a:pt x="228219" y="48260"/>
                  <a:pt x="225679" y="48260"/>
                </a:cubicBezTo>
                <a:close/>
                <a:moveTo>
                  <a:pt x="164083" y="31877"/>
                </a:moveTo>
                <a:cubicBezTo>
                  <a:pt x="164973" y="31877"/>
                  <a:pt x="165989" y="31877"/>
                  <a:pt x="167258" y="31877"/>
                </a:cubicBezTo>
                <a:cubicBezTo>
                  <a:pt x="168402" y="32004"/>
                  <a:pt x="169418" y="32004"/>
                  <a:pt x="170307" y="32131"/>
                </a:cubicBezTo>
                <a:lnTo>
                  <a:pt x="170307" y="57658"/>
                </a:lnTo>
                <a:lnTo>
                  <a:pt x="168020" y="57658"/>
                </a:lnTo>
                <a:cubicBezTo>
                  <a:pt x="166878" y="57277"/>
                  <a:pt x="164973" y="57023"/>
                  <a:pt x="162432" y="56769"/>
                </a:cubicBezTo>
                <a:cubicBezTo>
                  <a:pt x="160019" y="56642"/>
                  <a:pt x="157861" y="56515"/>
                  <a:pt x="156210" y="56515"/>
                </a:cubicBezTo>
                <a:cubicBezTo>
                  <a:pt x="152400" y="56515"/>
                  <a:pt x="148970" y="56769"/>
                  <a:pt x="146050" y="57277"/>
                </a:cubicBezTo>
                <a:cubicBezTo>
                  <a:pt x="143129" y="57785"/>
                  <a:pt x="139954" y="58547"/>
                  <a:pt x="136652" y="59817"/>
                </a:cubicBezTo>
                <a:lnTo>
                  <a:pt x="136652" y="115697"/>
                </a:lnTo>
                <a:lnTo>
                  <a:pt x="109728" y="115697"/>
                </a:lnTo>
                <a:lnTo>
                  <a:pt x="109728" y="32131"/>
                </a:lnTo>
                <a:lnTo>
                  <a:pt x="136652" y="32131"/>
                </a:lnTo>
                <a:lnTo>
                  <a:pt x="136652" y="44450"/>
                </a:lnTo>
                <a:cubicBezTo>
                  <a:pt x="142494" y="39370"/>
                  <a:pt x="147701" y="36068"/>
                  <a:pt x="152019" y="34290"/>
                </a:cubicBezTo>
                <a:cubicBezTo>
                  <a:pt x="156337" y="32639"/>
                  <a:pt x="160401" y="31877"/>
                  <a:pt x="164083" y="31877"/>
                </a:cubicBezTo>
                <a:close/>
                <a:moveTo>
                  <a:pt x="750697" y="29845"/>
                </a:moveTo>
                <a:cubicBezTo>
                  <a:pt x="756920" y="29845"/>
                  <a:pt x="763016" y="30480"/>
                  <a:pt x="768731" y="31750"/>
                </a:cubicBezTo>
                <a:cubicBezTo>
                  <a:pt x="774446" y="33020"/>
                  <a:pt x="778891" y="34417"/>
                  <a:pt x="782066" y="35814"/>
                </a:cubicBezTo>
                <a:lnTo>
                  <a:pt x="782066" y="56896"/>
                </a:lnTo>
                <a:lnTo>
                  <a:pt x="779780" y="56896"/>
                </a:lnTo>
                <a:cubicBezTo>
                  <a:pt x="775843" y="54229"/>
                  <a:pt x="771271" y="51943"/>
                  <a:pt x="766191" y="50292"/>
                </a:cubicBezTo>
                <a:cubicBezTo>
                  <a:pt x="761111" y="48514"/>
                  <a:pt x="756031" y="47752"/>
                  <a:pt x="750824" y="47752"/>
                </a:cubicBezTo>
                <a:cubicBezTo>
                  <a:pt x="746506" y="47752"/>
                  <a:pt x="742823" y="48260"/>
                  <a:pt x="739902" y="49530"/>
                </a:cubicBezTo>
                <a:cubicBezTo>
                  <a:pt x="736981" y="50673"/>
                  <a:pt x="735457" y="52324"/>
                  <a:pt x="735457" y="54610"/>
                </a:cubicBezTo>
                <a:cubicBezTo>
                  <a:pt x="735457" y="56515"/>
                  <a:pt x="736092" y="58039"/>
                  <a:pt x="737489" y="59055"/>
                </a:cubicBezTo>
                <a:cubicBezTo>
                  <a:pt x="738759" y="60198"/>
                  <a:pt x="741934" y="61214"/>
                  <a:pt x="746887" y="62230"/>
                </a:cubicBezTo>
                <a:cubicBezTo>
                  <a:pt x="749681" y="62738"/>
                  <a:pt x="752602" y="63246"/>
                  <a:pt x="755777" y="63881"/>
                </a:cubicBezTo>
                <a:cubicBezTo>
                  <a:pt x="758952" y="64389"/>
                  <a:pt x="762000" y="65024"/>
                  <a:pt x="765175" y="65786"/>
                </a:cubicBezTo>
                <a:cubicBezTo>
                  <a:pt x="772287" y="67691"/>
                  <a:pt x="777494" y="70485"/>
                  <a:pt x="780796" y="74422"/>
                </a:cubicBezTo>
                <a:cubicBezTo>
                  <a:pt x="784225" y="78359"/>
                  <a:pt x="785876" y="83312"/>
                  <a:pt x="785876" y="89281"/>
                </a:cubicBezTo>
                <a:cubicBezTo>
                  <a:pt x="785876" y="97917"/>
                  <a:pt x="782066" y="104775"/>
                  <a:pt x="774319" y="110109"/>
                </a:cubicBezTo>
                <a:cubicBezTo>
                  <a:pt x="766572" y="115443"/>
                  <a:pt x="756031" y="117983"/>
                  <a:pt x="742569" y="117983"/>
                </a:cubicBezTo>
                <a:cubicBezTo>
                  <a:pt x="735076" y="117983"/>
                  <a:pt x="728345" y="117348"/>
                  <a:pt x="722249" y="115951"/>
                </a:cubicBezTo>
                <a:cubicBezTo>
                  <a:pt x="716280" y="114554"/>
                  <a:pt x="711327" y="113030"/>
                  <a:pt x="707771" y="111379"/>
                </a:cubicBezTo>
                <a:lnTo>
                  <a:pt x="707771" y="89281"/>
                </a:lnTo>
                <a:lnTo>
                  <a:pt x="710184" y="89281"/>
                </a:lnTo>
                <a:cubicBezTo>
                  <a:pt x="711454" y="90297"/>
                  <a:pt x="713105" y="91313"/>
                  <a:pt x="714756" y="92456"/>
                </a:cubicBezTo>
                <a:cubicBezTo>
                  <a:pt x="716534" y="93472"/>
                  <a:pt x="719074" y="94742"/>
                  <a:pt x="722249" y="96012"/>
                </a:cubicBezTo>
                <a:cubicBezTo>
                  <a:pt x="725043" y="97155"/>
                  <a:pt x="728218" y="98171"/>
                  <a:pt x="731774" y="98933"/>
                </a:cubicBezTo>
                <a:cubicBezTo>
                  <a:pt x="735203" y="99822"/>
                  <a:pt x="739013" y="100203"/>
                  <a:pt x="743077" y="100203"/>
                </a:cubicBezTo>
                <a:cubicBezTo>
                  <a:pt x="748284" y="100203"/>
                  <a:pt x="752221" y="99568"/>
                  <a:pt x="754761" y="98425"/>
                </a:cubicBezTo>
                <a:cubicBezTo>
                  <a:pt x="757301" y="97282"/>
                  <a:pt x="758571" y="95504"/>
                  <a:pt x="758571" y="93218"/>
                </a:cubicBezTo>
                <a:cubicBezTo>
                  <a:pt x="758571" y="91186"/>
                  <a:pt x="757809" y="89789"/>
                  <a:pt x="756285" y="88773"/>
                </a:cubicBezTo>
                <a:cubicBezTo>
                  <a:pt x="754761" y="87884"/>
                  <a:pt x="751967" y="86995"/>
                  <a:pt x="747776" y="86233"/>
                </a:cubicBezTo>
                <a:cubicBezTo>
                  <a:pt x="745871" y="85725"/>
                  <a:pt x="743204" y="85217"/>
                  <a:pt x="739775" y="84709"/>
                </a:cubicBezTo>
                <a:cubicBezTo>
                  <a:pt x="736346" y="84201"/>
                  <a:pt x="733298" y="83566"/>
                  <a:pt x="730504" y="82804"/>
                </a:cubicBezTo>
                <a:cubicBezTo>
                  <a:pt x="722884" y="80899"/>
                  <a:pt x="717296" y="77724"/>
                  <a:pt x="713613" y="73533"/>
                </a:cubicBezTo>
                <a:cubicBezTo>
                  <a:pt x="709930" y="69342"/>
                  <a:pt x="708025" y="64135"/>
                  <a:pt x="708025" y="57912"/>
                </a:cubicBezTo>
                <a:cubicBezTo>
                  <a:pt x="708025" y="49911"/>
                  <a:pt x="711835" y="43180"/>
                  <a:pt x="719455" y="37846"/>
                </a:cubicBezTo>
                <a:cubicBezTo>
                  <a:pt x="727075" y="32512"/>
                  <a:pt x="737489" y="29845"/>
                  <a:pt x="750697" y="29845"/>
                </a:cubicBezTo>
                <a:close/>
                <a:moveTo>
                  <a:pt x="509143" y="29845"/>
                </a:moveTo>
                <a:cubicBezTo>
                  <a:pt x="514858" y="29845"/>
                  <a:pt x="520065" y="30480"/>
                  <a:pt x="524891" y="31750"/>
                </a:cubicBezTo>
                <a:cubicBezTo>
                  <a:pt x="529717" y="32893"/>
                  <a:pt x="534162" y="34544"/>
                  <a:pt x="538353" y="36576"/>
                </a:cubicBezTo>
                <a:lnTo>
                  <a:pt x="538353" y="59436"/>
                </a:lnTo>
                <a:lnTo>
                  <a:pt x="534543" y="59436"/>
                </a:lnTo>
                <a:cubicBezTo>
                  <a:pt x="533527" y="58547"/>
                  <a:pt x="532257" y="57404"/>
                  <a:pt x="530860" y="56261"/>
                </a:cubicBezTo>
                <a:cubicBezTo>
                  <a:pt x="529336" y="55118"/>
                  <a:pt x="527558" y="53975"/>
                  <a:pt x="525399" y="52832"/>
                </a:cubicBezTo>
                <a:cubicBezTo>
                  <a:pt x="523367" y="51689"/>
                  <a:pt x="521208" y="50800"/>
                  <a:pt x="518795" y="50038"/>
                </a:cubicBezTo>
                <a:cubicBezTo>
                  <a:pt x="516255" y="49276"/>
                  <a:pt x="513461" y="49022"/>
                  <a:pt x="510286" y="49022"/>
                </a:cubicBezTo>
                <a:cubicBezTo>
                  <a:pt x="503174" y="49022"/>
                  <a:pt x="497713" y="51308"/>
                  <a:pt x="493776" y="55753"/>
                </a:cubicBezTo>
                <a:cubicBezTo>
                  <a:pt x="489966" y="60325"/>
                  <a:pt x="488061" y="66548"/>
                  <a:pt x="488061" y="74295"/>
                </a:cubicBezTo>
                <a:cubicBezTo>
                  <a:pt x="488061" y="82296"/>
                  <a:pt x="489966" y="88392"/>
                  <a:pt x="493903" y="92583"/>
                </a:cubicBezTo>
                <a:cubicBezTo>
                  <a:pt x="497840" y="96774"/>
                  <a:pt x="503428" y="98806"/>
                  <a:pt x="510667" y="98806"/>
                </a:cubicBezTo>
                <a:cubicBezTo>
                  <a:pt x="514096" y="98806"/>
                  <a:pt x="517144" y="98425"/>
                  <a:pt x="519811" y="97663"/>
                </a:cubicBezTo>
                <a:cubicBezTo>
                  <a:pt x="522478" y="96901"/>
                  <a:pt x="524764" y="96012"/>
                  <a:pt x="526542" y="94996"/>
                </a:cubicBezTo>
                <a:cubicBezTo>
                  <a:pt x="528193" y="93980"/>
                  <a:pt x="529717" y="92964"/>
                  <a:pt x="530987" y="91821"/>
                </a:cubicBezTo>
                <a:cubicBezTo>
                  <a:pt x="532257" y="90805"/>
                  <a:pt x="533527" y="89662"/>
                  <a:pt x="534543" y="88646"/>
                </a:cubicBezTo>
                <a:lnTo>
                  <a:pt x="538353" y="88646"/>
                </a:lnTo>
                <a:lnTo>
                  <a:pt x="538353" y="111506"/>
                </a:lnTo>
                <a:cubicBezTo>
                  <a:pt x="534162" y="113411"/>
                  <a:pt x="529717" y="115062"/>
                  <a:pt x="525145" y="116205"/>
                </a:cubicBezTo>
                <a:cubicBezTo>
                  <a:pt x="520573" y="117348"/>
                  <a:pt x="515493" y="117983"/>
                  <a:pt x="509905" y="117983"/>
                </a:cubicBezTo>
                <a:cubicBezTo>
                  <a:pt x="502666" y="117983"/>
                  <a:pt x="495935" y="117094"/>
                  <a:pt x="489966" y="115316"/>
                </a:cubicBezTo>
                <a:cubicBezTo>
                  <a:pt x="483870" y="113665"/>
                  <a:pt x="478663" y="110998"/>
                  <a:pt x="474218" y="107315"/>
                </a:cubicBezTo>
                <a:cubicBezTo>
                  <a:pt x="469773" y="103632"/>
                  <a:pt x="466344" y="99187"/>
                  <a:pt x="463931" y="93599"/>
                </a:cubicBezTo>
                <a:cubicBezTo>
                  <a:pt x="461518" y="88138"/>
                  <a:pt x="460248" y="81661"/>
                  <a:pt x="460248" y="74295"/>
                </a:cubicBezTo>
                <a:cubicBezTo>
                  <a:pt x="460248" y="66548"/>
                  <a:pt x="461644" y="59817"/>
                  <a:pt x="464185" y="54102"/>
                </a:cubicBezTo>
                <a:cubicBezTo>
                  <a:pt x="466852" y="48514"/>
                  <a:pt x="470407" y="43815"/>
                  <a:pt x="475107" y="40005"/>
                </a:cubicBezTo>
                <a:cubicBezTo>
                  <a:pt x="479679" y="36576"/>
                  <a:pt x="484886" y="33909"/>
                  <a:pt x="490728" y="32258"/>
                </a:cubicBezTo>
                <a:cubicBezTo>
                  <a:pt x="496697" y="30607"/>
                  <a:pt x="502793" y="29845"/>
                  <a:pt x="509143" y="29845"/>
                </a:cubicBezTo>
                <a:close/>
                <a:moveTo>
                  <a:pt x="596011" y="29591"/>
                </a:moveTo>
                <a:cubicBezTo>
                  <a:pt x="610616" y="29591"/>
                  <a:pt x="621792" y="33528"/>
                  <a:pt x="629793" y="41402"/>
                </a:cubicBezTo>
                <a:cubicBezTo>
                  <a:pt x="637794" y="49403"/>
                  <a:pt x="641731" y="60198"/>
                  <a:pt x="641731" y="74041"/>
                </a:cubicBezTo>
                <a:cubicBezTo>
                  <a:pt x="641731" y="87757"/>
                  <a:pt x="637794" y="98552"/>
                  <a:pt x="629666" y="106426"/>
                </a:cubicBezTo>
                <a:cubicBezTo>
                  <a:pt x="621665" y="114427"/>
                  <a:pt x="610489" y="118364"/>
                  <a:pt x="596011" y="118364"/>
                </a:cubicBezTo>
                <a:cubicBezTo>
                  <a:pt x="581533" y="118364"/>
                  <a:pt x="570230" y="114427"/>
                  <a:pt x="562229" y="106426"/>
                </a:cubicBezTo>
                <a:cubicBezTo>
                  <a:pt x="554228" y="98552"/>
                  <a:pt x="550164" y="87757"/>
                  <a:pt x="550164" y="74041"/>
                </a:cubicBezTo>
                <a:cubicBezTo>
                  <a:pt x="550164" y="60198"/>
                  <a:pt x="554228" y="49276"/>
                  <a:pt x="562356" y="41402"/>
                </a:cubicBezTo>
                <a:cubicBezTo>
                  <a:pt x="570357" y="33528"/>
                  <a:pt x="581533" y="29591"/>
                  <a:pt x="596011" y="29591"/>
                </a:cubicBezTo>
                <a:close/>
                <a:moveTo>
                  <a:pt x="400939" y="29591"/>
                </a:moveTo>
                <a:cubicBezTo>
                  <a:pt x="415544" y="29591"/>
                  <a:pt x="426719" y="33528"/>
                  <a:pt x="434720" y="41402"/>
                </a:cubicBezTo>
                <a:cubicBezTo>
                  <a:pt x="442722" y="49403"/>
                  <a:pt x="446658" y="60198"/>
                  <a:pt x="446658" y="74041"/>
                </a:cubicBezTo>
                <a:cubicBezTo>
                  <a:pt x="446658" y="87757"/>
                  <a:pt x="442722" y="98552"/>
                  <a:pt x="434594" y="106426"/>
                </a:cubicBezTo>
                <a:cubicBezTo>
                  <a:pt x="426593" y="114427"/>
                  <a:pt x="415417" y="118364"/>
                  <a:pt x="400939" y="118364"/>
                </a:cubicBezTo>
                <a:cubicBezTo>
                  <a:pt x="386461" y="118364"/>
                  <a:pt x="375157" y="114427"/>
                  <a:pt x="367157" y="106426"/>
                </a:cubicBezTo>
                <a:cubicBezTo>
                  <a:pt x="359156" y="98552"/>
                  <a:pt x="355092" y="87757"/>
                  <a:pt x="355092" y="74041"/>
                </a:cubicBezTo>
                <a:cubicBezTo>
                  <a:pt x="355092" y="60198"/>
                  <a:pt x="359156" y="49276"/>
                  <a:pt x="367283" y="41402"/>
                </a:cubicBezTo>
                <a:cubicBezTo>
                  <a:pt x="375285" y="33528"/>
                  <a:pt x="386461" y="29591"/>
                  <a:pt x="400939" y="29591"/>
                </a:cubicBezTo>
                <a:close/>
                <a:moveTo>
                  <a:pt x="225679" y="29591"/>
                </a:moveTo>
                <a:cubicBezTo>
                  <a:pt x="240283" y="29591"/>
                  <a:pt x="251460" y="33528"/>
                  <a:pt x="259461" y="41402"/>
                </a:cubicBezTo>
                <a:cubicBezTo>
                  <a:pt x="267462" y="49403"/>
                  <a:pt x="271399" y="60198"/>
                  <a:pt x="271399" y="74041"/>
                </a:cubicBezTo>
                <a:cubicBezTo>
                  <a:pt x="271399" y="87757"/>
                  <a:pt x="267462" y="98552"/>
                  <a:pt x="259333" y="106426"/>
                </a:cubicBezTo>
                <a:cubicBezTo>
                  <a:pt x="251332" y="114427"/>
                  <a:pt x="240157" y="118364"/>
                  <a:pt x="225679" y="118364"/>
                </a:cubicBezTo>
                <a:cubicBezTo>
                  <a:pt x="211201" y="118364"/>
                  <a:pt x="199898" y="114427"/>
                  <a:pt x="191897" y="106426"/>
                </a:cubicBezTo>
                <a:cubicBezTo>
                  <a:pt x="183895" y="98552"/>
                  <a:pt x="179832" y="87757"/>
                  <a:pt x="179832" y="74041"/>
                </a:cubicBezTo>
                <a:cubicBezTo>
                  <a:pt x="179832" y="60198"/>
                  <a:pt x="183895" y="49276"/>
                  <a:pt x="192024" y="41402"/>
                </a:cubicBezTo>
                <a:cubicBezTo>
                  <a:pt x="200025" y="33528"/>
                  <a:pt x="211201" y="29591"/>
                  <a:pt x="225679" y="29591"/>
                </a:cubicBezTo>
                <a:close/>
                <a:moveTo>
                  <a:pt x="28575" y="25654"/>
                </a:moveTo>
                <a:lnTo>
                  <a:pt x="28575" y="58674"/>
                </a:lnTo>
                <a:lnTo>
                  <a:pt x="36830" y="58674"/>
                </a:lnTo>
                <a:cubicBezTo>
                  <a:pt x="41656" y="58674"/>
                  <a:pt x="45593" y="58420"/>
                  <a:pt x="48768" y="57785"/>
                </a:cubicBezTo>
                <a:cubicBezTo>
                  <a:pt x="51943" y="57277"/>
                  <a:pt x="54610" y="56007"/>
                  <a:pt x="56769" y="54229"/>
                </a:cubicBezTo>
                <a:cubicBezTo>
                  <a:pt x="58547" y="52705"/>
                  <a:pt x="59944" y="50800"/>
                  <a:pt x="60706" y="48641"/>
                </a:cubicBezTo>
                <a:cubicBezTo>
                  <a:pt x="61468" y="46355"/>
                  <a:pt x="61976" y="43688"/>
                  <a:pt x="61976" y="40513"/>
                </a:cubicBezTo>
                <a:cubicBezTo>
                  <a:pt x="61976" y="37465"/>
                  <a:pt x="61087" y="34671"/>
                  <a:pt x="59436" y="32512"/>
                </a:cubicBezTo>
                <a:cubicBezTo>
                  <a:pt x="57657" y="30226"/>
                  <a:pt x="55753" y="28702"/>
                  <a:pt x="53467" y="27813"/>
                </a:cubicBezTo>
                <a:cubicBezTo>
                  <a:pt x="50545" y="26543"/>
                  <a:pt x="47625" y="25908"/>
                  <a:pt x="44831" y="25781"/>
                </a:cubicBezTo>
                <a:cubicBezTo>
                  <a:pt x="42037" y="25654"/>
                  <a:pt x="38227" y="25654"/>
                  <a:pt x="33528" y="25654"/>
                </a:cubicBezTo>
                <a:close/>
                <a:moveTo>
                  <a:pt x="292735" y="8255"/>
                </a:moveTo>
                <a:lnTo>
                  <a:pt x="319532" y="8255"/>
                </a:lnTo>
                <a:lnTo>
                  <a:pt x="319532" y="32131"/>
                </a:lnTo>
                <a:lnTo>
                  <a:pt x="344551" y="32131"/>
                </a:lnTo>
                <a:lnTo>
                  <a:pt x="344551" y="50292"/>
                </a:lnTo>
                <a:lnTo>
                  <a:pt x="319532" y="50292"/>
                </a:lnTo>
                <a:lnTo>
                  <a:pt x="319532" y="80010"/>
                </a:lnTo>
                <a:cubicBezTo>
                  <a:pt x="319532" y="82931"/>
                  <a:pt x="319532" y="85471"/>
                  <a:pt x="319658" y="87630"/>
                </a:cubicBezTo>
                <a:cubicBezTo>
                  <a:pt x="319658" y="89789"/>
                  <a:pt x="320040" y="91821"/>
                  <a:pt x="320802" y="93599"/>
                </a:cubicBezTo>
                <a:cubicBezTo>
                  <a:pt x="321564" y="95250"/>
                  <a:pt x="322707" y="96647"/>
                  <a:pt x="324485" y="97663"/>
                </a:cubicBezTo>
                <a:cubicBezTo>
                  <a:pt x="326263" y="98679"/>
                  <a:pt x="328803" y="99187"/>
                  <a:pt x="332232" y="99187"/>
                </a:cubicBezTo>
                <a:cubicBezTo>
                  <a:pt x="333502" y="99187"/>
                  <a:pt x="335407" y="98933"/>
                  <a:pt x="337693" y="98298"/>
                </a:cubicBezTo>
                <a:cubicBezTo>
                  <a:pt x="339852" y="97663"/>
                  <a:pt x="341503" y="97155"/>
                  <a:pt x="342392" y="96647"/>
                </a:cubicBezTo>
                <a:lnTo>
                  <a:pt x="344551" y="96647"/>
                </a:lnTo>
                <a:lnTo>
                  <a:pt x="344551" y="114935"/>
                </a:lnTo>
                <a:cubicBezTo>
                  <a:pt x="341630" y="115697"/>
                  <a:pt x="338582" y="116332"/>
                  <a:pt x="335407" y="116713"/>
                </a:cubicBezTo>
                <a:cubicBezTo>
                  <a:pt x="332232" y="117094"/>
                  <a:pt x="328294" y="117348"/>
                  <a:pt x="323595" y="117348"/>
                </a:cubicBezTo>
                <a:cubicBezTo>
                  <a:pt x="313182" y="117348"/>
                  <a:pt x="305435" y="115316"/>
                  <a:pt x="300355" y="110998"/>
                </a:cubicBezTo>
                <a:cubicBezTo>
                  <a:pt x="295275" y="106807"/>
                  <a:pt x="292735" y="99568"/>
                  <a:pt x="292735" y="89408"/>
                </a:cubicBezTo>
                <a:lnTo>
                  <a:pt x="292735" y="50292"/>
                </a:lnTo>
                <a:lnTo>
                  <a:pt x="281686" y="50292"/>
                </a:lnTo>
                <a:lnTo>
                  <a:pt x="281686" y="32131"/>
                </a:lnTo>
                <a:lnTo>
                  <a:pt x="292735" y="32131"/>
                </a:lnTo>
                <a:close/>
                <a:moveTo>
                  <a:pt x="0" y="4953"/>
                </a:moveTo>
                <a:lnTo>
                  <a:pt x="46990" y="4953"/>
                </a:lnTo>
                <a:cubicBezTo>
                  <a:pt x="54102" y="4953"/>
                  <a:pt x="60070" y="5588"/>
                  <a:pt x="64897" y="6731"/>
                </a:cubicBezTo>
                <a:cubicBezTo>
                  <a:pt x="69723" y="8001"/>
                  <a:pt x="74041" y="9779"/>
                  <a:pt x="77724" y="12192"/>
                </a:cubicBezTo>
                <a:cubicBezTo>
                  <a:pt x="82169" y="15113"/>
                  <a:pt x="85598" y="18923"/>
                  <a:pt x="87883" y="23495"/>
                </a:cubicBezTo>
                <a:cubicBezTo>
                  <a:pt x="90297" y="28067"/>
                  <a:pt x="91440" y="33528"/>
                  <a:pt x="91440" y="39878"/>
                </a:cubicBezTo>
                <a:cubicBezTo>
                  <a:pt x="91440" y="44831"/>
                  <a:pt x="90551" y="49657"/>
                  <a:pt x="88900" y="54483"/>
                </a:cubicBezTo>
                <a:cubicBezTo>
                  <a:pt x="87122" y="59182"/>
                  <a:pt x="84708" y="63119"/>
                  <a:pt x="81407" y="66421"/>
                </a:cubicBezTo>
                <a:cubicBezTo>
                  <a:pt x="76962" y="70739"/>
                  <a:pt x="72136" y="74041"/>
                  <a:pt x="66675" y="76327"/>
                </a:cubicBezTo>
                <a:cubicBezTo>
                  <a:pt x="61214" y="78486"/>
                  <a:pt x="54482" y="79629"/>
                  <a:pt x="46355" y="79629"/>
                </a:cubicBezTo>
                <a:lnTo>
                  <a:pt x="28575" y="79629"/>
                </a:lnTo>
                <a:lnTo>
                  <a:pt x="28575" y="115697"/>
                </a:lnTo>
                <a:lnTo>
                  <a:pt x="0" y="115697"/>
                </a:lnTo>
                <a:close/>
                <a:moveTo>
                  <a:pt x="661416" y="0"/>
                </a:moveTo>
                <a:lnTo>
                  <a:pt x="688340" y="0"/>
                </a:lnTo>
                <a:lnTo>
                  <a:pt x="688340" y="115697"/>
                </a:lnTo>
                <a:lnTo>
                  <a:pt x="661416" y="115697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81" name="object 781"/>
          <p:cNvSpPr/>
          <p:nvPr/>
        </p:nvSpPr>
        <p:spPr>
          <a:xfrm>
            <a:off x="8498713" y="2354311"/>
            <a:ext cx="9144" cy="9143"/>
          </a:xfrm>
          <a:custGeom>
            <a:avLst/>
            <a:gdLst/>
            <a:ahLst/>
            <a:cxnLst/>
            <a:rect l="l" t="t" r="r" b="b"/>
            <a:pathLst>
              <a:path w="9144" h="9143"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82" name="object 782"/>
          <p:cNvSpPr/>
          <p:nvPr/>
        </p:nvSpPr>
        <p:spPr>
          <a:xfrm>
            <a:off x="8480735" y="2354199"/>
            <a:ext cx="45211" cy="60578"/>
          </a:xfrm>
          <a:custGeom>
            <a:avLst/>
            <a:gdLst/>
            <a:ahLst/>
            <a:cxnLst/>
            <a:rect l="l" t="t" r="r" b="b"/>
            <a:pathLst>
              <a:path w="45211" h="60578">
                <a:moveTo>
                  <a:pt x="22606" y="4572"/>
                </a:moveTo>
                <a:cubicBezTo>
                  <a:pt x="19939" y="4572"/>
                  <a:pt x="17653" y="4953"/>
                  <a:pt x="15748" y="5588"/>
                </a:cubicBezTo>
                <a:cubicBezTo>
                  <a:pt x="13716" y="6223"/>
                  <a:pt x="11811" y="7620"/>
                  <a:pt x="9906" y="9779"/>
                </a:cubicBezTo>
                <a:cubicBezTo>
                  <a:pt x="8255" y="11684"/>
                  <a:pt x="6985" y="14351"/>
                  <a:pt x="5969" y="17653"/>
                </a:cubicBezTo>
                <a:cubicBezTo>
                  <a:pt x="5080" y="21082"/>
                  <a:pt x="4572" y="25273"/>
                  <a:pt x="4572" y="30480"/>
                </a:cubicBezTo>
                <a:cubicBezTo>
                  <a:pt x="4572" y="35052"/>
                  <a:pt x="4953" y="38989"/>
                  <a:pt x="5842" y="42291"/>
                </a:cubicBezTo>
                <a:cubicBezTo>
                  <a:pt x="6731" y="45720"/>
                  <a:pt x="7874" y="48387"/>
                  <a:pt x="9525" y="50419"/>
                </a:cubicBezTo>
                <a:cubicBezTo>
                  <a:pt x="11176" y="52324"/>
                  <a:pt x="13081" y="53721"/>
                  <a:pt x="15240" y="54610"/>
                </a:cubicBezTo>
                <a:cubicBezTo>
                  <a:pt x="17399" y="55499"/>
                  <a:pt x="19939" y="56007"/>
                  <a:pt x="22860" y="56007"/>
                </a:cubicBezTo>
                <a:cubicBezTo>
                  <a:pt x="25273" y="56007"/>
                  <a:pt x="27559" y="55499"/>
                  <a:pt x="29718" y="54737"/>
                </a:cubicBezTo>
                <a:cubicBezTo>
                  <a:pt x="32004" y="53975"/>
                  <a:pt x="33782" y="52578"/>
                  <a:pt x="35433" y="50546"/>
                </a:cubicBezTo>
                <a:cubicBezTo>
                  <a:pt x="37084" y="48514"/>
                  <a:pt x="38354" y="45847"/>
                  <a:pt x="39243" y="42926"/>
                </a:cubicBezTo>
                <a:cubicBezTo>
                  <a:pt x="40132" y="39878"/>
                  <a:pt x="40640" y="35687"/>
                  <a:pt x="40640" y="30480"/>
                </a:cubicBezTo>
                <a:cubicBezTo>
                  <a:pt x="40640" y="25527"/>
                  <a:pt x="40132" y="21463"/>
                  <a:pt x="39243" y="18034"/>
                </a:cubicBezTo>
                <a:cubicBezTo>
                  <a:pt x="38354" y="14732"/>
                  <a:pt x="37084" y="12065"/>
                  <a:pt x="35560" y="10160"/>
                </a:cubicBezTo>
                <a:cubicBezTo>
                  <a:pt x="33909" y="8128"/>
                  <a:pt x="32004" y="6604"/>
                  <a:pt x="29845" y="5842"/>
                </a:cubicBezTo>
                <a:cubicBezTo>
                  <a:pt x="27559" y="4953"/>
                  <a:pt x="25146" y="4572"/>
                  <a:pt x="22606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83" name="object 783"/>
          <p:cNvSpPr/>
          <p:nvPr/>
        </p:nvSpPr>
        <p:spPr>
          <a:xfrm>
            <a:off x="8303641" y="2354311"/>
            <a:ext cx="204216" cy="9143"/>
          </a:xfrm>
          <a:custGeom>
            <a:avLst/>
            <a:gdLst/>
            <a:ahLst/>
            <a:cxnLst/>
            <a:rect l="l" t="t" r="r" b="b"/>
            <a:pathLst>
              <a:path w="204216" h="9143">
                <a:moveTo>
                  <a:pt x="199644" y="4572"/>
                </a:moveTo>
                <a:moveTo>
                  <a:pt x="199644" y="4572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84" name="object 784"/>
          <p:cNvSpPr/>
          <p:nvPr/>
        </p:nvSpPr>
        <p:spPr>
          <a:xfrm>
            <a:off x="8285663" y="2354199"/>
            <a:ext cx="45211" cy="60578"/>
          </a:xfrm>
          <a:custGeom>
            <a:avLst/>
            <a:gdLst/>
            <a:ahLst/>
            <a:cxnLst/>
            <a:rect l="l" t="t" r="r" b="b"/>
            <a:pathLst>
              <a:path w="45211" h="60578">
                <a:moveTo>
                  <a:pt x="22606" y="4572"/>
                </a:moveTo>
                <a:cubicBezTo>
                  <a:pt x="19939" y="4572"/>
                  <a:pt x="17653" y="4953"/>
                  <a:pt x="15748" y="5588"/>
                </a:cubicBezTo>
                <a:cubicBezTo>
                  <a:pt x="13716" y="6223"/>
                  <a:pt x="11811" y="7620"/>
                  <a:pt x="9906" y="9779"/>
                </a:cubicBezTo>
                <a:cubicBezTo>
                  <a:pt x="8255" y="11684"/>
                  <a:pt x="6985" y="14351"/>
                  <a:pt x="5969" y="17653"/>
                </a:cubicBezTo>
                <a:cubicBezTo>
                  <a:pt x="5080" y="21082"/>
                  <a:pt x="4572" y="25273"/>
                  <a:pt x="4572" y="30480"/>
                </a:cubicBezTo>
                <a:cubicBezTo>
                  <a:pt x="4572" y="35052"/>
                  <a:pt x="4953" y="38989"/>
                  <a:pt x="5842" y="42291"/>
                </a:cubicBezTo>
                <a:cubicBezTo>
                  <a:pt x="6731" y="45720"/>
                  <a:pt x="7874" y="48387"/>
                  <a:pt x="9524" y="50419"/>
                </a:cubicBezTo>
                <a:cubicBezTo>
                  <a:pt x="11175" y="52324"/>
                  <a:pt x="13081" y="53721"/>
                  <a:pt x="15240" y="54610"/>
                </a:cubicBezTo>
                <a:cubicBezTo>
                  <a:pt x="17399" y="55499"/>
                  <a:pt x="19939" y="56007"/>
                  <a:pt x="22860" y="56007"/>
                </a:cubicBezTo>
                <a:cubicBezTo>
                  <a:pt x="25273" y="56007"/>
                  <a:pt x="27559" y="55499"/>
                  <a:pt x="29718" y="54737"/>
                </a:cubicBezTo>
                <a:cubicBezTo>
                  <a:pt x="32004" y="53975"/>
                  <a:pt x="33782" y="52578"/>
                  <a:pt x="35433" y="50546"/>
                </a:cubicBezTo>
                <a:cubicBezTo>
                  <a:pt x="37084" y="48514"/>
                  <a:pt x="38354" y="45847"/>
                  <a:pt x="39243" y="42926"/>
                </a:cubicBezTo>
                <a:cubicBezTo>
                  <a:pt x="40132" y="39878"/>
                  <a:pt x="40640" y="35687"/>
                  <a:pt x="40640" y="30480"/>
                </a:cubicBezTo>
                <a:cubicBezTo>
                  <a:pt x="40640" y="25527"/>
                  <a:pt x="40132" y="21463"/>
                  <a:pt x="39243" y="18034"/>
                </a:cubicBezTo>
                <a:cubicBezTo>
                  <a:pt x="38354" y="14732"/>
                  <a:pt x="37084" y="12065"/>
                  <a:pt x="35560" y="10160"/>
                </a:cubicBezTo>
                <a:cubicBezTo>
                  <a:pt x="33909" y="8128"/>
                  <a:pt x="32004" y="6604"/>
                  <a:pt x="29845" y="5842"/>
                </a:cubicBezTo>
                <a:cubicBezTo>
                  <a:pt x="27559" y="4953"/>
                  <a:pt x="25146" y="4572"/>
                  <a:pt x="22606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85" name="object 785"/>
          <p:cNvSpPr/>
          <p:nvPr/>
        </p:nvSpPr>
        <p:spPr>
          <a:xfrm>
            <a:off x="8128387" y="2354311"/>
            <a:ext cx="379475" cy="9143"/>
          </a:xfrm>
          <a:custGeom>
            <a:avLst/>
            <a:gdLst/>
            <a:ahLst/>
            <a:cxnLst/>
            <a:rect l="l" t="t" r="r" b="b"/>
            <a:pathLst>
              <a:path w="379475" h="9143">
                <a:moveTo>
                  <a:pt x="179832" y="4572"/>
                </a:moveTo>
                <a:moveTo>
                  <a:pt x="374904" y="4572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86" name="object 786"/>
          <p:cNvSpPr/>
          <p:nvPr/>
        </p:nvSpPr>
        <p:spPr>
          <a:xfrm>
            <a:off x="8110347" y="2354199"/>
            <a:ext cx="45212" cy="60578"/>
          </a:xfrm>
          <a:custGeom>
            <a:avLst/>
            <a:gdLst/>
            <a:ahLst/>
            <a:cxnLst/>
            <a:rect l="l" t="t" r="r" b="b"/>
            <a:pathLst>
              <a:path w="45212" h="60578">
                <a:moveTo>
                  <a:pt x="22606" y="4572"/>
                </a:moveTo>
                <a:cubicBezTo>
                  <a:pt x="19939" y="4572"/>
                  <a:pt x="17653" y="4953"/>
                  <a:pt x="15747" y="5588"/>
                </a:cubicBezTo>
                <a:cubicBezTo>
                  <a:pt x="13716" y="6223"/>
                  <a:pt x="11810" y="7620"/>
                  <a:pt x="9906" y="9779"/>
                </a:cubicBezTo>
                <a:cubicBezTo>
                  <a:pt x="8255" y="11684"/>
                  <a:pt x="6984" y="14351"/>
                  <a:pt x="5969" y="17653"/>
                </a:cubicBezTo>
                <a:cubicBezTo>
                  <a:pt x="5080" y="21082"/>
                  <a:pt x="4571" y="25273"/>
                  <a:pt x="4571" y="30480"/>
                </a:cubicBezTo>
                <a:cubicBezTo>
                  <a:pt x="4571" y="35052"/>
                  <a:pt x="4953" y="38989"/>
                  <a:pt x="5842" y="42291"/>
                </a:cubicBezTo>
                <a:cubicBezTo>
                  <a:pt x="6731" y="45720"/>
                  <a:pt x="7874" y="48387"/>
                  <a:pt x="9525" y="50419"/>
                </a:cubicBezTo>
                <a:cubicBezTo>
                  <a:pt x="11176" y="52324"/>
                  <a:pt x="13081" y="53721"/>
                  <a:pt x="15240" y="54610"/>
                </a:cubicBezTo>
                <a:cubicBezTo>
                  <a:pt x="17399" y="55499"/>
                  <a:pt x="19939" y="56007"/>
                  <a:pt x="22859" y="56007"/>
                </a:cubicBezTo>
                <a:cubicBezTo>
                  <a:pt x="25272" y="56007"/>
                  <a:pt x="27559" y="55499"/>
                  <a:pt x="29718" y="54737"/>
                </a:cubicBezTo>
                <a:cubicBezTo>
                  <a:pt x="32004" y="53975"/>
                  <a:pt x="33782" y="52578"/>
                  <a:pt x="35433" y="50546"/>
                </a:cubicBezTo>
                <a:cubicBezTo>
                  <a:pt x="37084" y="48514"/>
                  <a:pt x="38354" y="45847"/>
                  <a:pt x="39243" y="42926"/>
                </a:cubicBezTo>
                <a:cubicBezTo>
                  <a:pt x="40132" y="39878"/>
                  <a:pt x="40640" y="35687"/>
                  <a:pt x="40640" y="30480"/>
                </a:cubicBezTo>
                <a:cubicBezTo>
                  <a:pt x="40640" y="25527"/>
                  <a:pt x="40132" y="21463"/>
                  <a:pt x="39243" y="18034"/>
                </a:cubicBezTo>
                <a:cubicBezTo>
                  <a:pt x="38354" y="14732"/>
                  <a:pt x="37084" y="12065"/>
                  <a:pt x="35559" y="10160"/>
                </a:cubicBezTo>
                <a:cubicBezTo>
                  <a:pt x="33909" y="8128"/>
                  <a:pt x="32004" y="6604"/>
                  <a:pt x="29845" y="5842"/>
                </a:cubicBezTo>
                <a:cubicBezTo>
                  <a:pt x="27559" y="4953"/>
                  <a:pt x="25146" y="4572"/>
                  <a:pt x="22606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87" name="object 787"/>
          <p:cNvSpPr/>
          <p:nvPr/>
        </p:nvSpPr>
        <p:spPr>
          <a:xfrm>
            <a:off x="8066842" y="2337928"/>
            <a:ext cx="441071" cy="25527"/>
          </a:xfrm>
          <a:custGeom>
            <a:avLst/>
            <a:gdLst/>
            <a:ahLst/>
            <a:cxnLst/>
            <a:rect l="l" t="t" r="r" b="b"/>
            <a:pathLst>
              <a:path w="441071" h="25527">
                <a:moveTo>
                  <a:pt x="66167" y="20955"/>
                </a:moveTo>
                <a:moveTo>
                  <a:pt x="436499" y="20955"/>
                </a:moveTo>
                <a:moveTo>
                  <a:pt x="4571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88" name="object 788"/>
          <p:cNvSpPr/>
          <p:nvPr/>
        </p:nvSpPr>
        <p:spPr>
          <a:xfrm>
            <a:off x="8066793" y="2337928"/>
            <a:ext cx="15367" cy="9397"/>
          </a:xfrm>
          <a:custGeom>
            <a:avLst/>
            <a:gdLst/>
            <a:ahLst/>
            <a:cxnLst/>
            <a:rect l="l" t="t" r="r" b="b"/>
            <a:pathLst>
              <a:path w="15367" h="9397">
                <a:moveTo>
                  <a:pt x="4571" y="4572"/>
                </a:moveTo>
                <a:cubicBezTo>
                  <a:pt x="5461" y="4572"/>
                  <a:pt x="6477" y="4572"/>
                  <a:pt x="7746" y="4572"/>
                </a:cubicBezTo>
                <a:cubicBezTo>
                  <a:pt x="8890" y="4699"/>
                  <a:pt x="9906" y="4699"/>
                  <a:pt x="10795" y="4826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89" name="object 789"/>
          <p:cNvSpPr/>
          <p:nvPr/>
        </p:nvSpPr>
        <p:spPr>
          <a:xfrm>
            <a:off x="8070723" y="2338182"/>
            <a:ext cx="11430" cy="34671"/>
          </a:xfrm>
          <a:custGeom>
            <a:avLst/>
            <a:gdLst/>
            <a:ahLst/>
            <a:cxnLst/>
            <a:rect l="l" t="t" r="r" b="b"/>
            <a:pathLst>
              <a:path w="11430" h="34671">
                <a:moveTo>
                  <a:pt x="6858" y="4572"/>
                </a:moveTo>
                <a:lnTo>
                  <a:pt x="6858" y="30099"/>
                </a:lnTo>
                <a:lnTo>
                  <a:pt x="4571" y="30099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90" name="object 790"/>
          <p:cNvSpPr/>
          <p:nvPr/>
        </p:nvSpPr>
        <p:spPr>
          <a:xfrm>
            <a:off x="8039354" y="2362454"/>
            <a:ext cx="40512" cy="12446"/>
          </a:xfrm>
          <a:custGeom>
            <a:avLst/>
            <a:gdLst/>
            <a:ahLst/>
            <a:cxnLst/>
            <a:rect l="l" t="t" r="r" b="b"/>
            <a:pathLst>
              <a:path w="40512" h="12446">
                <a:moveTo>
                  <a:pt x="35940" y="5715"/>
                </a:moveTo>
                <a:cubicBezTo>
                  <a:pt x="34798" y="5334"/>
                  <a:pt x="32893" y="5080"/>
                  <a:pt x="30352" y="4826"/>
                </a:cubicBezTo>
                <a:cubicBezTo>
                  <a:pt x="27939" y="4699"/>
                  <a:pt x="25781" y="4572"/>
                  <a:pt x="24130" y="4572"/>
                </a:cubicBezTo>
                <a:cubicBezTo>
                  <a:pt x="20320" y="4572"/>
                  <a:pt x="16890" y="4826"/>
                  <a:pt x="13970" y="5334"/>
                </a:cubicBezTo>
                <a:cubicBezTo>
                  <a:pt x="11049" y="5842"/>
                  <a:pt x="7874" y="6604"/>
                  <a:pt x="4572" y="7874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91" name="object 791"/>
          <p:cNvSpPr/>
          <p:nvPr/>
        </p:nvSpPr>
        <p:spPr>
          <a:xfrm>
            <a:off x="8012486" y="2338070"/>
            <a:ext cx="36067" cy="92710"/>
          </a:xfrm>
          <a:custGeom>
            <a:avLst/>
            <a:gdLst/>
            <a:ahLst/>
            <a:cxnLst/>
            <a:rect l="l" t="t" r="r" b="b"/>
            <a:pathLst>
              <a:path w="36067" h="92710">
                <a:moveTo>
                  <a:pt x="31496" y="32258"/>
                </a:moveTo>
                <a:lnTo>
                  <a:pt x="31496" y="88138"/>
                </a:lnTo>
                <a:lnTo>
                  <a:pt x="4572" y="88138"/>
                </a:lnTo>
                <a:lnTo>
                  <a:pt x="4572" y="4572"/>
                </a:lnTo>
                <a:lnTo>
                  <a:pt x="31496" y="4572"/>
                </a:lnTo>
                <a:lnTo>
                  <a:pt x="31496" y="16891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92" name="object 792"/>
          <p:cNvSpPr/>
          <p:nvPr/>
        </p:nvSpPr>
        <p:spPr>
          <a:xfrm>
            <a:off x="8039355" y="2335896"/>
            <a:ext cx="654558" cy="27559"/>
          </a:xfrm>
          <a:custGeom>
            <a:avLst/>
            <a:gdLst/>
            <a:ahLst/>
            <a:cxnLst/>
            <a:rect l="l" t="t" r="r" b="b"/>
            <a:pathLst>
              <a:path w="654558" h="27559">
                <a:moveTo>
                  <a:pt x="4572" y="19177"/>
                </a:moveTo>
                <a:cubicBezTo>
                  <a:pt x="10414" y="14097"/>
                  <a:pt x="15621" y="10795"/>
                  <a:pt x="19939" y="9017"/>
                </a:cubicBezTo>
                <a:cubicBezTo>
                  <a:pt x="24257" y="7366"/>
                  <a:pt x="28321" y="6604"/>
                  <a:pt x="32003" y="6604"/>
                </a:cubicBezTo>
                <a:moveTo>
                  <a:pt x="463931" y="22987"/>
                </a:moveTo>
                <a:moveTo>
                  <a:pt x="618617" y="4572"/>
                </a:moveTo>
                <a:cubicBezTo>
                  <a:pt x="624840" y="4572"/>
                  <a:pt x="630936" y="5207"/>
                  <a:pt x="636651" y="6477"/>
                </a:cubicBezTo>
                <a:cubicBezTo>
                  <a:pt x="642366" y="7747"/>
                  <a:pt x="646811" y="9144"/>
                  <a:pt x="649986" y="10541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93" name="object 793"/>
          <p:cNvSpPr/>
          <p:nvPr/>
        </p:nvSpPr>
        <p:spPr>
          <a:xfrm>
            <a:off x="8682483" y="2341753"/>
            <a:ext cx="11430" cy="30226"/>
          </a:xfrm>
          <a:custGeom>
            <a:avLst/>
            <a:gdLst/>
            <a:ahLst/>
            <a:cxnLst/>
            <a:rect l="l" t="t" r="r" b="b"/>
            <a:pathLst>
              <a:path w="11430" h="30226">
                <a:moveTo>
                  <a:pt x="6858" y="4572"/>
                </a:moveTo>
                <a:lnTo>
                  <a:pt x="6858" y="25654"/>
                </a:lnTo>
                <a:lnTo>
                  <a:pt x="4572" y="25654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94" name="object 794"/>
          <p:cNvSpPr/>
          <p:nvPr/>
        </p:nvSpPr>
        <p:spPr>
          <a:xfrm>
            <a:off x="8610476" y="2353803"/>
            <a:ext cx="87249" cy="79375"/>
          </a:xfrm>
          <a:custGeom>
            <a:avLst/>
            <a:gdLst/>
            <a:ahLst/>
            <a:cxnLst/>
            <a:rect l="l" t="t" r="r" b="b"/>
            <a:pathLst>
              <a:path w="87249" h="79375">
                <a:moveTo>
                  <a:pt x="76581" y="13716"/>
                </a:moveTo>
                <a:cubicBezTo>
                  <a:pt x="72644" y="11049"/>
                  <a:pt x="68072" y="8763"/>
                  <a:pt x="62992" y="7112"/>
                </a:cubicBezTo>
                <a:cubicBezTo>
                  <a:pt x="57912" y="5334"/>
                  <a:pt x="52832" y="4572"/>
                  <a:pt x="47625" y="4572"/>
                </a:cubicBezTo>
                <a:cubicBezTo>
                  <a:pt x="43307" y="4572"/>
                  <a:pt x="39624" y="5080"/>
                  <a:pt x="36703" y="6350"/>
                </a:cubicBezTo>
                <a:cubicBezTo>
                  <a:pt x="33782" y="7493"/>
                  <a:pt x="32258" y="9144"/>
                  <a:pt x="32258" y="11430"/>
                </a:cubicBezTo>
                <a:cubicBezTo>
                  <a:pt x="32258" y="13335"/>
                  <a:pt x="32893" y="14859"/>
                  <a:pt x="34290" y="15875"/>
                </a:cubicBezTo>
                <a:cubicBezTo>
                  <a:pt x="35560" y="17018"/>
                  <a:pt x="38735" y="18034"/>
                  <a:pt x="43688" y="19050"/>
                </a:cubicBezTo>
                <a:cubicBezTo>
                  <a:pt x="46482" y="19558"/>
                  <a:pt x="49403" y="20066"/>
                  <a:pt x="52578" y="20701"/>
                </a:cubicBezTo>
                <a:cubicBezTo>
                  <a:pt x="55753" y="21209"/>
                  <a:pt x="58801" y="21844"/>
                  <a:pt x="61976" y="22606"/>
                </a:cubicBezTo>
                <a:cubicBezTo>
                  <a:pt x="69088" y="24511"/>
                  <a:pt x="74295" y="27305"/>
                  <a:pt x="77597" y="31242"/>
                </a:cubicBezTo>
                <a:cubicBezTo>
                  <a:pt x="81026" y="35179"/>
                  <a:pt x="82677" y="40132"/>
                  <a:pt x="82677" y="46101"/>
                </a:cubicBezTo>
                <a:cubicBezTo>
                  <a:pt x="82677" y="54737"/>
                  <a:pt x="78867" y="61595"/>
                  <a:pt x="71120" y="66929"/>
                </a:cubicBezTo>
                <a:cubicBezTo>
                  <a:pt x="63373" y="72263"/>
                  <a:pt x="52832" y="74803"/>
                  <a:pt x="39370" y="74803"/>
                </a:cubicBezTo>
                <a:cubicBezTo>
                  <a:pt x="31877" y="74803"/>
                  <a:pt x="25146" y="74168"/>
                  <a:pt x="19050" y="72771"/>
                </a:cubicBezTo>
                <a:cubicBezTo>
                  <a:pt x="13081" y="71374"/>
                  <a:pt x="8128" y="69850"/>
                  <a:pt x="4572" y="68199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95" name="object 795"/>
          <p:cNvSpPr/>
          <p:nvPr/>
        </p:nvSpPr>
        <p:spPr>
          <a:xfrm>
            <a:off x="8610474" y="2395220"/>
            <a:ext cx="11557" cy="31242"/>
          </a:xfrm>
          <a:custGeom>
            <a:avLst/>
            <a:gdLst/>
            <a:ahLst/>
            <a:cxnLst/>
            <a:rect l="l" t="t" r="r" b="b"/>
            <a:pathLst>
              <a:path w="11557" h="31242">
                <a:moveTo>
                  <a:pt x="4572" y="26670"/>
                </a:moveTo>
                <a:lnTo>
                  <a:pt x="4572" y="4572"/>
                </a:lnTo>
                <a:lnTo>
                  <a:pt x="6985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96" name="object 796"/>
          <p:cNvSpPr/>
          <p:nvPr/>
        </p:nvSpPr>
        <p:spPr>
          <a:xfrm>
            <a:off x="8411845" y="2335784"/>
            <a:ext cx="258572" cy="79502"/>
          </a:xfrm>
          <a:custGeom>
            <a:avLst/>
            <a:gdLst/>
            <a:ahLst/>
            <a:cxnLst/>
            <a:rect l="l" t="t" r="r" b="b"/>
            <a:pathLst>
              <a:path w="258572" h="79502">
                <a:moveTo>
                  <a:pt x="205613" y="64008"/>
                </a:moveTo>
                <a:cubicBezTo>
                  <a:pt x="206883" y="65024"/>
                  <a:pt x="208534" y="66040"/>
                  <a:pt x="210185" y="67183"/>
                </a:cubicBezTo>
                <a:cubicBezTo>
                  <a:pt x="211963" y="68199"/>
                  <a:pt x="214503" y="69469"/>
                  <a:pt x="217678" y="70739"/>
                </a:cubicBezTo>
                <a:cubicBezTo>
                  <a:pt x="220472" y="71882"/>
                  <a:pt x="223647" y="72898"/>
                  <a:pt x="227203" y="73660"/>
                </a:cubicBezTo>
                <a:cubicBezTo>
                  <a:pt x="230632" y="74549"/>
                  <a:pt x="234442" y="74930"/>
                  <a:pt x="238506" y="74930"/>
                </a:cubicBezTo>
                <a:cubicBezTo>
                  <a:pt x="243713" y="74930"/>
                  <a:pt x="247650" y="74295"/>
                  <a:pt x="250190" y="73152"/>
                </a:cubicBezTo>
                <a:cubicBezTo>
                  <a:pt x="252730" y="72009"/>
                  <a:pt x="254000" y="70231"/>
                  <a:pt x="254000" y="67945"/>
                </a:cubicBezTo>
                <a:cubicBezTo>
                  <a:pt x="254000" y="65913"/>
                  <a:pt x="253238" y="64516"/>
                  <a:pt x="251714" y="63500"/>
                </a:cubicBezTo>
                <a:cubicBezTo>
                  <a:pt x="250190" y="62611"/>
                  <a:pt x="247396" y="61722"/>
                  <a:pt x="243205" y="60960"/>
                </a:cubicBezTo>
                <a:cubicBezTo>
                  <a:pt x="241300" y="60452"/>
                  <a:pt x="238633" y="59944"/>
                  <a:pt x="235204" y="59436"/>
                </a:cubicBezTo>
                <a:cubicBezTo>
                  <a:pt x="231775" y="58928"/>
                  <a:pt x="228727" y="58293"/>
                  <a:pt x="225933" y="57531"/>
                </a:cubicBezTo>
                <a:cubicBezTo>
                  <a:pt x="218313" y="55626"/>
                  <a:pt x="212725" y="52451"/>
                  <a:pt x="209042" y="48260"/>
                </a:cubicBezTo>
                <a:cubicBezTo>
                  <a:pt x="205359" y="44069"/>
                  <a:pt x="203454" y="38862"/>
                  <a:pt x="203454" y="32639"/>
                </a:cubicBezTo>
                <a:cubicBezTo>
                  <a:pt x="203454" y="24638"/>
                  <a:pt x="207264" y="17907"/>
                  <a:pt x="214884" y="12573"/>
                </a:cubicBezTo>
                <a:cubicBezTo>
                  <a:pt x="222504" y="7239"/>
                  <a:pt x="232918" y="4572"/>
                  <a:pt x="246126" y="4572"/>
                </a:cubicBezTo>
                <a:moveTo>
                  <a:pt x="91440" y="22987"/>
                </a:moveTo>
                <a:moveTo>
                  <a:pt x="4572" y="4572"/>
                </a:moveTo>
                <a:cubicBezTo>
                  <a:pt x="10287" y="4572"/>
                  <a:pt x="15494" y="5207"/>
                  <a:pt x="20320" y="6477"/>
                </a:cubicBezTo>
                <a:cubicBezTo>
                  <a:pt x="25146" y="7620"/>
                  <a:pt x="29591" y="9271"/>
                  <a:pt x="33782" y="11303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97" name="object 797"/>
          <p:cNvSpPr/>
          <p:nvPr/>
        </p:nvSpPr>
        <p:spPr>
          <a:xfrm>
            <a:off x="8437245" y="2342627"/>
            <a:ext cx="12954" cy="32003"/>
          </a:xfrm>
          <a:custGeom>
            <a:avLst/>
            <a:gdLst/>
            <a:ahLst/>
            <a:cxnLst/>
            <a:rect l="l" t="t" r="r" b="b"/>
            <a:pathLst>
              <a:path w="12954" h="32003">
                <a:moveTo>
                  <a:pt x="8382" y="4572"/>
                </a:moveTo>
                <a:lnTo>
                  <a:pt x="8382" y="27432"/>
                </a:lnTo>
                <a:lnTo>
                  <a:pt x="4572" y="2743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98" name="object 798"/>
          <p:cNvSpPr/>
          <p:nvPr/>
        </p:nvSpPr>
        <p:spPr>
          <a:xfrm>
            <a:off x="8390763" y="2355073"/>
            <a:ext cx="55626" cy="58927"/>
          </a:xfrm>
          <a:custGeom>
            <a:avLst/>
            <a:gdLst/>
            <a:ahLst/>
            <a:cxnLst/>
            <a:rect l="l" t="t" r="r" b="b"/>
            <a:pathLst>
              <a:path w="55626" h="58927">
                <a:moveTo>
                  <a:pt x="51054" y="14986"/>
                </a:moveTo>
                <a:cubicBezTo>
                  <a:pt x="50038" y="14097"/>
                  <a:pt x="48768" y="12954"/>
                  <a:pt x="47371" y="11811"/>
                </a:cubicBezTo>
                <a:cubicBezTo>
                  <a:pt x="45847" y="10668"/>
                  <a:pt x="44069" y="9525"/>
                  <a:pt x="41910" y="8382"/>
                </a:cubicBezTo>
                <a:cubicBezTo>
                  <a:pt x="39878" y="7239"/>
                  <a:pt x="37719" y="6350"/>
                  <a:pt x="35306" y="5588"/>
                </a:cubicBezTo>
                <a:cubicBezTo>
                  <a:pt x="32766" y="4826"/>
                  <a:pt x="29972" y="4572"/>
                  <a:pt x="26797" y="4572"/>
                </a:cubicBezTo>
                <a:cubicBezTo>
                  <a:pt x="19685" y="4572"/>
                  <a:pt x="14224" y="6858"/>
                  <a:pt x="10287" y="11303"/>
                </a:cubicBezTo>
                <a:cubicBezTo>
                  <a:pt x="6477" y="15875"/>
                  <a:pt x="4572" y="22098"/>
                  <a:pt x="4572" y="29845"/>
                </a:cubicBezTo>
                <a:cubicBezTo>
                  <a:pt x="4572" y="37846"/>
                  <a:pt x="6477" y="43942"/>
                  <a:pt x="10414" y="48133"/>
                </a:cubicBezTo>
                <a:cubicBezTo>
                  <a:pt x="14351" y="52324"/>
                  <a:pt x="19939" y="54356"/>
                  <a:pt x="27178" y="54356"/>
                </a:cubicBezTo>
                <a:cubicBezTo>
                  <a:pt x="30607" y="54356"/>
                  <a:pt x="33655" y="53975"/>
                  <a:pt x="36322" y="53213"/>
                </a:cubicBezTo>
                <a:cubicBezTo>
                  <a:pt x="38989" y="52451"/>
                  <a:pt x="41275" y="51562"/>
                  <a:pt x="43053" y="50546"/>
                </a:cubicBezTo>
                <a:cubicBezTo>
                  <a:pt x="44704" y="49530"/>
                  <a:pt x="46228" y="48514"/>
                  <a:pt x="47498" y="47371"/>
                </a:cubicBezTo>
                <a:cubicBezTo>
                  <a:pt x="48768" y="46355"/>
                  <a:pt x="50038" y="45212"/>
                  <a:pt x="51054" y="44196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99" name="object 799"/>
          <p:cNvSpPr/>
          <p:nvPr/>
        </p:nvSpPr>
        <p:spPr>
          <a:xfrm>
            <a:off x="8437245" y="2394697"/>
            <a:ext cx="12954" cy="32003"/>
          </a:xfrm>
          <a:custGeom>
            <a:avLst/>
            <a:gdLst/>
            <a:ahLst/>
            <a:cxnLst/>
            <a:rect l="l" t="t" r="r" b="b"/>
            <a:pathLst>
              <a:path w="12954" h="32003">
                <a:moveTo>
                  <a:pt x="4572" y="4572"/>
                </a:moveTo>
                <a:lnTo>
                  <a:pt x="8382" y="4572"/>
                </a:lnTo>
                <a:lnTo>
                  <a:pt x="8382" y="2743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00" name="object 800"/>
          <p:cNvSpPr/>
          <p:nvPr/>
        </p:nvSpPr>
        <p:spPr>
          <a:xfrm>
            <a:off x="8363006" y="2335530"/>
            <a:ext cx="190627" cy="97916"/>
          </a:xfrm>
          <a:custGeom>
            <a:avLst/>
            <a:gdLst/>
            <a:ahLst/>
            <a:cxnLst/>
            <a:rect l="l" t="t" r="r" b="b"/>
            <a:pathLst>
              <a:path w="190627" h="97916">
                <a:moveTo>
                  <a:pt x="82677" y="86487"/>
                </a:moveTo>
                <a:cubicBezTo>
                  <a:pt x="78486" y="88392"/>
                  <a:pt x="74041" y="90043"/>
                  <a:pt x="69469" y="91186"/>
                </a:cubicBezTo>
                <a:cubicBezTo>
                  <a:pt x="64897" y="92329"/>
                  <a:pt x="59817" y="92964"/>
                  <a:pt x="54229" y="92964"/>
                </a:cubicBezTo>
                <a:cubicBezTo>
                  <a:pt x="46990" y="92964"/>
                  <a:pt x="40259" y="92075"/>
                  <a:pt x="34290" y="90297"/>
                </a:cubicBezTo>
                <a:cubicBezTo>
                  <a:pt x="28194" y="88646"/>
                  <a:pt x="22987" y="85979"/>
                  <a:pt x="18542" y="82296"/>
                </a:cubicBezTo>
                <a:cubicBezTo>
                  <a:pt x="14097" y="78613"/>
                  <a:pt x="10668" y="74168"/>
                  <a:pt x="8255" y="68580"/>
                </a:cubicBezTo>
                <a:cubicBezTo>
                  <a:pt x="5842" y="63119"/>
                  <a:pt x="4572" y="56642"/>
                  <a:pt x="4572" y="49276"/>
                </a:cubicBezTo>
                <a:cubicBezTo>
                  <a:pt x="4572" y="41529"/>
                  <a:pt x="5968" y="34798"/>
                  <a:pt x="8509" y="29083"/>
                </a:cubicBezTo>
                <a:cubicBezTo>
                  <a:pt x="11176" y="23495"/>
                  <a:pt x="14731" y="18796"/>
                  <a:pt x="19431" y="14986"/>
                </a:cubicBezTo>
                <a:cubicBezTo>
                  <a:pt x="24003" y="11557"/>
                  <a:pt x="29210" y="8890"/>
                  <a:pt x="35052" y="7239"/>
                </a:cubicBezTo>
                <a:cubicBezTo>
                  <a:pt x="41021" y="5588"/>
                  <a:pt x="47117" y="4826"/>
                  <a:pt x="53467" y="4826"/>
                </a:cubicBezTo>
                <a:moveTo>
                  <a:pt x="140335" y="23241"/>
                </a:moveTo>
                <a:moveTo>
                  <a:pt x="140335" y="4572"/>
                </a:moveTo>
                <a:cubicBezTo>
                  <a:pt x="154940" y="4572"/>
                  <a:pt x="166116" y="8509"/>
                  <a:pt x="174117" y="16383"/>
                </a:cubicBezTo>
                <a:cubicBezTo>
                  <a:pt x="182118" y="24384"/>
                  <a:pt x="186055" y="35179"/>
                  <a:pt x="186055" y="49022"/>
                </a:cubicBezTo>
                <a:cubicBezTo>
                  <a:pt x="186055" y="62738"/>
                  <a:pt x="182118" y="73533"/>
                  <a:pt x="173990" y="81407"/>
                </a:cubicBezTo>
                <a:cubicBezTo>
                  <a:pt x="165989" y="89408"/>
                  <a:pt x="154813" y="93345"/>
                  <a:pt x="140335" y="93345"/>
                </a:cubicBezTo>
                <a:cubicBezTo>
                  <a:pt x="125857" y="93345"/>
                  <a:pt x="114554" y="89408"/>
                  <a:pt x="106553" y="81407"/>
                </a:cubicBezTo>
                <a:cubicBezTo>
                  <a:pt x="98552" y="73533"/>
                  <a:pt x="94488" y="62738"/>
                  <a:pt x="94488" y="49022"/>
                </a:cubicBezTo>
                <a:cubicBezTo>
                  <a:pt x="94488" y="35179"/>
                  <a:pt x="98552" y="24257"/>
                  <a:pt x="106680" y="16383"/>
                </a:cubicBezTo>
                <a:cubicBezTo>
                  <a:pt x="114681" y="8509"/>
                  <a:pt x="125857" y="4572"/>
                  <a:pt x="140335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01" name="object 801"/>
          <p:cNvSpPr/>
          <p:nvPr/>
        </p:nvSpPr>
        <p:spPr>
          <a:xfrm>
            <a:off x="8303641" y="2335530"/>
            <a:ext cx="204216" cy="27812"/>
          </a:xfrm>
          <a:custGeom>
            <a:avLst/>
            <a:gdLst/>
            <a:ahLst/>
            <a:cxnLst/>
            <a:rect l="l" t="t" r="r" b="b"/>
            <a:pathLst>
              <a:path w="204216" h="27812">
                <a:moveTo>
                  <a:pt x="199644" y="4572"/>
                </a:moveTo>
                <a:moveTo>
                  <a:pt x="199644" y="23241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02" name="object 802"/>
          <p:cNvSpPr/>
          <p:nvPr/>
        </p:nvSpPr>
        <p:spPr>
          <a:xfrm>
            <a:off x="7931277" y="2331705"/>
            <a:ext cx="576580" cy="101853"/>
          </a:xfrm>
          <a:custGeom>
            <a:avLst/>
            <a:gdLst/>
            <a:ahLst/>
            <a:cxnLst/>
            <a:rect l="l" t="t" r="r" b="b"/>
            <a:pathLst>
              <a:path w="576580" h="101853">
                <a:moveTo>
                  <a:pt x="376936" y="8509"/>
                </a:moveTo>
                <a:cubicBezTo>
                  <a:pt x="391541" y="8509"/>
                  <a:pt x="402716" y="12446"/>
                  <a:pt x="410717" y="20320"/>
                </a:cubicBezTo>
                <a:cubicBezTo>
                  <a:pt x="418719" y="28321"/>
                  <a:pt x="422655" y="39116"/>
                  <a:pt x="422655" y="52959"/>
                </a:cubicBezTo>
                <a:cubicBezTo>
                  <a:pt x="422655" y="66675"/>
                  <a:pt x="418719" y="77470"/>
                  <a:pt x="410591" y="85344"/>
                </a:cubicBezTo>
                <a:cubicBezTo>
                  <a:pt x="402590" y="93345"/>
                  <a:pt x="391414" y="97282"/>
                  <a:pt x="376936" y="97282"/>
                </a:cubicBezTo>
                <a:cubicBezTo>
                  <a:pt x="362458" y="97282"/>
                  <a:pt x="351154" y="93345"/>
                  <a:pt x="343154" y="85344"/>
                </a:cubicBezTo>
                <a:cubicBezTo>
                  <a:pt x="335153" y="77470"/>
                  <a:pt x="331089" y="66675"/>
                  <a:pt x="331089" y="52959"/>
                </a:cubicBezTo>
                <a:cubicBezTo>
                  <a:pt x="331089" y="39116"/>
                  <a:pt x="335153" y="28194"/>
                  <a:pt x="343280" y="20320"/>
                </a:cubicBezTo>
                <a:cubicBezTo>
                  <a:pt x="351282" y="12446"/>
                  <a:pt x="362458" y="8509"/>
                  <a:pt x="376936" y="8509"/>
                </a:cubicBezTo>
                <a:moveTo>
                  <a:pt x="572008" y="27178"/>
                </a:moveTo>
                <a:moveTo>
                  <a:pt x="201676" y="8509"/>
                </a:moveTo>
                <a:cubicBezTo>
                  <a:pt x="216280" y="8509"/>
                  <a:pt x="227457" y="12446"/>
                  <a:pt x="235458" y="20320"/>
                </a:cubicBezTo>
                <a:cubicBezTo>
                  <a:pt x="243459" y="28321"/>
                  <a:pt x="247396" y="39116"/>
                  <a:pt x="247396" y="52959"/>
                </a:cubicBezTo>
                <a:cubicBezTo>
                  <a:pt x="247396" y="66675"/>
                  <a:pt x="243459" y="77470"/>
                  <a:pt x="235330" y="85344"/>
                </a:cubicBezTo>
                <a:cubicBezTo>
                  <a:pt x="227329" y="93345"/>
                  <a:pt x="216154" y="97282"/>
                  <a:pt x="201676" y="97282"/>
                </a:cubicBezTo>
                <a:cubicBezTo>
                  <a:pt x="187198" y="97282"/>
                  <a:pt x="175895" y="93345"/>
                  <a:pt x="167894" y="85344"/>
                </a:cubicBezTo>
                <a:cubicBezTo>
                  <a:pt x="159892" y="77470"/>
                  <a:pt x="155829" y="66675"/>
                  <a:pt x="155829" y="52959"/>
                </a:cubicBezTo>
                <a:cubicBezTo>
                  <a:pt x="155829" y="39116"/>
                  <a:pt x="159892" y="28194"/>
                  <a:pt x="168021" y="20320"/>
                </a:cubicBezTo>
                <a:cubicBezTo>
                  <a:pt x="176022" y="12446"/>
                  <a:pt x="187198" y="8509"/>
                  <a:pt x="201676" y="8509"/>
                </a:cubicBezTo>
                <a:moveTo>
                  <a:pt x="572008" y="27178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03" name="object 803"/>
          <p:cNvSpPr/>
          <p:nvPr/>
        </p:nvSpPr>
        <p:spPr>
          <a:xfrm>
            <a:off x="7931333" y="2331705"/>
            <a:ext cx="17399" cy="42163"/>
          </a:xfrm>
          <a:custGeom>
            <a:avLst/>
            <a:gdLst/>
            <a:ahLst/>
            <a:cxnLst/>
            <a:rect l="l" t="t" r="r" b="b"/>
            <a:pathLst>
              <a:path w="17399" h="42163">
                <a:moveTo>
                  <a:pt x="4572" y="4572"/>
                </a:moveTo>
                <a:lnTo>
                  <a:pt x="4572" y="37592"/>
                </a:lnTo>
                <a:lnTo>
                  <a:pt x="12827" y="3759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04" name="object 804"/>
          <p:cNvSpPr/>
          <p:nvPr/>
        </p:nvSpPr>
        <p:spPr>
          <a:xfrm>
            <a:off x="7936230" y="2314194"/>
            <a:ext cx="571626" cy="59562"/>
          </a:xfrm>
          <a:custGeom>
            <a:avLst/>
            <a:gdLst/>
            <a:ahLst/>
            <a:cxnLst/>
            <a:rect l="l" t="t" r="r" b="b"/>
            <a:pathLst>
              <a:path w="571626" h="59562">
                <a:moveTo>
                  <a:pt x="7874" y="54991"/>
                </a:moveTo>
                <a:cubicBezTo>
                  <a:pt x="12700" y="54991"/>
                  <a:pt x="16637" y="54737"/>
                  <a:pt x="19812" y="54102"/>
                </a:cubicBezTo>
                <a:cubicBezTo>
                  <a:pt x="22987" y="53594"/>
                  <a:pt x="25654" y="52324"/>
                  <a:pt x="27813" y="50546"/>
                </a:cubicBezTo>
                <a:cubicBezTo>
                  <a:pt x="29591" y="49022"/>
                  <a:pt x="30988" y="47117"/>
                  <a:pt x="31750" y="44958"/>
                </a:cubicBezTo>
                <a:cubicBezTo>
                  <a:pt x="32512" y="42672"/>
                  <a:pt x="33020" y="40005"/>
                  <a:pt x="33020" y="36830"/>
                </a:cubicBezTo>
                <a:cubicBezTo>
                  <a:pt x="33020" y="33782"/>
                  <a:pt x="32131" y="30988"/>
                  <a:pt x="30480" y="28829"/>
                </a:cubicBezTo>
                <a:cubicBezTo>
                  <a:pt x="28701" y="26543"/>
                  <a:pt x="26797" y="25019"/>
                  <a:pt x="24511" y="24130"/>
                </a:cubicBezTo>
                <a:cubicBezTo>
                  <a:pt x="21589" y="22860"/>
                  <a:pt x="18669" y="22225"/>
                  <a:pt x="15875" y="22098"/>
                </a:cubicBezTo>
                <a:cubicBezTo>
                  <a:pt x="13081" y="21971"/>
                  <a:pt x="9271" y="21971"/>
                  <a:pt x="4572" y="21971"/>
                </a:cubicBezTo>
                <a:moveTo>
                  <a:pt x="567055" y="44577"/>
                </a:moveTo>
                <a:moveTo>
                  <a:pt x="263779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05" name="object 805"/>
          <p:cNvSpPr/>
          <p:nvPr/>
        </p:nvSpPr>
        <p:spPr>
          <a:xfrm>
            <a:off x="8195437" y="2314306"/>
            <a:ext cx="60960" cy="80899"/>
          </a:xfrm>
          <a:custGeom>
            <a:avLst/>
            <a:gdLst/>
            <a:ahLst/>
            <a:cxnLst/>
            <a:rect l="l" t="t" r="r" b="b"/>
            <a:pathLst>
              <a:path w="60960" h="80899">
                <a:moveTo>
                  <a:pt x="4572" y="4572"/>
                </a:moveTo>
                <a:lnTo>
                  <a:pt x="31369" y="4572"/>
                </a:lnTo>
                <a:lnTo>
                  <a:pt x="31369" y="28448"/>
                </a:lnTo>
                <a:lnTo>
                  <a:pt x="56388" y="28448"/>
                </a:lnTo>
                <a:lnTo>
                  <a:pt x="56388" y="46609"/>
                </a:lnTo>
                <a:lnTo>
                  <a:pt x="31369" y="46609"/>
                </a:lnTo>
                <a:lnTo>
                  <a:pt x="31369" y="76327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06" name="object 806"/>
          <p:cNvSpPr/>
          <p:nvPr/>
        </p:nvSpPr>
        <p:spPr>
          <a:xfrm>
            <a:off x="8222239" y="2385949"/>
            <a:ext cx="32003" cy="28320"/>
          </a:xfrm>
          <a:custGeom>
            <a:avLst/>
            <a:gdLst/>
            <a:ahLst/>
            <a:cxnLst/>
            <a:rect l="l" t="t" r="r" b="b"/>
            <a:pathLst>
              <a:path w="32003" h="28320">
                <a:moveTo>
                  <a:pt x="4572" y="4572"/>
                </a:moveTo>
                <a:cubicBezTo>
                  <a:pt x="4572" y="7493"/>
                  <a:pt x="4572" y="10033"/>
                  <a:pt x="4698" y="12192"/>
                </a:cubicBezTo>
                <a:cubicBezTo>
                  <a:pt x="4698" y="14351"/>
                  <a:pt x="5080" y="16383"/>
                  <a:pt x="5842" y="18161"/>
                </a:cubicBezTo>
                <a:cubicBezTo>
                  <a:pt x="6604" y="19812"/>
                  <a:pt x="7747" y="21209"/>
                  <a:pt x="9525" y="22225"/>
                </a:cubicBezTo>
                <a:cubicBezTo>
                  <a:pt x="11303" y="23241"/>
                  <a:pt x="13843" y="23749"/>
                  <a:pt x="17272" y="23749"/>
                </a:cubicBezTo>
                <a:cubicBezTo>
                  <a:pt x="18542" y="23749"/>
                  <a:pt x="20447" y="23495"/>
                  <a:pt x="22733" y="22860"/>
                </a:cubicBezTo>
                <a:cubicBezTo>
                  <a:pt x="24892" y="22225"/>
                  <a:pt x="26543" y="21717"/>
                  <a:pt x="27432" y="21209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07" name="object 807"/>
          <p:cNvSpPr/>
          <p:nvPr/>
        </p:nvSpPr>
        <p:spPr>
          <a:xfrm>
            <a:off x="8245094" y="2402698"/>
            <a:ext cx="11302" cy="27431"/>
          </a:xfrm>
          <a:custGeom>
            <a:avLst/>
            <a:gdLst/>
            <a:ahLst/>
            <a:cxnLst/>
            <a:rect l="l" t="t" r="r" b="b"/>
            <a:pathLst>
              <a:path w="11302" h="27431">
                <a:moveTo>
                  <a:pt x="4572" y="4572"/>
                </a:moveTo>
                <a:lnTo>
                  <a:pt x="6731" y="4572"/>
                </a:lnTo>
                <a:lnTo>
                  <a:pt x="6731" y="22860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08" name="object 808"/>
          <p:cNvSpPr/>
          <p:nvPr/>
        </p:nvSpPr>
        <p:spPr>
          <a:xfrm>
            <a:off x="8195437" y="2395347"/>
            <a:ext cx="60960" cy="37084"/>
          </a:xfrm>
          <a:custGeom>
            <a:avLst/>
            <a:gdLst/>
            <a:ahLst/>
            <a:cxnLst/>
            <a:rect l="l" t="t" r="r" b="b"/>
            <a:pathLst>
              <a:path w="60960" h="37084">
                <a:moveTo>
                  <a:pt x="56388" y="30099"/>
                </a:moveTo>
                <a:cubicBezTo>
                  <a:pt x="53467" y="30861"/>
                  <a:pt x="50419" y="31496"/>
                  <a:pt x="47244" y="31877"/>
                </a:cubicBezTo>
                <a:cubicBezTo>
                  <a:pt x="44069" y="32258"/>
                  <a:pt x="40131" y="32512"/>
                  <a:pt x="35432" y="32512"/>
                </a:cubicBezTo>
                <a:cubicBezTo>
                  <a:pt x="25019" y="32512"/>
                  <a:pt x="17272" y="30480"/>
                  <a:pt x="12192" y="26162"/>
                </a:cubicBezTo>
                <a:cubicBezTo>
                  <a:pt x="7112" y="21971"/>
                  <a:pt x="4572" y="14732"/>
                  <a:pt x="4572" y="4572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09" name="object 809"/>
          <p:cNvSpPr/>
          <p:nvPr/>
        </p:nvSpPr>
        <p:spPr>
          <a:xfrm>
            <a:off x="8184388" y="2338182"/>
            <a:ext cx="20192" cy="66421"/>
          </a:xfrm>
          <a:custGeom>
            <a:avLst/>
            <a:gdLst/>
            <a:ahLst/>
            <a:cxnLst/>
            <a:rect l="l" t="t" r="r" b="b"/>
            <a:pathLst>
              <a:path w="20192" h="66421">
                <a:moveTo>
                  <a:pt x="15621" y="61849"/>
                </a:moveTo>
                <a:lnTo>
                  <a:pt x="15621" y="22733"/>
                </a:lnTo>
                <a:lnTo>
                  <a:pt x="4572" y="22733"/>
                </a:lnTo>
                <a:lnTo>
                  <a:pt x="4572" y="4572"/>
                </a:lnTo>
                <a:lnTo>
                  <a:pt x="15621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10" name="object 810"/>
          <p:cNvSpPr/>
          <p:nvPr/>
        </p:nvSpPr>
        <p:spPr>
          <a:xfrm>
            <a:off x="7902758" y="2310892"/>
            <a:ext cx="605155" cy="52450"/>
          </a:xfrm>
          <a:custGeom>
            <a:avLst/>
            <a:gdLst/>
            <a:ahLst/>
            <a:cxnLst/>
            <a:rect l="l" t="t" r="r" b="b"/>
            <a:pathLst>
              <a:path w="605155" h="52450">
                <a:moveTo>
                  <a:pt x="297307" y="31750"/>
                </a:moveTo>
                <a:moveTo>
                  <a:pt x="600583" y="47879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11" name="object 811"/>
          <p:cNvSpPr/>
          <p:nvPr/>
        </p:nvSpPr>
        <p:spPr>
          <a:xfrm>
            <a:off x="7902702" y="2311004"/>
            <a:ext cx="56134" cy="9143"/>
          </a:xfrm>
          <a:custGeom>
            <a:avLst/>
            <a:gdLst/>
            <a:ahLst/>
            <a:cxnLst/>
            <a:rect l="l" t="t" r="r" b="b"/>
            <a:pathLst>
              <a:path w="56134" h="9143">
                <a:moveTo>
                  <a:pt x="4572" y="4572"/>
                </a:moveTo>
                <a:lnTo>
                  <a:pt x="51562" y="4572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12" name="object 812"/>
          <p:cNvSpPr/>
          <p:nvPr/>
        </p:nvSpPr>
        <p:spPr>
          <a:xfrm>
            <a:off x="7949057" y="2311004"/>
            <a:ext cx="54228" cy="83819"/>
          </a:xfrm>
          <a:custGeom>
            <a:avLst/>
            <a:gdLst/>
            <a:ahLst/>
            <a:cxnLst/>
            <a:rect l="l" t="t" r="r" b="b"/>
            <a:pathLst>
              <a:path w="54228" h="83819">
                <a:moveTo>
                  <a:pt x="5207" y="4572"/>
                </a:moveTo>
                <a:cubicBezTo>
                  <a:pt x="12319" y="4572"/>
                  <a:pt x="18287" y="5207"/>
                  <a:pt x="23114" y="6350"/>
                </a:cubicBezTo>
                <a:cubicBezTo>
                  <a:pt x="27940" y="7620"/>
                  <a:pt x="32258" y="9398"/>
                  <a:pt x="35941" y="11811"/>
                </a:cubicBezTo>
                <a:cubicBezTo>
                  <a:pt x="40386" y="14732"/>
                  <a:pt x="43815" y="18542"/>
                  <a:pt x="46100" y="23114"/>
                </a:cubicBezTo>
                <a:cubicBezTo>
                  <a:pt x="48514" y="27686"/>
                  <a:pt x="49657" y="33147"/>
                  <a:pt x="49657" y="39497"/>
                </a:cubicBezTo>
                <a:cubicBezTo>
                  <a:pt x="49657" y="44450"/>
                  <a:pt x="48768" y="49276"/>
                  <a:pt x="47117" y="54102"/>
                </a:cubicBezTo>
                <a:cubicBezTo>
                  <a:pt x="45339" y="58801"/>
                  <a:pt x="42925" y="62738"/>
                  <a:pt x="39624" y="66040"/>
                </a:cubicBezTo>
                <a:cubicBezTo>
                  <a:pt x="35179" y="70358"/>
                  <a:pt x="30353" y="73660"/>
                  <a:pt x="24892" y="75946"/>
                </a:cubicBezTo>
                <a:cubicBezTo>
                  <a:pt x="19431" y="78105"/>
                  <a:pt x="12699" y="79248"/>
                  <a:pt x="4572" y="79248"/>
                </a:cubicBez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13" name="object 813"/>
          <p:cNvSpPr/>
          <p:nvPr/>
        </p:nvSpPr>
        <p:spPr>
          <a:xfrm>
            <a:off x="7902703" y="2385680"/>
            <a:ext cx="55499" cy="45211"/>
          </a:xfrm>
          <a:custGeom>
            <a:avLst/>
            <a:gdLst/>
            <a:ahLst/>
            <a:cxnLst/>
            <a:rect l="l" t="t" r="r" b="b"/>
            <a:pathLst>
              <a:path w="55499" h="45211">
                <a:moveTo>
                  <a:pt x="50927" y="4572"/>
                </a:moveTo>
                <a:lnTo>
                  <a:pt x="33147" y="4572"/>
                </a:lnTo>
                <a:lnTo>
                  <a:pt x="33147" y="40640"/>
                </a:lnTo>
                <a:lnTo>
                  <a:pt x="4572" y="40640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14" name="object 814"/>
          <p:cNvSpPr/>
          <p:nvPr/>
        </p:nvSpPr>
        <p:spPr>
          <a:xfrm>
            <a:off x="7902702" y="2306051"/>
            <a:ext cx="670560" cy="124841"/>
          </a:xfrm>
          <a:custGeom>
            <a:avLst/>
            <a:gdLst/>
            <a:ahLst/>
            <a:cxnLst/>
            <a:rect l="l" t="t" r="r" b="b"/>
            <a:pathLst>
              <a:path w="670560" h="124841">
                <a:moveTo>
                  <a:pt x="4572" y="120269"/>
                </a:moveTo>
                <a:moveTo>
                  <a:pt x="600583" y="52832"/>
                </a:moveTo>
                <a:moveTo>
                  <a:pt x="665988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15" name="object 815"/>
          <p:cNvSpPr/>
          <p:nvPr/>
        </p:nvSpPr>
        <p:spPr>
          <a:xfrm>
            <a:off x="8564118" y="2306051"/>
            <a:ext cx="36068" cy="124841"/>
          </a:xfrm>
          <a:custGeom>
            <a:avLst/>
            <a:gdLst/>
            <a:ahLst/>
            <a:cxnLst/>
            <a:rect l="l" t="t" r="r" b="b"/>
            <a:pathLst>
              <a:path w="36068" h="124841">
                <a:moveTo>
                  <a:pt x="4572" y="4572"/>
                </a:moveTo>
                <a:lnTo>
                  <a:pt x="31496" y="4572"/>
                </a:lnTo>
                <a:lnTo>
                  <a:pt x="31496" y="120269"/>
                </a:lnTo>
                <a:lnTo>
                  <a:pt x="4572" y="120269"/>
                </a:ln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16" name="object 816"/>
          <p:cNvSpPr/>
          <p:nvPr/>
        </p:nvSpPr>
        <p:spPr>
          <a:xfrm>
            <a:off x="8498769" y="2354199"/>
            <a:ext cx="74549" cy="76580"/>
          </a:xfrm>
          <a:custGeom>
            <a:avLst/>
            <a:gdLst/>
            <a:ahLst/>
            <a:cxnLst/>
            <a:rect l="l" t="t" r="r" b="b"/>
            <a:pathLst>
              <a:path w="74549" h="76580">
                <a:moveTo>
                  <a:pt x="69977" y="72009"/>
                </a:moveTo>
                <a:moveTo>
                  <a:pt x="4572" y="4572"/>
                </a:moveTo>
              </a:path>
            </a:pathLst>
          </a:custGeom>
          <a:ln w="9144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17" name="object 817"/>
          <p:cNvSpPr/>
          <p:nvPr/>
        </p:nvSpPr>
        <p:spPr>
          <a:xfrm>
            <a:off x="4472055" y="4873688"/>
            <a:ext cx="1227137" cy="277812"/>
          </a:xfrm>
          <a:custGeom>
            <a:avLst/>
            <a:gdLst/>
            <a:ahLst/>
            <a:cxnLst/>
            <a:rect l="l" t="t" r="r" b="b"/>
            <a:pathLst>
              <a:path w="1227137" h="277812">
                <a:moveTo>
                  <a:pt x="0" y="0"/>
                </a:moveTo>
                <a:lnTo>
                  <a:pt x="0" y="277813"/>
                </a:lnTo>
                <a:lnTo>
                  <a:pt x="1227137" y="277813"/>
                </a:lnTo>
                <a:lnTo>
                  <a:pt x="1227137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18" name="object 818"/>
          <p:cNvSpPr/>
          <p:nvPr/>
        </p:nvSpPr>
        <p:spPr>
          <a:xfrm>
            <a:off x="4467288" y="4869038"/>
            <a:ext cx="1236662" cy="287337"/>
          </a:xfrm>
          <a:custGeom>
            <a:avLst/>
            <a:gdLst/>
            <a:ahLst/>
            <a:cxnLst/>
            <a:rect l="l" t="t" r="r" b="b"/>
            <a:pathLst>
              <a:path w="1236662" h="287337">
                <a:moveTo>
                  <a:pt x="4763" y="4762"/>
                </a:moveTo>
                <a:lnTo>
                  <a:pt x="4763" y="282575"/>
                </a:lnTo>
                <a:lnTo>
                  <a:pt x="1231900" y="282575"/>
                </a:lnTo>
                <a:lnTo>
                  <a:pt x="1231900" y="4762"/>
                </a:lnTo>
                <a:lnTo>
                  <a:pt x="4763" y="4762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" name="text 1"/>
          <p:cNvSpPr txBox="1"/>
          <p:nvPr/>
        </p:nvSpPr>
        <p:spPr>
          <a:xfrm>
            <a:off x="4697223" y="4918399"/>
            <a:ext cx="794128" cy="18466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200" spc="10" dirty="0">
                <a:solidFill>
                  <a:prstClr val="black"/>
                </a:solidFill>
                <a:latin typeface="Verdana"/>
                <a:cs typeface="Verdana"/>
              </a:rPr>
              <a:t>December</a:t>
            </a:r>
            <a:endParaRPr sz="1200">
              <a:solidFill>
                <a:prstClr val="black"/>
              </a:solidFill>
              <a:latin typeface="Verdana"/>
              <a:cs typeface="Verdana"/>
            </a:endParaRPr>
          </a:p>
        </p:txBody>
      </p:sp>
      <p:pic>
        <p:nvPicPr>
          <p:cNvPr id="41" name="Image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1396" y="4866409"/>
            <a:ext cx="3258185" cy="658647"/>
          </a:xfrm>
          <a:prstGeom prst="rect">
            <a:avLst/>
          </a:prstGeom>
        </p:spPr>
      </p:pic>
      <p:pic>
        <p:nvPicPr>
          <p:cNvPr id="42" name="Image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5120" y="5932904"/>
            <a:ext cx="2241804" cy="655853"/>
          </a:xfrm>
          <a:prstGeom prst="rect">
            <a:avLst/>
          </a:prstGeom>
        </p:spPr>
      </p:pic>
      <p:pic>
        <p:nvPicPr>
          <p:cNvPr id="43" name="Image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4363" y="5932904"/>
            <a:ext cx="1315212" cy="655853"/>
          </a:xfrm>
          <a:prstGeom prst="rect">
            <a:avLst/>
          </a:prstGeom>
        </p:spPr>
      </p:pic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45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"/>
            <a:ext cx="9144000" cy="1103249"/>
          </a:xfrm>
          <a:prstGeom prst="rect">
            <a:avLst/>
          </a:prstGeom>
        </p:spPr>
      </p:pic>
      <p:pic>
        <p:nvPicPr>
          <p:cNvPr id="46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1757" y="6401004"/>
            <a:ext cx="678215" cy="457097"/>
          </a:xfrm>
          <a:prstGeom prst="rect">
            <a:avLst/>
          </a:prstGeom>
        </p:spPr>
      </p:pic>
      <p:pic>
        <p:nvPicPr>
          <p:cNvPr id="47" name="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300" y="335211"/>
            <a:ext cx="1537740" cy="1077300"/>
          </a:xfrm>
          <a:prstGeom prst="rect">
            <a:avLst/>
          </a:prstGeom>
        </p:spPr>
      </p:pic>
      <p:sp>
        <p:nvSpPr>
          <p:cNvPr id="2" name="text 1"/>
          <p:cNvSpPr txBox="1"/>
          <p:nvPr/>
        </p:nvSpPr>
        <p:spPr>
          <a:xfrm>
            <a:off x="2277805" y="1470286"/>
            <a:ext cx="4315605" cy="461665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3000" b="1" spc="10" dirty="0">
                <a:solidFill>
                  <a:srgbClr val="0E5393"/>
                </a:solidFill>
                <a:latin typeface="Arial"/>
                <a:cs typeface="Arial"/>
              </a:rPr>
              <a:t>CURRENT  INITIATIVES</a:t>
            </a:r>
            <a:endParaRPr sz="30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" name="text 1"/>
          <p:cNvSpPr txBox="1"/>
          <p:nvPr/>
        </p:nvSpPr>
        <p:spPr>
          <a:xfrm>
            <a:off x="434341" y="2177474"/>
            <a:ext cx="3939668" cy="20159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310" spc="10" dirty="0">
                <a:solidFill>
                  <a:srgbClr val="0E5393"/>
                </a:solidFill>
                <a:latin typeface="Verdana"/>
                <a:cs typeface="Verdana"/>
              </a:rPr>
              <a:t>Dedicated  activities  have  started  in  2013  </a:t>
            </a:r>
            <a:endParaRPr sz="1300">
              <a:solidFill>
                <a:prstClr val="black"/>
              </a:solidFill>
              <a:latin typeface="Verdana"/>
              <a:cs typeface="Verdana"/>
            </a:endParaRPr>
          </a:p>
        </p:txBody>
      </p:sp>
      <p:pic>
        <p:nvPicPr>
          <p:cNvPr id="48" name="Image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829" y="3032125"/>
            <a:ext cx="1436751" cy="1455674"/>
          </a:xfrm>
          <a:prstGeom prst="rect">
            <a:avLst/>
          </a:prstGeom>
        </p:spPr>
      </p:pic>
      <p:pic>
        <p:nvPicPr>
          <p:cNvPr id="49" name="Image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1960" y="2898648"/>
            <a:ext cx="8060436" cy="1769364"/>
          </a:xfrm>
          <a:prstGeom prst="rect">
            <a:avLst/>
          </a:prstGeom>
        </p:spPr>
      </p:pic>
      <p:pic>
        <p:nvPicPr>
          <p:cNvPr id="50" name="Image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3428" y="2887980"/>
            <a:ext cx="5355335" cy="1351788"/>
          </a:xfrm>
          <a:prstGeom prst="rect">
            <a:avLst/>
          </a:prstGeom>
        </p:spPr>
      </p:pic>
      <p:sp>
        <p:nvSpPr>
          <p:cNvPr id="819" name="object 819"/>
          <p:cNvSpPr/>
          <p:nvPr/>
        </p:nvSpPr>
        <p:spPr>
          <a:xfrm>
            <a:off x="484187" y="2917825"/>
            <a:ext cx="7975663" cy="1684274"/>
          </a:xfrm>
          <a:custGeom>
            <a:avLst/>
            <a:gdLst/>
            <a:ahLst/>
            <a:cxnLst/>
            <a:rect l="l" t="t" r="r" b="b"/>
            <a:pathLst>
              <a:path w="7975663" h="1684274">
                <a:moveTo>
                  <a:pt x="6646355" y="0"/>
                </a:moveTo>
                <a:lnTo>
                  <a:pt x="0" y="0"/>
                </a:lnTo>
                <a:cubicBezTo>
                  <a:pt x="734136" y="0"/>
                  <a:pt x="1329245" y="377063"/>
                  <a:pt x="1329245" y="842137"/>
                </a:cubicBezTo>
                <a:cubicBezTo>
                  <a:pt x="1329245" y="1307338"/>
                  <a:pt x="734136" y="1684274"/>
                  <a:pt x="0" y="1684274"/>
                </a:cubicBezTo>
                <a:lnTo>
                  <a:pt x="6646355" y="1684274"/>
                </a:lnTo>
                <a:cubicBezTo>
                  <a:pt x="7380415" y="1684274"/>
                  <a:pt x="7975664" y="1307338"/>
                  <a:pt x="7975664" y="842137"/>
                </a:cubicBezTo>
                <a:cubicBezTo>
                  <a:pt x="7975664" y="377063"/>
                  <a:pt x="7380415" y="0"/>
                  <a:pt x="6646355" y="0"/>
                </a:cubicBezTo>
                <a:close/>
              </a:path>
            </a:pathLst>
          </a:custGeom>
          <a:solidFill>
            <a:srgbClr val="0E5393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pic>
        <p:nvPicPr>
          <p:cNvPr id="51" name="Image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8640" y="3131820"/>
            <a:ext cx="306324" cy="403860"/>
          </a:xfrm>
          <a:prstGeom prst="rect">
            <a:avLst/>
          </a:prstGeom>
        </p:spPr>
      </p:pic>
      <p:pic>
        <p:nvPicPr>
          <p:cNvPr id="52" name="Image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2807" y="3345180"/>
            <a:ext cx="5236464" cy="403860"/>
          </a:xfrm>
          <a:prstGeom prst="rect">
            <a:avLst/>
          </a:prstGeom>
        </p:spPr>
      </p:pic>
      <p:pic>
        <p:nvPicPr>
          <p:cNvPr id="53" name="Image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4520" y="3558544"/>
            <a:ext cx="5273040" cy="403859"/>
          </a:xfrm>
          <a:prstGeom prst="rect">
            <a:avLst/>
          </a:prstGeom>
        </p:spPr>
      </p:pic>
      <p:pic>
        <p:nvPicPr>
          <p:cNvPr id="54" name="Image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3408" y="3771900"/>
            <a:ext cx="1615440" cy="403860"/>
          </a:xfrm>
          <a:prstGeom prst="rect">
            <a:avLst/>
          </a:prstGeom>
        </p:spPr>
      </p:pic>
      <p:pic>
        <p:nvPicPr>
          <p:cNvPr id="55" name="Image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5008" y="3771900"/>
            <a:ext cx="1293876" cy="403860"/>
          </a:xfrm>
          <a:prstGeom prst="rect">
            <a:avLst/>
          </a:prstGeom>
        </p:spPr>
      </p:pic>
      <p:pic>
        <p:nvPicPr>
          <p:cNvPr id="56" name="Image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5044" y="3771900"/>
            <a:ext cx="774192" cy="403860"/>
          </a:xfrm>
          <a:prstGeom prst="rect">
            <a:avLst/>
          </a:prstGeom>
        </p:spPr>
      </p:pic>
      <p:pic>
        <p:nvPicPr>
          <p:cNvPr id="57" name="Image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5396" y="3771900"/>
            <a:ext cx="306324" cy="403860"/>
          </a:xfrm>
          <a:prstGeom prst="rect">
            <a:avLst/>
          </a:prstGeom>
        </p:spPr>
      </p:pic>
      <p:sp>
        <p:nvSpPr>
          <p:cNvPr id="4" name="text 1"/>
          <p:cNvSpPr txBox="1"/>
          <p:nvPr/>
        </p:nvSpPr>
        <p:spPr>
          <a:xfrm>
            <a:off x="2342650" y="2980701"/>
            <a:ext cx="4124527" cy="2308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500" b="1" spc="10" dirty="0">
                <a:solidFill>
                  <a:srgbClr val="FFFFFF"/>
                </a:solidFill>
                <a:latin typeface="Arial"/>
                <a:cs typeface="Arial"/>
              </a:rPr>
              <a:t>The  EUROPEAN  FOOD  FRAUD  NETWORK</a:t>
            </a:r>
            <a:endParaRPr sz="15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5" name="text 1"/>
          <p:cNvSpPr txBox="1"/>
          <p:nvPr/>
        </p:nvSpPr>
        <p:spPr>
          <a:xfrm>
            <a:off x="1987551" y="3403912"/>
            <a:ext cx="5108386" cy="61388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18288"/>
            <a:r>
              <a:rPr sz="1310" spc="10" dirty="0">
                <a:solidFill>
                  <a:srgbClr val="FFFFFF"/>
                </a:solidFill>
                <a:latin typeface="Verdana"/>
                <a:cs typeface="Verdana"/>
              </a:rPr>
              <a:t>to  facilitate  exchanges  of  information  between  Member</a:t>
            </a:r>
            <a:endParaRPr sz="1300">
              <a:solidFill>
                <a:prstClr val="black"/>
              </a:solidFill>
              <a:latin typeface="Verdana"/>
              <a:cs typeface="Verdana"/>
            </a:endParaRPr>
          </a:p>
          <a:p>
            <a:r>
              <a:rPr sz="1279" spc="10" dirty="0">
                <a:solidFill>
                  <a:srgbClr val="FFFFFF"/>
                </a:solidFill>
                <a:latin typeface="Verdana"/>
                <a:cs typeface="Verdana"/>
              </a:rPr>
              <a:t>States.  Since  November  2015  the  network  is  supported</a:t>
            </a:r>
            <a:endParaRPr sz="1200">
              <a:solidFill>
                <a:prstClr val="black"/>
              </a:solidFill>
              <a:latin typeface="Verdana"/>
              <a:cs typeface="Verdana"/>
            </a:endParaRPr>
          </a:p>
          <a:p>
            <a:pPr marL="1009269"/>
            <a:r>
              <a:rPr sz="1400" spc="10" dirty="0">
                <a:solidFill>
                  <a:srgbClr val="FFFFFF"/>
                </a:solidFill>
                <a:latin typeface="Verdana"/>
                <a:cs typeface="Verdana"/>
              </a:rPr>
              <a:t>by  a  dedicated  </a:t>
            </a:r>
            <a:r>
              <a:rPr sz="1400" b="1" spc="10" dirty="0">
                <a:solidFill>
                  <a:srgbClr val="FFFFFF"/>
                </a:solidFill>
                <a:latin typeface="Arial"/>
                <a:cs typeface="Arial"/>
              </a:rPr>
              <a:t>IT  system  </a:t>
            </a:r>
            <a:r>
              <a:rPr sz="1400" spc="10" dirty="0">
                <a:solidFill>
                  <a:srgbClr val="FFFFFF"/>
                </a:solidFill>
                <a:latin typeface="Verdana"/>
                <a:cs typeface="Verdana"/>
              </a:rPr>
              <a:t>(AAC)</a:t>
            </a:r>
            <a:endParaRPr sz="1400">
              <a:solidFill>
                <a:prstClr val="black"/>
              </a:solidFill>
              <a:latin typeface="Verdana"/>
              <a:cs typeface="Verdana"/>
            </a:endParaRPr>
          </a:p>
        </p:txBody>
      </p:sp>
      <p:pic>
        <p:nvPicPr>
          <p:cNvPr id="58" name="Image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650" y="5164137"/>
            <a:ext cx="1225550" cy="849312"/>
          </a:xfrm>
          <a:prstGeom prst="rect">
            <a:avLst/>
          </a:prstGeom>
        </p:spPr>
      </p:pic>
      <p:pic>
        <p:nvPicPr>
          <p:cNvPr id="59" name="Image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9788" y="4849368"/>
            <a:ext cx="8058912" cy="1525524"/>
          </a:xfrm>
          <a:prstGeom prst="rect">
            <a:avLst/>
          </a:prstGeom>
        </p:spPr>
      </p:pic>
      <p:pic>
        <p:nvPicPr>
          <p:cNvPr id="60" name="Image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0176" y="4838700"/>
            <a:ext cx="4975860" cy="1353312"/>
          </a:xfrm>
          <a:prstGeom prst="rect">
            <a:avLst/>
          </a:prstGeom>
        </p:spPr>
      </p:pic>
      <p:sp>
        <p:nvSpPr>
          <p:cNvPr id="820" name="object 820"/>
          <p:cNvSpPr/>
          <p:nvPr/>
        </p:nvSpPr>
        <p:spPr>
          <a:xfrm>
            <a:off x="631825" y="4868799"/>
            <a:ext cx="7974076" cy="1439926"/>
          </a:xfrm>
          <a:custGeom>
            <a:avLst/>
            <a:gdLst/>
            <a:ahLst/>
            <a:cxnLst/>
            <a:rect l="l" t="t" r="r" b="b"/>
            <a:pathLst>
              <a:path w="7974076" h="1439926">
                <a:moveTo>
                  <a:pt x="6645021" y="0"/>
                </a:moveTo>
                <a:lnTo>
                  <a:pt x="0" y="0"/>
                </a:lnTo>
                <a:cubicBezTo>
                  <a:pt x="733933" y="0"/>
                  <a:pt x="1329054" y="322326"/>
                  <a:pt x="1329054" y="719988"/>
                </a:cubicBezTo>
                <a:cubicBezTo>
                  <a:pt x="1329054" y="1117600"/>
                  <a:pt x="733933" y="1439926"/>
                  <a:pt x="0" y="1439926"/>
                </a:cubicBezTo>
                <a:lnTo>
                  <a:pt x="6645021" y="1439926"/>
                </a:lnTo>
                <a:cubicBezTo>
                  <a:pt x="7378954" y="1439926"/>
                  <a:pt x="7974076" y="1117600"/>
                  <a:pt x="7974076" y="719988"/>
                </a:cubicBezTo>
                <a:cubicBezTo>
                  <a:pt x="7974076" y="322326"/>
                  <a:pt x="7378954" y="0"/>
                  <a:pt x="6645021" y="0"/>
                </a:cubicBez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pic>
        <p:nvPicPr>
          <p:cNvPr id="61" name="Image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6468" y="5084064"/>
            <a:ext cx="306324" cy="403860"/>
          </a:xfrm>
          <a:prstGeom prst="rect">
            <a:avLst/>
          </a:prstGeom>
        </p:spPr>
      </p:pic>
      <p:pic>
        <p:nvPicPr>
          <p:cNvPr id="62" name="Image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38756" y="5297424"/>
            <a:ext cx="4840224" cy="403860"/>
          </a:xfrm>
          <a:prstGeom prst="rect">
            <a:avLst/>
          </a:prstGeom>
        </p:spPr>
      </p:pic>
      <p:pic>
        <p:nvPicPr>
          <p:cNvPr id="63" name="Image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1324" y="5510784"/>
            <a:ext cx="1711452" cy="403860"/>
          </a:xfrm>
          <a:prstGeom prst="rect">
            <a:avLst/>
          </a:prstGeom>
        </p:spPr>
      </p:pic>
      <p:pic>
        <p:nvPicPr>
          <p:cNvPr id="64" name="Image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78936" y="5510784"/>
            <a:ext cx="3425952" cy="403860"/>
          </a:xfrm>
          <a:prstGeom prst="rect">
            <a:avLst/>
          </a:prstGeom>
        </p:spPr>
      </p:pic>
      <p:pic>
        <p:nvPicPr>
          <p:cNvPr id="65" name="Image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8380" y="5724144"/>
            <a:ext cx="4757928" cy="403860"/>
          </a:xfrm>
          <a:prstGeom prst="rect">
            <a:avLst/>
          </a:prstGeom>
        </p:spPr>
      </p:pic>
      <p:pic>
        <p:nvPicPr>
          <p:cNvPr id="66" name="Image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2468" y="5724144"/>
            <a:ext cx="306324" cy="403860"/>
          </a:xfrm>
          <a:prstGeom prst="rect">
            <a:avLst/>
          </a:prstGeom>
        </p:spPr>
      </p:pic>
      <p:sp>
        <p:nvSpPr>
          <p:cNvPr id="6" name="text 1"/>
          <p:cNvSpPr txBox="1"/>
          <p:nvPr/>
        </p:nvSpPr>
        <p:spPr>
          <a:xfrm>
            <a:off x="2362256" y="4932310"/>
            <a:ext cx="4215449" cy="2308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500" b="1" spc="10" dirty="0">
                <a:solidFill>
                  <a:srgbClr val="FFFFFF"/>
                </a:solidFill>
                <a:latin typeface="Arial"/>
                <a:cs typeface="Arial"/>
              </a:rPr>
              <a:t>EU-WIDE  COORDINATED  CONTROL  PLANS</a:t>
            </a:r>
            <a:endParaRPr sz="15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" name="text 1"/>
          <p:cNvSpPr txBox="1"/>
          <p:nvPr/>
        </p:nvSpPr>
        <p:spPr>
          <a:xfrm>
            <a:off x="2324101" y="5355378"/>
            <a:ext cx="4889095" cy="60926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27432"/>
            <a:r>
              <a:rPr sz="1279" spc="10" dirty="0">
                <a:solidFill>
                  <a:srgbClr val="FFFFFF"/>
                </a:solidFill>
                <a:latin typeface="Verdana"/>
                <a:cs typeface="Verdana"/>
              </a:rPr>
              <a:t>In  2015,  two  coordinated  control  plans  targeted  to</a:t>
            </a:r>
            <a:endParaRPr sz="1200">
              <a:solidFill>
                <a:prstClr val="black"/>
              </a:solidFill>
              <a:latin typeface="Verdana"/>
              <a:cs typeface="Verdana"/>
            </a:endParaRPr>
          </a:p>
          <a:p>
            <a:r>
              <a:rPr sz="1370" b="1" spc="10" dirty="0">
                <a:solidFill>
                  <a:srgbClr val="FFFFFF"/>
                </a:solidFill>
                <a:latin typeface="Arial"/>
                <a:cs typeface="Arial"/>
              </a:rPr>
              <a:t>honey  and  fish</a:t>
            </a:r>
            <a:r>
              <a:rPr sz="1370" spc="10" dirty="0">
                <a:solidFill>
                  <a:srgbClr val="FFFFFF"/>
                </a:solidFill>
                <a:latin typeface="Verdana"/>
                <a:cs typeface="Verdana"/>
              </a:rPr>
              <a:t>.  They  provided  information  on  the</a:t>
            </a:r>
            <a:endParaRPr sz="1300">
              <a:solidFill>
                <a:prstClr val="black"/>
              </a:solidFill>
              <a:latin typeface="Verdana"/>
              <a:cs typeface="Verdana"/>
            </a:endParaRPr>
          </a:p>
          <a:p>
            <a:pPr marL="67055"/>
            <a:r>
              <a:rPr sz="1310" spc="10" dirty="0">
                <a:solidFill>
                  <a:srgbClr val="FFFFFF"/>
                </a:solidFill>
                <a:latin typeface="Verdana"/>
                <a:cs typeface="Verdana"/>
              </a:rPr>
              <a:t>nature  and  scale  of  frauds  for  these  commodities.  </a:t>
            </a:r>
            <a:endParaRPr sz="1300">
              <a:solidFill>
                <a:prstClr val="black"/>
              </a:solidFill>
              <a:latin typeface="Verdana"/>
              <a:cs typeface="Verdana"/>
            </a:endParaRPr>
          </a:p>
        </p:txBody>
      </p:sp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7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68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"/>
            <a:ext cx="9144000" cy="1103249"/>
          </a:xfrm>
          <a:prstGeom prst="rect">
            <a:avLst/>
          </a:prstGeom>
        </p:spPr>
      </p:pic>
      <p:pic>
        <p:nvPicPr>
          <p:cNvPr id="69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1757" y="6401004"/>
            <a:ext cx="678215" cy="457097"/>
          </a:xfrm>
          <a:prstGeom prst="rect">
            <a:avLst/>
          </a:prstGeom>
        </p:spPr>
      </p:pic>
      <p:pic>
        <p:nvPicPr>
          <p:cNvPr id="70" name="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300" y="335211"/>
            <a:ext cx="1537740" cy="1077300"/>
          </a:xfrm>
          <a:prstGeom prst="rect">
            <a:avLst/>
          </a:prstGeom>
        </p:spPr>
      </p:pic>
      <p:pic>
        <p:nvPicPr>
          <p:cNvPr id="71" name="Image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84205" y="2560686"/>
            <a:ext cx="3527425" cy="434975"/>
          </a:xfrm>
          <a:prstGeom prst="rect">
            <a:avLst/>
          </a:prstGeom>
        </p:spPr>
      </p:pic>
      <p:sp>
        <p:nvSpPr>
          <p:cNvPr id="2" name="text 1"/>
          <p:cNvSpPr txBox="1"/>
          <p:nvPr/>
        </p:nvSpPr>
        <p:spPr>
          <a:xfrm>
            <a:off x="2277805" y="1470286"/>
            <a:ext cx="4315605" cy="461665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3000" b="1" spc="10" dirty="0">
                <a:solidFill>
                  <a:srgbClr val="0E5393"/>
                </a:solidFill>
                <a:latin typeface="Arial"/>
                <a:cs typeface="Arial"/>
              </a:rPr>
              <a:t>CURRENT  INITIATIVES</a:t>
            </a:r>
            <a:endParaRPr sz="3000"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72" name="Image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680" y="1969008"/>
            <a:ext cx="8060436" cy="1527048"/>
          </a:xfrm>
          <a:prstGeom prst="rect">
            <a:avLst/>
          </a:prstGeom>
        </p:spPr>
      </p:pic>
      <p:pic>
        <p:nvPicPr>
          <p:cNvPr id="73" name="Image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1368" y="1958340"/>
            <a:ext cx="5510784" cy="1139952"/>
          </a:xfrm>
          <a:prstGeom prst="rect">
            <a:avLst/>
          </a:prstGeom>
        </p:spPr>
      </p:pic>
      <p:sp>
        <p:nvSpPr>
          <p:cNvPr id="821" name="object 821"/>
          <p:cNvSpPr/>
          <p:nvPr/>
        </p:nvSpPr>
        <p:spPr>
          <a:xfrm>
            <a:off x="530230" y="1989201"/>
            <a:ext cx="7975600" cy="1441450"/>
          </a:xfrm>
          <a:custGeom>
            <a:avLst/>
            <a:gdLst/>
            <a:ahLst/>
            <a:cxnLst/>
            <a:rect l="l" t="t" r="r" b="b"/>
            <a:pathLst>
              <a:path w="7975600" h="1441450">
                <a:moveTo>
                  <a:pt x="6646291" y="0"/>
                </a:moveTo>
                <a:lnTo>
                  <a:pt x="0" y="0"/>
                </a:lnTo>
                <a:cubicBezTo>
                  <a:pt x="734136" y="0"/>
                  <a:pt x="1329309" y="322580"/>
                  <a:pt x="1329309" y="720725"/>
                </a:cubicBezTo>
                <a:cubicBezTo>
                  <a:pt x="1329309" y="1118743"/>
                  <a:pt x="734136" y="1441450"/>
                  <a:pt x="0" y="1441450"/>
                </a:cubicBezTo>
                <a:lnTo>
                  <a:pt x="6646291" y="1441450"/>
                </a:lnTo>
                <a:cubicBezTo>
                  <a:pt x="7380478" y="1441450"/>
                  <a:pt x="7975600" y="1118743"/>
                  <a:pt x="7975600" y="720725"/>
                </a:cubicBezTo>
                <a:cubicBezTo>
                  <a:pt x="7975600" y="322580"/>
                  <a:pt x="7380478" y="0"/>
                  <a:pt x="6646291" y="0"/>
                </a:cubicBezTo>
                <a:close/>
              </a:path>
            </a:pathLst>
          </a:custGeom>
          <a:solidFill>
            <a:srgbClr val="ED7C31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pic>
        <p:nvPicPr>
          <p:cNvPr id="74" name="Image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4360" y="2203704"/>
            <a:ext cx="306324" cy="403860"/>
          </a:xfrm>
          <a:prstGeom prst="rect">
            <a:avLst/>
          </a:prstGeom>
        </p:spPr>
      </p:pic>
      <p:pic>
        <p:nvPicPr>
          <p:cNvPr id="75" name="Image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2516" y="2417064"/>
            <a:ext cx="5428488" cy="403860"/>
          </a:xfrm>
          <a:prstGeom prst="rect">
            <a:avLst/>
          </a:prstGeom>
        </p:spPr>
      </p:pic>
      <p:pic>
        <p:nvPicPr>
          <p:cNvPr id="76" name="Image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4100" y="2630536"/>
            <a:ext cx="1423416" cy="403859"/>
          </a:xfrm>
          <a:prstGeom prst="rect">
            <a:avLst/>
          </a:prstGeom>
        </p:spPr>
      </p:pic>
      <p:pic>
        <p:nvPicPr>
          <p:cNvPr id="77" name="Image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03676" y="2630536"/>
            <a:ext cx="300228" cy="403859"/>
          </a:xfrm>
          <a:prstGeom prst="rect">
            <a:avLst/>
          </a:prstGeom>
        </p:spPr>
      </p:pic>
      <p:pic>
        <p:nvPicPr>
          <p:cNvPr id="78" name="Image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0064" y="2630536"/>
            <a:ext cx="637032" cy="403859"/>
          </a:xfrm>
          <a:prstGeom prst="rect">
            <a:avLst/>
          </a:prstGeom>
        </p:spPr>
      </p:pic>
      <p:pic>
        <p:nvPicPr>
          <p:cNvPr id="79" name="Image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3256" y="2630536"/>
            <a:ext cx="2775204" cy="403859"/>
          </a:xfrm>
          <a:prstGeom prst="rect">
            <a:avLst/>
          </a:prstGeom>
        </p:spPr>
      </p:pic>
      <p:pic>
        <p:nvPicPr>
          <p:cNvPr id="80" name="Image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4676" y="2630536"/>
            <a:ext cx="304799" cy="403859"/>
          </a:xfrm>
          <a:prstGeom prst="rect">
            <a:avLst/>
          </a:prstGeom>
        </p:spPr>
      </p:pic>
      <p:sp>
        <p:nvSpPr>
          <p:cNvPr id="3" name="text 1"/>
          <p:cNvSpPr txBox="1"/>
          <p:nvPr/>
        </p:nvSpPr>
        <p:spPr>
          <a:xfrm>
            <a:off x="2513712" y="2051950"/>
            <a:ext cx="3723712" cy="2308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500" b="1" spc="10" dirty="0">
                <a:solidFill>
                  <a:srgbClr val="FFFFFF"/>
                </a:solidFill>
                <a:latin typeface="Arial"/>
                <a:cs typeface="Arial"/>
              </a:rPr>
              <a:t>BTSF  (Better  Training  for  Safer  Food)</a:t>
            </a:r>
            <a:endParaRPr sz="15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" name="text 1"/>
          <p:cNvSpPr txBox="1"/>
          <p:nvPr/>
        </p:nvSpPr>
        <p:spPr>
          <a:xfrm>
            <a:off x="1955926" y="2474908"/>
            <a:ext cx="4804200" cy="39382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159" spc="10" dirty="0">
                <a:solidFill>
                  <a:srgbClr val="FFFFFF"/>
                </a:solidFill>
                <a:latin typeface="Verdana"/>
                <a:cs typeface="Verdana"/>
              </a:rPr>
              <a:t>Five  specific  workshops  per  year  dedicated  to  food  fraud:</a:t>
            </a:r>
            <a:endParaRPr sz="1100">
              <a:solidFill>
                <a:prstClr val="black"/>
              </a:solidFill>
              <a:latin typeface="Verdana"/>
              <a:cs typeface="Verdana"/>
            </a:endParaRPr>
          </a:p>
          <a:p>
            <a:pPr marL="481583"/>
            <a:r>
              <a:rPr sz="1400" b="1" spc="10" dirty="0">
                <a:solidFill>
                  <a:srgbClr val="FFFFFF"/>
                </a:solidFill>
                <a:latin typeface="Arial"/>
                <a:cs typeface="Arial"/>
              </a:rPr>
              <a:t>eCommerce</a:t>
            </a:r>
            <a:r>
              <a:rPr sz="1400" spc="10" dirty="0">
                <a:solidFill>
                  <a:srgbClr val="FFFFFF"/>
                </a:solidFill>
                <a:latin typeface="Verdana"/>
                <a:cs typeface="Verdana"/>
              </a:rPr>
              <a:t>  and  </a:t>
            </a:r>
            <a:r>
              <a:rPr sz="1400" b="1" spc="10" dirty="0">
                <a:solidFill>
                  <a:srgbClr val="FFFFFF"/>
                </a:solidFill>
                <a:latin typeface="Arial"/>
                <a:cs typeface="Arial"/>
              </a:rPr>
              <a:t>Investigation  Techniques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81" name="Image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60" y="3770376"/>
            <a:ext cx="8334756" cy="2028444"/>
          </a:xfrm>
          <a:prstGeom prst="rect">
            <a:avLst/>
          </a:prstGeom>
        </p:spPr>
      </p:pic>
      <p:pic>
        <p:nvPicPr>
          <p:cNvPr id="82" name="Image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72768" y="3759708"/>
            <a:ext cx="5556504" cy="1985772"/>
          </a:xfrm>
          <a:prstGeom prst="rect">
            <a:avLst/>
          </a:prstGeom>
        </p:spPr>
      </p:pic>
      <p:sp>
        <p:nvSpPr>
          <p:cNvPr id="822" name="object 822"/>
          <p:cNvSpPr/>
          <p:nvPr/>
        </p:nvSpPr>
        <p:spPr>
          <a:xfrm>
            <a:off x="255643" y="3789426"/>
            <a:ext cx="8250237" cy="1943036"/>
          </a:xfrm>
          <a:custGeom>
            <a:avLst/>
            <a:gdLst/>
            <a:ahLst/>
            <a:cxnLst/>
            <a:rect l="l" t="t" r="r" b="b"/>
            <a:pathLst>
              <a:path w="8250237" h="1943036">
                <a:moveTo>
                  <a:pt x="6875209" y="0"/>
                </a:moveTo>
                <a:lnTo>
                  <a:pt x="0" y="0"/>
                </a:lnTo>
                <a:cubicBezTo>
                  <a:pt x="759409" y="0"/>
                  <a:pt x="1375092" y="434975"/>
                  <a:pt x="1375092" y="971550"/>
                </a:cubicBezTo>
                <a:cubicBezTo>
                  <a:pt x="1375092" y="1507998"/>
                  <a:pt x="759409" y="1943036"/>
                  <a:pt x="0" y="1943036"/>
                </a:cubicBezTo>
                <a:lnTo>
                  <a:pt x="6875209" y="1943036"/>
                </a:lnTo>
                <a:cubicBezTo>
                  <a:pt x="7634669" y="1943036"/>
                  <a:pt x="8250238" y="1507998"/>
                  <a:pt x="8250238" y="971550"/>
                </a:cubicBezTo>
                <a:cubicBezTo>
                  <a:pt x="8250238" y="434975"/>
                  <a:pt x="7634669" y="0"/>
                  <a:pt x="6875209" y="0"/>
                </a:cubicBezTo>
                <a:close/>
              </a:path>
            </a:pathLst>
          </a:custGeom>
          <a:solidFill>
            <a:srgbClr val="C00000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" name="text 1"/>
          <p:cNvSpPr txBox="1"/>
          <p:nvPr/>
        </p:nvSpPr>
        <p:spPr>
          <a:xfrm>
            <a:off x="2670302" y="3852407"/>
            <a:ext cx="3000180" cy="2308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500" b="1" spc="10" dirty="0">
                <a:solidFill>
                  <a:srgbClr val="FFFFFF"/>
                </a:solidFill>
                <a:latin typeface="Arial"/>
                <a:cs typeface="Arial"/>
              </a:rPr>
              <a:t>Review  of  Regulation  882/2004</a:t>
            </a:r>
            <a:endParaRPr sz="15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6" name="text 1"/>
          <p:cNvSpPr txBox="1"/>
          <p:nvPr/>
        </p:nvSpPr>
        <p:spPr>
          <a:xfrm>
            <a:off x="1722374" y="4290992"/>
            <a:ext cx="5361852" cy="125098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400" spc="10" dirty="0">
                <a:solidFill>
                  <a:srgbClr val="FFFFFF"/>
                </a:solidFill>
                <a:latin typeface="Arial"/>
                <a:cs typeface="Arial"/>
              </a:rPr>
              <a:t>•    </a:t>
            </a:r>
            <a:r>
              <a:rPr sz="1400" spc="10" dirty="0">
                <a:solidFill>
                  <a:srgbClr val="FFFFFF"/>
                </a:solidFill>
                <a:latin typeface="Verdana"/>
                <a:cs typeface="Verdana"/>
              </a:rPr>
              <a:t>Extension  of  </a:t>
            </a:r>
            <a:r>
              <a:rPr sz="1400" b="1" spc="10" dirty="0">
                <a:solidFill>
                  <a:srgbClr val="FFFFFF"/>
                </a:solidFill>
                <a:latin typeface="Arial"/>
                <a:cs typeface="Arial"/>
              </a:rPr>
              <a:t>Scope  for  AAC</a:t>
            </a:r>
            <a:r>
              <a:rPr sz="1400" spc="10" dirty="0">
                <a:solidFill>
                  <a:srgbClr val="FFFFFF"/>
                </a:solidFill>
                <a:latin typeface="Verdana"/>
                <a:cs typeface="Verdana"/>
              </a:rPr>
              <a:t>:</a:t>
            </a:r>
            <a:r>
              <a:rPr sz="1400" b="1" spc="10" dirty="0">
                <a:solidFill>
                  <a:srgbClr val="FFFFFF"/>
                </a:solidFill>
                <a:latin typeface="Arial"/>
                <a:cs typeface="Arial"/>
              </a:rPr>
              <a:t>  </a:t>
            </a:r>
            <a:r>
              <a:rPr sz="1400" spc="10" dirty="0">
                <a:solidFill>
                  <a:srgbClr val="FFFFFF"/>
                </a:solidFill>
                <a:latin typeface="Verdana"/>
                <a:cs typeface="Verdana"/>
              </a:rPr>
              <a:t>Animal  Health,  Plant</a:t>
            </a:r>
            <a:endParaRPr sz="1400">
              <a:solidFill>
                <a:prstClr val="black"/>
              </a:solidFill>
              <a:latin typeface="Verdana"/>
              <a:cs typeface="Verdana"/>
            </a:endParaRPr>
          </a:p>
          <a:p>
            <a:pPr marL="286511"/>
            <a:r>
              <a:rPr sz="1310" spc="10" dirty="0">
                <a:solidFill>
                  <a:srgbClr val="FFFFFF"/>
                </a:solidFill>
                <a:latin typeface="Verdana"/>
                <a:cs typeface="Verdana"/>
              </a:rPr>
              <a:t>Health,  Animal  Welfare,  Marketing  Standards  (for  Food</a:t>
            </a:r>
            <a:endParaRPr sz="1300">
              <a:solidFill>
                <a:prstClr val="black"/>
              </a:solidFill>
              <a:latin typeface="Verdana"/>
              <a:cs typeface="Verdana"/>
            </a:endParaRPr>
          </a:p>
          <a:p>
            <a:pPr marL="286511"/>
            <a:r>
              <a:rPr sz="1400" spc="10" dirty="0">
                <a:solidFill>
                  <a:srgbClr val="FFFFFF"/>
                </a:solidFill>
                <a:latin typeface="Verdana"/>
                <a:cs typeface="Verdana"/>
              </a:rPr>
              <a:t>fraud)</a:t>
            </a:r>
            <a:endParaRPr sz="1400">
              <a:solidFill>
                <a:prstClr val="black"/>
              </a:solidFill>
              <a:latin typeface="Verdana"/>
              <a:cs typeface="Verdana"/>
            </a:endParaRPr>
          </a:p>
          <a:p>
            <a:r>
              <a:rPr sz="1400" spc="10" dirty="0">
                <a:solidFill>
                  <a:srgbClr val="FFFFFF"/>
                </a:solidFill>
                <a:latin typeface="Arial"/>
                <a:cs typeface="Arial"/>
              </a:rPr>
              <a:t>•    </a:t>
            </a:r>
            <a:r>
              <a:rPr sz="1400" b="1" spc="10" dirty="0">
                <a:solidFill>
                  <a:srgbClr val="FFFFFF"/>
                </a:solidFill>
                <a:latin typeface="Arial"/>
                <a:cs typeface="Arial"/>
              </a:rPr>
              <a:t>EU  Reference  Centres  for  Food  Authenticity,  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  <a:p>
            <a:r>
              <a:rPr sz="1400" spc="10" dirty="0">
                <a:solidFill>
                  <a:srgbClr val="FFFFFF"/>
                </a:solidFill>
                <a:latin typeface="Arial"/>
                <a:cs typeface="Arial"/>
              </a:rPr>
              <a:t>•    </a:t>
            </a:r>
            <a:r>
              <a:rPr sz="1400" b="1" spc="10" dirty="0">
                <a:solidFill>
                  <a:srgbClr val="FFFFFF"/>
                </a:solidFill>
                <a:latin typeface="Arial"/>
                <a:cs typeface="Arial"/>
              </a:rPr>
              <a:t>Reinforced  Sanctions  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  <a:p>
            <a:r>
              <a:rPr sz="1219" spc="10" dirty="0">
                <a:solidFill>
                  <a:srgbClr val="FFFFFF"/>
                </a:solidFill>
                <a:latin typeface="Verdana"/>
                <a:cs typeface="Verdana"/>
              </a:rPr>
              <a:t>        (linked  to  economic  advantage  or  operator's  turnover)  </a:t>
            </a:r>
            <a:endParaRPr sz="1200">
              <a:solidFill>
                <a:prstClr val="black"/>
              </a:solidFill>
              <a:latin typeface="Verdana"/>
              <a:cs typeface="Verdana"/>
            </a:endParaRPr>
          </a:p>
        </p:txBody>
      </p:sp>
      <p:pic>
        <p:nvPicPr>
          <p:cNvPr id="83" name="Image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362" y="4126024"/>
            <a:ext cx="914400" cy="1055687"/>
          </a:xfrm>
          <a:prstGeom prst="rect">
            <a:avLst/>
          </a:prstGeom>
        </p:spPr>
      </p:pic>
      <p:sp>
        <p:nvSpPr>
          <p:cNvPr id="7" name="text 1"/>
          <p:cNvSpPr txBox="1"/>
          <p:nvPr/>
        </p:nvSpPr>
        <p:spPr>
          <a:xfrm>
            <a:off x="870813" y="5797406"/>
            <a:ext cx="5755422" cy="45538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359" b="1" spc="10" dirty="0">
                <a:solidFill>
                  <a:srgbClr val="0E5393"/>
                </a:solidFill>
                <a:latin typeface="Arial"/>
                <a:cs typeface="Arial"/>
              </a:rPr>
              <a:t>These  initiatives  have  been  welcomed  by  Member  States,  MEPs,</a:t>
            </a:r>
            <a:endParaRPr sz="1300">
              <a:solidFill>
                <a:prstClr val="black"/>
              </a:solidFill>
              <a:latin typeface="Arial"/>
              <a:cs typeface="Arial"/>
            </a:endParaRPr>
          </a:p>
          <a:p>
            <a:pPr marL="1513357"/>
            <a:r>
              <a:rPr sz="1600" b="1" spc="10" dirty="0">
                <a:solidFill>
                  <a:srgbClr val="0E5393"/>
                </a:solidFill>
                <a:latin typeface="Arial"/>
                <a:cs typeface="Arial"/>
              </a:rPr>
              <a:t>consumer  organisations  and  industry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85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"/>
            <a:ext cx="9144000" cy="1103249"/>
          </a:xfrm>
          <a:prstGeom prst="rect">
            <a:avLst/>
          </a:prstGeom>
        </p:spPr>
      </p:pic>
      <p:pic>
        <p:nvPicPr>
          <p:cNvPr id="86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1757" y="6401004"/>
            <a:ext cx="678215" cy="457097"/>
          </a:xfrm>
          <a:prstGeom prst="rect">
            <a:avLst/>
          </a:prstGeom>
        </p:spPr>
      </p:pic>
      <p:pic>
        <p:nvPicPr>
          <p:cNvPr id="87" name="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300" y="335211"/>
            <a:ext cx="1537740" cy="1077300"/>
          </a:xfrm>
          <a:prstGeom prst="rect">
            <a:avLst/>
          </a:prstGeom>
        </p:spPr>
      </p:pic>
      <p:pic>
        <p:nvPicPr>
          <p:cNvPr id="88" name="Image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687" y="4824476"/>
            <a:ext cx="1436624" cy="1455674"/>
          </a:xfrm>
          <a:prstGeom prst="rect">
            <a:avLst/>
          </a:prstGeom>
        </p:spPr>
      </p:pic>
      <p:pic>
        <p:nvPicPr>
          <p:cNvPr id="89" name="Image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0952" y="6170676"/>
            <a:ext cx="1545336" cy="481584"/>
          </a:xfrm>
          <a:prstGeom prst="rect">
            <a:avLst/>
          </a:prstGeom>
        </p:spPr>
      </p:pic>
      <p:pic>
        <p:nvPicPr>
          <p:cNvPr id="90" name="Image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33060" y="6208776"/>
            <a:ext cx="1405128" cy="458724"/>
          </a:xfrm>
          <a:prstGeom prst="rect">
            <a:avLst/>
          </a:prstGeom>
        </p:spPr>
      </p:pic>
      <p:sp>
        <p:nvSpPr>
          <p:cNvPr id="823" name="object 823"/>
          <p:cNvSpPr/>
          <p:nvPr/>
        </p:nvSpPr>
        <p:spPr>
          <a:xfrm>
            <a:off x="5383276" y="6199299"/>
            <a:ext cx="1441450" cy="377825"/>
          </a:xfrm>
          <a:custGeom>
            <a:avLst/>
            <a:gdLst/>
            <a:ahLst/>
            <a:cxnLst/>
            <a:rect l="l" t="t" r="r" b="b"/>
            <a:pathLst>
              <a:path w="1441450" h="377825">
                <a:moveTo>
                  <a:pt x="0" y="0"/>
                </a:moveTo>
                <a:lnTo>
                  <a:pt x="0" y="377825"/>
                </a:lnTo>
                <a:lnTo>
                  <a:pt x="1441450" y="377825"/>
                </a:lnTo>
                <a:lnTo>
                  <a:pt x="144145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24" name="object 824"/>
          <p:cNvSpPr/>
          <p:nvPr/>
        </p:nvSpPr>
        <p:spPr>
          <a:xfrm>
            <a:off x="5373751" y="6189774"/>
            <a:ext cx="1460500" cy="396875"/>
          </a:xfrm>
          <a:custGeom>
            <a:avLst/>
            <a:gdLst/>
            <a:ahLst/>
            <a:cxnLst/>
            <a:rect l="l" t="t" r="r" b="b"/>
            <a:pathLst>
              <a:path w="1460500" h="396875">
                <a:moveTo>
                  <a:pt x="9525" y="9525"/>
                </a:moveTo>
                <a:lnTo>
                  <a:pt x="9525" y="387350"/>
                </a:lnTo>
                <a:lnTo>
                  <a:pt x="1450975" y="387350"/>
                </a:lnTo>
                <a:lnTo>
                  <a:pt x="1450975" y="9525"/>
                </a:lnTo>
                <a:lnTo>
                  <a:pt x="9525" y="9525"/>
                </a:lnTo>
                <a:close/>
              </a:path>
            </a:pathLst>
          </a:custGeom>
          <a:ln w="19050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text 1"/>
          <p:cNvSpPr txBox="1"/>
          <p:nvPr/>
        </p:nvSpPr>
        <p:spPr>
          <a:xfrm>
            <a:off x="5583048" y="6280359"/>
            <a:ext cx="1065356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400" spc="10" dirty="0">
                <a:solidFill>
                  <a:srgbClr val="FF0000"/>
                </a:solidFill>
                <a:latin typeface="Verdana"/>
                <a:cs typeface="Verdana"/>
              </a:rPr>
              <a:t>Intelligence</a:t>
            </a:r>
            <a:endParaRPr sz="1400">
              <a:solidFill>
                <a:prstClr val="black"/>
              </a:solidFill>
              <a:latin typeface="Verdana"/>
              <a:cs typeface="Verdana"/>
            </a:endParaRPr>
          </a:p>
        </p:txBody>
      </p:sp>
      <p:pic>
        <p:nvPicPr>
          <p:cNvPr id="91" name="Image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776" y="2429368"/>
            <a:ext cx="2400300" cy="1158239"/>
          </a:xfrm>
          <a:prstGeom prst="rect">
            <a:avLst/>
          </a:prstGeom>
        </p:spPr>
      </p:pic>
      <p:pic>
        <p:nvPicPr>
          <p:cNvPr id="92" name="Image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988" y="2778252"/>
            <a:ext cx="1203960" cy="565404"/>
          </a:xfrm>
          <a:prstGeom prst="rect">
            <a:avLst/>
          </a:prstGeom>
        </p:spPr>
      </p:pic>
      <p:sp>
        <p:nvSpPr>
          <p:cNvPr id="825" name="object 825"/>
          <p:cNvSpPr/>
          <p:nvPr/>
        </p:nvSpPr>
        <p:spPr>
          <a:xfrm>
            <a:off x="541340" y="2454275"/>
            <a:ext cx="2305113" cy="1061974"/>
          </a:xfrm>
          <a:custGeom>
            <a:avLst/>
            <a:gdLst/>
            <a:ahLst/>
            <a:cxnLst/>
            <a:rect l="l" t="t" r="r" b="b"/>
            <a:pathLst>
              <a:path w="2305113" h="1061974">
                <a:moveTo>
                  <a:pt x="1223201" y="213487"/>
                </a:moveTo>
                <a:lnTo>
                  <a:pt x="1578293" y="0"/>
                </a:lnTo>
                <a:lnTo>
                  <a:pt x="1550098" y="284099"/>
                </a:lnTo>
                <a:lnTo>
                  <a:pt x="1921574" y="155956"/>
                </a:lnTo>
                <a:lnTo>
                  <a:pt x="1747965" y="321183"/>
                </a:lnTo>
                <a:lnTo>
                  <a:pt x="2305114" y="326771"/>
                </a:lnTo>
                <a:lnTo>
                  <a:pt x="1812608" y="462280"/>
                </a:lnTo>
                <a:lnTo>
                  <a:pt x="1949641" y="555117"/>
                </a:lnTo>
                <a:lnTo>
                  <a:pt x="1747965" y="605282"/>
                </a:lnTo>
                <a:lnTo>
                  <a:pt x="2014411" y="768603"/>
                </a:lnTo>
                <a:lnTo>
                  <a:pt x="1562291" y="705612"/>
                </a:lnTo>
                <a:lnTo>
                  <a:pt x="1594549" y="854075"/>
                </a:lnTo>
                <a:lnTo>
                  <a:pt x="1299782" y="783463"/>
                </a:lnTo>
                <a:lnTo>
                  <a:pt x="1239203" y="926465"/>
                </a:lnTo>
                <a:lnTo>
                  <a:pt x="1053529" y="854075"/>
                </a:lnTo>
                <a:lnTo>
                  <a:pt x="928434" y="969264"/>
                </a:lnTo>
                <a:lnTo>
                  <a:pt x="803212" y="891159"/>
                </a:lnTo>
                <a:lnTo>
                  <a:pt x="524713" y="1061974"/>
                </a:lnTo>
                <a:lnTo>
                  <a:pt x="512763" y="896874"/>
                </a:lnTo>
                <a:lnTo>
                  <a:pt x="137135" y="876427"/>
                </a:lnTo>
                <a:lnTo>
                  <a:pt x="355359" y="755777"/>
                </a:lnTo>
                <a:lnTo>
                  <a:pt x="0" y="633095"/>
                </a:lnTo>
                <a:lnTo>
                  <a:pt x="419926" y="569976"/>
                </a:lnTo>
                <a:lnTo>
                  <a:pt x="125070" y="406653"/>
                </a:lnTo>
                <a:lnTo>
                  <a:pt x="573278" y="384302"/>
                </a:lnTo>
                <a:lnTo>
                  <a:pt x="480428" y="178181"/>
                </a:lnTo>
                <a:lnTo>
                  <a:pt x="912432" y="313817"/>
                </a:lnTo>
                <a:lnTo>
                  <a:pt x="1037527" y="92837"/>
                </a:lnTo>
                <a:close/>
              </a:path>
            </a:pathLst>
          </a:custGeom>
          <a:solidFill>
            <a:srgbClr val="123076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26" name="object 826"/>
          <p:cNvSpPr/>
          <p:nvPr/>
        </p:nvSpPr>
        <p:spPr>
          <a:xfrm>
            <a:off x="536575" y="2449624"/>
            <a:ext cx="2314638" cy="1071499"/>
          </a:xfrm>
          <a:custGeom>
            <a:avLst/>
            <a:gdLst/>
            <a:ahLst/>
            <a:cxnLst/>
            <a:rect l="l" t="t" r="r" b="b"/>
            <a:pathLst>
              <a:path w="2314638" h="1071499">
                <a:moveTo>
                  <a:pt x="1227963" y="218250"/>
                </a:moveTo>
                <a:lnTo>
                  <a:pt x="1583055" y="4763"/>
                </a:lnTo>
                <a:lnTo>
                  <a:pt x="1554860" y="288862"/>
                </a:lnTo>
                <a:lnTo>
                  <a:pt x="1926336" y="160719"/>
                </a:lnTo>
                <a:lnTo>
                  <a:pt x="1752727" y="325946"/>
                </a:lnTo>
                <a:lnTo>
                  <a:pt x="2309876" y="331534"/>
                </a:lnTo>
                <a:lnTo>
                  <a:pt x="1817370" y="467043"/>
                </a:lnTo>
                <a:lnTo>
                  <a:pt x="1954403" y="559880"/>
                </a:lnTo>
                <a:lnTo>
                  <a:pt x="1752727" y="610045"/>
                </a:lnTo>
                <a:lnTo>
                  <a:pt x="2019173" y="773366"/>
                </a:lnTo>
                <a:lnTo>
                  <a:pt x="1567053" y="710375"/>
                </a:lnTo>
                <a:lnTo>
                  <a:pt x="1599311" y="858838"/>
                </a:lnTo>
                <a:lnTo>
                  <a:pt x="1304544" y="788226"/>
                </a:lnTo>
                <a:lnTo>
                  <a:pt x="1243965" y="931228"/>
                </a:lnTo>
                <a:lnTo>
                  <a:pt x="1058291" y="858838"/>
                </a:lnTo>
                <a:lnTo>
                  <a:pt x="933196" y="974027"/>
                </a:lnTo>
                <a:lnTo>
                  <a:pt x="807974" y="895922"/>
                </a:lnTo>
                <a:lnTo>
                  <a:pt x="529475" y="1066737"/>
                </a:lnTo>
                <a:lnTo>
                  <a:pt x="517525" y="901637"/>
                </a:lnTo>
                <a:lnTo>
                  <a:pt x="141897" y="881190"/>
                </a:lnTo>
                <a:lnTo>
                  <a:pt x="360121" y="760540"/>
                </a:lnTo>
                <a:lnTo>
                  <a:pt x="4762" y="637858"/>
                </a:lnTo>
                <a:lnTo>
                  <a:pt x="424688" y="574739"/>
                </a:lnTo>
                <a:lnTo>
                  <a:pt x="129832" y="411416"/>
                </a:lnTo>
                <a:lnTo>
                  <a:pt x="578040" y="389065"/>
                </a:lnTo>
                <a:lnTo>
                  <a:pt x="485190" y="182944"/>
                </a:lnTo>
                <a:lnTo>
                  <a:pt x="917194" y="318580"/>
                </a:lnTo>
                <a:lnTo>
                  <a:pt x="1042289" y="97600"/>
                </a:lnTo>
                <a:close/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" name="text 1"/>
          <p:cNvSpPr txBox="1"/>
          <p:nvPr/>
        </p:nvSpPr>
        <p:spPr>
          <a:xfrm>
            <a:off x="1226518" y="2863697"/>
            <a:ext cx="777457" cy="2769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pc="10" dirty="0">
                <a:solidFill>
                  <a:srgbClr val="FFFFFF"/>
                </a:solidFill>
                <a:latin typeface="Verdana"/>
                <a:cs typeface="Verdana"/>
              </a:rPr>
              <a:t>TRUST</a:t>
            </a:r>
            <a:endParaRPr>
              <a:solidFill>
                <a:prstClr val="black"/>
              </a:solidFill>
              <a:latin typeface="Verdana"/>
              <a:cs typeface="Verdana"/>
            </a:endParaRPr>
          </a:p>
        </p:txBody>
      </p:sp>
      <p:pic>
        <p:nvPicPr>
          <p:cNvPr id="93" name="Image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4856" y="6181342"/>
            <a:ext cx="2421636" cy="591312"/>
          </a:xfrm>
          <a:prstGeom prst="rect">
            <a:avLst/>
          </a:prstGeom>
        </p:spPr>
      </p:pic>
      <p:pic>
        <p:nvPicPr>
          <p:cNvPr id="94" name="Image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2956" y="6274419"/>
            <a:ext cx="2407920" cy="458723"/>
          </a:xfrm>
          <a:prstGeom prst="rect">
            <a:avLst/>
          </a:prstGeom>
        </p:spPr>
      </p:pic>
      <p:sp>
        <p:nvSpPr>
          <p:cNvPr id="827" name="object 827"/>
          <p:cNvSpPr/>
          <p:nvPr/>
        </p:nvSpPr>
        <p:spPr>
          <a:xfrm>
            <a:off x="1566926" y="6210300"/>
            <a:ext cx="2317750" cy="487362"/>
          </a:xfrm>
          <a:custGeom>
            <a:avLst/>
            <a:gdLst/>
            <a:ahLst/>
            <a:cxnLst/>
            <a:rect l="l" t="t" r="r" b="b"/>
            <a:pathLst>
              <a:path w="2317750" h="487362">
                <a:moveTo>
                  <a:pt x="0" y="0"/>
                </a:moveTo>
                <a:lnTo>
                  <a:pt x="0" y="487362"/>
                </a:lnTo>
                <a:lnTo>
                  <a:pt x="2317750" y="487362"/>
                </a:lnTo>
                <a:lnTo>
                  <a:pt x="2317750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28" name="object 828"/>
          <p:cNvSpPr/>
          <p:nvPr/>
        </p:nvSpPr>
        <p:spPr>
          <a:xfrm>
            <a:off x="1557406" y="6200775"/>
            <a:ext cx="2336800" cy="506412"/>
          </a:xfrm>
          <a:custGeom>
            <a:avLst/>
            <a:gdLst/>
            <a:ahLst/>
            <a:cxnLst/>
            <a:rect l="l" t="t" r="r" b="b"/>
            <a:pathLst>
              <a:path w="2336800" h="506412">
                <a:moveTo>
                  <a:pt x="9525" y="9525"/>
                </a:moveTo>
                <a:lnTo>
                  <a:pt x="9525" y="496887"/>
                </a:lnTo>
                <a:lnTo>
                  <a:pt x="2327275" y="496887"/>
                </a:lnTo>
                <a:lnTo>
                  <a:pt x="2327275" y="9525"/>
                </a:lnTo>
                <a:lnTo>
                  <a:pt x="9525" y="9525"/>
                </a:lnTo>
                <a:close/>
              </a:path>
            </a:pathLst>
          </a:custGeom>
          <a:ln w="19050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text 1"/>
          <p:cNvSpPr txBox="1"/>
          <p:nvPr/>
        </p:nvSpPr>
        <p:spPr>
          <a:xfrm>
            <a:off x="1702054" y="6346503"/>
            <a:ext cx="2088392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400" spc="10" dirty="0">
                <a:solidFill>
                  <a:srgbClr val="FF0000"/>
                </a:solidFill>
                <a:latin typeface="Verdana"/>
                <a:cs typeface="Verdana"/>
              </a:rPr>
              <a:t>Expertise/Enforcement</a:t>
            </a:r>
            <a:endParaRPr sz="1400">
              <a:solidFill>
                <a:prstClr val="black"/>
              </a:solidFill>
              <a:latin typeface="Verdana"/>
              <a:cs typeface="Verdana"/>
            </a:endParaRPr>
          </a:p>
        </p:txBody>
      </p:sp>
      <p:sp>
        <p:nvSpPr>
          <p:cNvPr id="5" name="text 1"/>
          <p:cNvSpPr txBox="1"/>
          <p:nvPr/>
        </p:nvSpPr>
        <p:spPr>
          <a:xfrm>
            <a:off x="392277" y="4339066"/>
            <a:ext cx="1348446" cy="43088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128320"/>
            <a:r>
              <a:rPr sz="1400" b="1" spc="10" dirty="0">
                <a:solidFill>
                  <a:srgbClr val="0E5393"/>
                </a:solidFill>
                <a:latin typeface="Arial"/>
                <a:cs typeface="Arial"/>
              </a:rPr>
              <a:t>The  EU  Food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  <a:p>
            <a:r>
              <a:rPr sz="1400" b="1" spc="10" dirty="0">
                <a:solidFill>
                  <a:srgbClr val="0E5393"/>
                </a:solidFill>
                <a:latin typeface="Arial"/>
                <a:cs typeface="Arial"/>
              </a:rPr>
              <a:t>Fraud  Network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95" name="Image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1957" y="3640313"/>
            <a:ext cx="4962525" cy="2512949"/>
          </a:xfrm>
          <a:prstGeom prst="rect">
            <a:avLst/>
          </a:prstGeom>
        </p:spPr>
      </p:pic>
      <p:pic>
        <p:nvPicPr>
          <p:cNvPr id="96" name="Image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11952" y="3727703"/>
            <a:ext cx="2119884" cy="673608"/>
          </a:xfrm>
          <a:prstGeom prst="rect">
            <a:avLst/>
          </a:prstGeom>
        </p:spPr>
      </p:pic>
      <p:pic>
        <p:nvPicPr>
          <p:cNvPr id="97" name="Image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3392" y="3755136"/>
            <a:ext cx="1997964" cy="672084"/>
          </a:xfrm>
          <a:prstGeom prst="rect">
            <a:avLst/>
          </a:prstGeom>
        </p:spPr>
      </p:pic>
      <p:sp>
        <p:nvSpPr>
          <p:cNvPr id="829" name="object 829"/>
          <p:cNvSpPr/>
          <p:nvPr/>
        </p:nvSpPr>
        <p:spPr>
          <a:xfrm>
            <a:off x="5764332" y="3757551"/>
            <a:ext cx="2016125" cy="568325"/>
          </a:xfrm>
          <a:custGeom>
            <a:avLst/>
            <a:gdLst/>
            <a:ahLst/>
            <a:cxnLst/>
            <a:rect l="l" t="t" r="r" b="b"/>
            <a:pathLst>
              <a:path w="2016125" h="568325">
                <a:moveTo>
                  <a:pt x="0" y="0"/>
                </a:moveTo>
                <a:lnTo>
                  <a:pt x="0" y="568325"/>
                </a:lnTo>
                <a:lnTo>
                  <a:pt x="2016125" y="568325"/>
                </a:lnTo>
                <a:lnTo>
                  <a:pt x="2016125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30" name="object 830"/>
          <p:cNvSpPr/>
          <p:nvPr/>
        </p:nvSpPr>
        <p:spPr>
          <a:xfrm>
            <a:off x="5754807" y="3748026"/>
            <a:ext cx="2035175" cy="587375"/>
          </a:xfrm>
          <a:custGeom>
            <a:avLst/>
            <a:gdLst/>
            <a:ahLst/>
            <a:cxnLst/>
            <a:rect l="l" t="t" r="r" b="b"/>
            <a:pathLst>
              <a:path w="2035175" h="587375">
                <a:moveTo>
                  <a:pt x="9525" y="9525"/>
                </a:moveTo>
                <a:lnTo>
                  <a:pt x="9525" y="577850"/>
                </a:lnTo>
                <a:lnTo>
                  <a:pt x="2025650" y="577850"/>
                </a:lnTo>
                <a:lnTo>
                  <a:pt x="2025650" y="9525"/>
                </a:lnTo>
                <a:lnTo>
                  <a:pt x="9525" y="9525"/>
                </a:lnTo>
                <a:close/>
              </a:path>
            </a:pathLst>
          </a:custGeom>
          <a:ln w="19050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" name="text 1"/>
          <p:cNvSpPr txBox="1"/>
          <p:nvPr/>
        </p:nvSpPr>
        <p:spPr>
          <a:xfrm>
            <a:off x="5953380" y="3827080"/>
            <a:ext cx="1261564" cy="37074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009" spc="10" dirty="0">
                <a:solidFill>
                  <a:srgbClr val="FF0000"/>
                </a:solidFill>
                <a:latin typeface="Verdana"/>
                <a:cs typeface="Verdana"/>
              </a:rPr>
              <a:t>Investigative  legal</a:t>
            </a:r>
            <a:endParaRPr sz="1000">
              <a:solidFill>
                <a:prstClr val="black"/>
              </a:solidFill>
              <a:latin typeface="Verdana"/>
              <a:cs typeface="Verdana"/>
            </a:endParaRPr>
          </a:p>
          <a:p>
            <a:pPr marL="498348"/>
            <a:r>
              <a:rPr sz="1400" spc="10" dirty="0">
                <a:solidFill>
                  <a:srgbClr val="FF0000"/>
                </a:solidFill>
                <a:latin typeface="Verdana"/>
                <a:cs typeface="Verdana"/>
              </a:rPr>
              <a:t>powers</a:t>
            </a:r>
            <a:endParaRPr sz="1400">
              <a:solidFill>
                <a:prstClr val="black"/>
              </a:solidFill>
              <a:latin typeface="Verdana"/>
              <a:cs typeface="Verdana"/>
            </a:endParaRPr>
          </a:p>
        </p:txBody>
      </p:sp>
      <p:sp>
        <p:nvSpPr>
          <p:cNvPr id="7" name="text 1"/>
          <p:cNvSpPr txBox="1"/>
          <p:nvPr/>
        </p:nvSpPr>
        <p:spPr>
          <a:xfrm>
            <a:off x="1559306" y="1614701"/>
            <a:ext cx="5680338" cy="461665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3000" b="1" spc="10" dirty="0">
                <a:solidFill>
                  <a:srgbClr val="0E5393"/>
                </a:solidFill>
                <a:latin typeface="Arial"/>
                <a:cs typeface="Arial"/>
              </a:rPr>
              <a:t>A  COOPERATIVE  APPROACH</a:t>
            </a:r>
            <a:endParaRPr sz="3000"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98" name="Image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7748" y="4693920"/>
            <a:ext cx="2435352" cy="605028"/>
          </a:xfrm>
          <a:prstGeom prst="rect">
            <a:avLst/>
          </a:prstGeom>
        </p:spPr>
      </p:pic>
      <p:pic>
        <p:nvPicPr>
          <p:cNvPr id="99" name="Image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58184" y="4817364"/>
            <a:ext cx="1606296" cy="405384"/>
          </a:xfrm>
          <a:prstGeom prst="rect">
            <a:avLst/>
          </a:prstGeom>
        </p:spPr>
      </p:pic>
      <p:sp>
        <p:nvSpPr>
          <p:cNvPr id="831" name="object 831"/>
          <p:cNvSpPr/>
          <p:nvPr/>
        </p:nvSpPr>
        <p:spPr>
          <a:xfrm>
            <a:off x="3365556" y="4718162"/>
            <a:ext cx="2339975" cy="511175"/>
          </a:xfrm>
          <a:custGeom>
            <a:avLst/>
            <a:gdLst/>
            <a:ahLst/>
            <a:cxnLst/>
            <a:rect l="l" t="t" r="r" b="b"/>
            <a:pathLst>
              <a:path w="2339975" h="511175">
                <a:moveTo>
                  <a:pt x="0" y="255524"/>
                </a:moveTo>
                <a:cubicBezTo>
                  <a:pt x="0" y="114427"/>
                  <a:pt x="523875" y="0"/>
                  <a:pt x="1170051" y="0"/>
                </a:cubicBezTo>
                <a:cubicBezTo>
                  <a:pt x="1816100" y="0"/>
                  <a:pt x="2339975" y="114427"/>
                  <a:pt x="2339975" y="255524"/>
                </a:cubicBezTo>
                <a:cubicBezTo>
                  <a:pt x="2339975" y="396748"/>
                  <a:pt x="1816100" y="511175"/>
                  <a:pt x="1170051" y="511175"/>
                </a:cubicBezTo>
                <a:cubicBezTo>
                  <a:pt x="523875" y="511175"/>
                  <a:pt x="0" y="396748"/>
                  <a:pt x="0" y="255524"/>
                </a:cubicBezTo>
                <a:close/>
              </a:path>
            </a:pathLst>
          </a:custGeom>
          <a:solidFill>
            <a:srgbClr val="123076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32" name="object 832"/>
          <p:cNvSpPr/>
          <p:nvPr/>
        </p:nvSpPr>
        <p:spPr>
          <a:xfrm>
            <a:off x="3360793" y="4968923"/>
            <a:ext cx="9525" cy="9525"/>
          </a:xfrm>
          <a:custGeom>
            <a:avLst/>
            <a:gdLst/>
            <a:ahLst/>
            <a:cxnLst/>
            <a:rect l="l" t="t" r="r" b="b"/>
            <a:pathLst>
              <a:path w="9525" h="9525">
                <a:moveTo>
                  <a:pt x="4763" y="4763"/>
                </a:move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33" name="object 833"/>
          <p:cNvSpPr/>
          <p:nvPr/>
        </p:nvSpPr>
        <p:spPr>
          <a:xfrm>
            <a:off x="3360737" y="4713287"/>
            <a:ext cx="2349500" cy="520700"/>
          </a:xfrm>
          <a:custGeom>
            <a:avLst/>
            <a:gdLst/>
            <a:ahLst/>
            <a:cxnLst/>
            <a:rect l="l" t="t" r="r" b="b"/>
            <a:pathLst>
              <a:path w="2349500" h="520700">
                <a:moveTo>
                  <a:pt x="4763" y="260287"/>
                </a:moveTo>
                <a:cubicBezTo>
                  <a:pt x="4763" y="119190"/>
                  <a:pt x="528638" y="4763"/>
                  <a:pt x="1174814" y="4763"/>
                </a:cubicBezTo>
                <a:cubicBezTo>
                  <a:pt x="1820863" y="4763"/>
                  <a:pt x="2344738" y="119190"/>
                  <a:pt x="2344738" y="260287"/>
                </a:cubicBezTo>
                <a:cubicBezTo>
                  <a:pt x="2344738" y="401511"/>
                  <a:pt x="1820863" y="515938"/>
                  <a:pt x="1174814" y="515938"/>
                </a:cubicBezTo>
                <a:cubicBezTo>
                  <a:pt x="528638" y="515938"/>
                  <a:pt x="4763" y="401511"/>
                  <a:pt x="4763" y="260287"/>
                </a:cubicBez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34" name="object 834"/>
          <p:cNvSpPr/>
          <p:nvPr/>
        </p:nvSpPr>
        <p:spPr>
          <a:xfrm>
            <a:off x="3360793" y="4968923"/>
            <a:ext cx="9525" cy="9525"/>
          </a:xfrm>
          <a:custGeom>
            <a:avLst/>
            <a:gdLst/>
            <a:ahLst/>
            <a:cxnLst/>
            <a:rect l="l" t="t" r="r" b="b"/>
            <a:pathLst>
              <a:path w="9525" h="9525">
                <a:moveTo>
                  <a:pt x="4763" y="4763"/>
                </a:moveTo>
                <a:moveTo>
                  <a:pt x="4763" y="4763"/>
                </a:move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" name="text 1"/>
          <p:cNvSpPr txBox="1"/>
          <p:nvPr/>
        </p:nvSpPr>
        <p:spPr>
          <a:xfrm>
            <a:off x="3893184" y="4896444"/>
            <a:ext cx="1152880" cy="18466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200" b="1" spc="10" dirty="0">
                <a:solidFill>
                  <a:srgbClr val="FFFFFF"/>
                </a:solidFill>
                <a:latin typeface="Arial"/>
                <a:cs typeface="Arial"/>
              </a:rPr>
              <a:t>Member  States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100" name="Image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2777" y="2474912"/>
            <a:ext cx="1223962" cy="1223962"/>
          </a:xfrm>
          <a:prstGeom prst="rect">
            <a:avLst/>
          </a:prstGeom>
        </p:spPr>
      </p:pic>
      <p:sp>
        <p:nvSpPr>
          <p:cNvPr id="9" name="text 1"/>
          <p:cNvSpPr txBox="1"/>
          <p:nvPr/>
        </p:nvSpPr>
        <p:spPr>
          <a:xfrm>
            <a:off x="7704456" y="6336805"/>
            <a:ext cx="502382" cy="16158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050" b="1" spc="10" dirty="0">
                <a:solidFill>
                  <a:srgbClr val="0E5393"/>
                </a:solidFill>
                <a:latin typeface="Arial"/>
                <a:cs typeface="Arial"/>
              </a:rPr>
              <a:t>Interpol</a:t>
            </a:r>
            <a:endParaRPr sz="1000"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101" name="Image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51654" y="4989512"/>
            <a:ext cx="1625600" cy="239712"/>
          </a:xfrm>
          <a:prstGeom prst="rect">
            <a:avLst/>
          </a:prstGeom>
        </p:spPr>
      </p:pic>
      <p:pic>
        <p:nvPicPr>
          <p:cNvPr id="102" name="Image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3725" y="6035786"/>
            <a:ext cx="673100" cy="730249"/>
          </a:xfrm>
          <a:prstGeom prst="rect">
            <a:avLst/>
          </a:prstGeom>
        </p:spPr>
      </p:pic>
      <p:pic>
        <p:nvPicPr>
          <p:cNvPr id="103" name="Image">
            <a:hlinkClick r:id="rId21"/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6101" y="5508625"/>
            <a:ext cx="1146175" cy="444500"/>
          </a:xfrm>
          <a:prstGeom prst="rect">
            <a:avLst/>
          </a:prstGeom>
        </p:spPr>
      </p:pic>
    </p:spTree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5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06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"/>
            <a:ext cx="9144000" cy="1103249"/>
          </a:xfrm>
          <a:prstGeom prst="rect">
            <a:avLst/>
          </a:prstGeom>
        </p:spPr>
      </p:pic>
      <p:pic>
        <p:nvPicPr>
          <p:cNvPr id="107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1757" y="6401004"/>
            <a:ext cx="678215" cy="457097"/>
          </a:xfrm>
          <a:prstGeom prst="rect">
            <a:avLst/>
          </a:prstGeom>
        </p:spPr>
      </p:pic>
      <p:pic>
        <p:nvPicPr>
          <p:cNvPr id="108" name="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300" y="335211"/>
            <a:ext cx="1537740" cy="1077300"/>
          </a:xfrm>
          <a:prstGeom prst="rect">
            <a:avLst/>
          </a:prstGeom>
        </p:spPr>
      </p:pic>
      <p:pic>
        <p:nvPicPr>
          <p:cNvPr id="109" name="Image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67" y="2224077"/>
            <a:ext cx="8841220" cy="4152994"/>
          </a:xfrm>
          <a:prstGeom prst="rect">
            <a:avLst/>
          </a:prstGeom>
        </p:spPr>
      </p:pic>
      <p:sp>
        <p:nvSpPr>
          <p:cNvPr id="2" name="text 1"/>
          <p:cNvSpPr txBox="1"/>
          <p:nvPr/>
        </p:nvSpPr>
        <p:spPr>
          <a:xfrm>
            <a:off x="1321308" y="1551410"/>
            <a:ext cx="5684826" cy="578620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760" b="1" spc="10" dirty="0">
                <a:solidFill>
                  <a:srgbClr val="0E5393"/>
                </a:solidFill>
                <a:latin typeface="Arial"/>
                <a:cs typeface="Arial"/>
              </a:rPr>
              <a:t>FRAUD  CASES  EXCHANGED  VIA  THE  NETWORK</a:t>
            </a:r>
            <a:endParaRPr sz="1700">
              <a:solidFill>
                <a:prstClr val="black"/>
              </a:solidFill>
              <a:latin typeface="Arial"/>
              <a:cs typeface="Arial"/>
            </a:endParaRPr>
          </a:p>
          <a:p>
            <a:pPr marL="1169162"/>
            <a:r>
              <a:rPr sz="2000" b="1" spc="10" dirty="0">
                <a:solidFill>
                  <a:srgbClr val="0E5393"/>
                </a:solidFill>
                <a:latin typeface="Arial"/>
                <a:cs typeface="Arial"/>
              </a:rPr>
              <a:t>(since  July  2013,  200+  cases)</a:t>
            </a:r>
            <a:endParaRPr sz="2000">
              <a:solidFill>
                <a:prstClr val="black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8610" name="Picture 2" descr="C:\Users\A.DAMARIO.lenovo\Desktop\food conference\PDFsam_merge2\PDFsam_merge2_Page_4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80265"/>
            <a:ext cx="9139265" cy="6461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9499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11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63750"/>
            <a:ext cx="9144000" cy="5794248"/>
          </a:xfrm>
          <a:prstGeom prst="rect">
            <a:avLst/>
          </a:prstGeom>
        </p:spPr>
      </p:pic>
      <p:pic>
        <p:nvPicPr>
          <p:cNvPr id="112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5609"/>
            <a:ext cx="9144000" cy="5732399"/>
          </a:xfrm>
          <a:prstGeom prst="rect">
            <a:avLst/>
          </a:prstGeom>
        </p:spPr>
      </p:pic>
      <p:pic>
        <p:nvPicPr>
          <p:cNvPr id="113" name="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06559"/>
            <a:ext cx="9144000" cy="5751449"/>
          </a:xfrm>
          <a:prstGeom prst="rect">
            <a:avLst/>
          </a:prstGeom>
        </p:spPr>
      </p:pic>
      <p:pic>
        <p:nvPicPr>
          <p:cNvPr id="114" name="Image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300" y="335211"/>
            <a:ext cx="1537740" cy="1077300"/>
          </a:xfrm>
          <a:prstGeom prst="rect">
            <a:avLst/>
          </a:prstGeom>
        </p:spPr>
      </p:pic>
      <p:pic>
        <p:nvPicPr>
          <p:cNvPr id="115" name="Image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1757" y="6401004"/>
            <a:ext cx="678215" cy="457097"/>
          </a:xfrm>
          <a:prstGeom prst="rect">
            <a:avLst/>
          </a:prstGeom>
        </p:spPr>
      </p:pic>
      <p:pic>
        <p:nvPicPr>
          <p:cNvPr id="116" name="Image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92278" y="4140136"/>
            <a:ext cx="2808224" cy="2106676"/>
          </a:xfrm>
          <a:prstGeom prst="rect">
            <a:avLst/>
          </a:prstGeom>
        </p:spPr>
      </p:pic>
      <p:sp>
        <p:nvSpPr>
          <p:cNvPr id="2" name="text 1"/>
          <p:cNvSpPr txBox="1"/>
          <p:nvPr/>
        </p:nvSpPr>
        <p:spPr>
          <a:xfrm>
            <a:off x="1350961" y="1456861"/>
            <a:ext cx="6122125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2400" b="1" spc="10" dirty="0">
                <a:solidFill>
                  <a:srgbClr val="FFD523"/>
                </a:solidFill>
                <a:latin typeface="Arial"/>
                <a:cs typeface="Arial"/>
              </a:rPr>
              <a:t>EXAMPLE  OF  EU-COORDINATED  CASE</a:t>
            </a:r>
            <a:endParaRPr sz="2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" name="text 1"/>
          <p:cNvSpPr txBox="1"/>
          <p:nvPr/>
        </p:nvSpPr>
        <p:spPr>
          <a:xfrm>
            <a:off x="1154279" y="1819634"/>
            <a:ext cx="4429739" cy="509370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310" b="1" spc="10" dirty="0">
                <a:solidFill>
                  <a:srgbClr val="FFD523"/>
                </a:solidFill>
                <a:latin typeface="Arial"/>
                <a:cs typeface="Arial"/>
              </a:rPr>
              <a:t>in  the  framework  of  art.  40  of  Regulation  (EC)  N</a:t>
            </a:r>
            <a:r>
              <a:rPr sz="1310" spc="10" dirty="0">
                <a:solidFill>
                  <a:srgbClr val="FFD523"/>
                </a:solidFill>
                <a:latin typeface="MS PGothic"/>
                <a:cs typeface="MS PGothic"/>
              </a:rPr>
              <a:t>°</a:t>
            </a:r>
            <a:endParaRPr sz="1300">
              <a:solidFill>
                <a:prstClr val="black"/>
              </a:solidFill>
              <a:latin typeface="Arial"/>
              <a:cs typeface="Arial"/>
            </a:endParaRPr>
          </a:p>
          <a:p>
            <a:pPr marL="2858160"/>
            <a:r>
              <a:rPr sz="2000" b="1" spc="10" dirty="0">
                <a:solidFill>
                  <a:srgbClr val="FFD523"/>
                </a:solidFill>
                <a:latin typeface="Arial"/>
                <a:cs typeface="Arial"/>
              </a:rPr>
              <a:t>882/2004</a:t>
            </a:r>
            <a:endParaRPr sz="20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4" name="text 1"/>
          <p:cNvSpPr txBox="1"/>
          <p:nvPr/>
        </p:nvSpPr>
        <p:spPr>
          <a:xfrm>
            <a:off x="975360" y="3148671"/>
            <a:ext cx="7321556" cy="86177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60959"/>
            <a:r>
              <a:rPr sz="2800" b="1" spc="10" dirty="0">
                <a:solidFill>
                  <a:srgbClr val="FFFFFF"/>
                </a:solidFill>
                <a:latin typeface="Arial"/>
                <a:cs typeface="Arial"/>
              </a:rPr>
              <a:t>UNDECLARED  PEANUTS  IN  GROUND</a:t>
            </a:r>
            <a:endParaRPr sz="2800">
              <a:solidFill>
                <a:prstClr val="black"/>
              </a:solidFill>
              <a:latin typeface="Arial"/>
              <a:cs typeface="Arial"/>
            </a:endParaRPr>
          </a:p>
          <a:p>
            <a:r>
              <a:rPr sz="2800" b="1" spc="10" dirty="0">
                <a:solidFill>
                  <a:srgbClr val="FFFFFF"/>
                </a:solidFill>
                <a:latin typeface="Arial"/>
                <a:cs typeface="Arial"/>
              </a:rPr>
              <a:t>ROASTED  HAZELNUTS  FROM  GEORGIA</a:t>
            </a:r>
            <a:endParaRPr sz="2800"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117" name="Image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343" y="5937362"/>
            <a:ext cx="630237" cy="630237"/>
          </a:xfrm>
          <a:prstGeom prst="rect">
            <a:avLst/>
          </a:prstGeom>
        </p:spPr>
      </p:pic>
      <p:pic>
        <p:nvPicPr>
          <p:cNvPr id="118" name="Image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40499"/>
            <a:ext cx="1619313" cy="1212849"/>
          </a:xfrm>
          <a:prstGeom prst="rect">
            <a:avLst/>
          </a:prstGeom>
        </p:spPr>
      </p:pic>
      <p:pic>
        <p:nvPicPr>
          <p:cNvPr id="119" name="Image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626" y="4140136"/>
            <a:ext cx="2808224" cy="2106676"/>
          </a:xfrm>
          <a:prstGeom prst="rect">
            <a:avLst/>
          </a:prstGeom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0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21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"/>
            <a:ext cx="9144000" cy="1103249"/>
          </a:xfrm>
          <a:prstGeom prst="rect">
            <a:avLst/>
          </a:prstGeom>
        </p:spPr>
      </p:pic>
      <p:pic>
        <p:nvPicPr>
          <p:cNvPr id="122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1757" y="6401004"/>
            <a:ext cx="678215" cy="457097"/>
          </a:xfrm>
          <a:prstGeom prst="rect">
            <a:avLst/>
          </a:prstGeom>
        </p:spPr>
      </p:pic>
      <p:pic>
        <p:nvPicPr>
          <p:cNvPr id="123" name="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300" y="335211"/>
            <a:ext cx="1537740" cy="1077300"/>
          </a:xfrm>
          <a:prstGeom prst="rect">
            <a:avLst/>
          </a:prstGeom>
        </p:spPr>
      </p:pic>
      <p:pic>
        <p:nvPicPr>
          <p:cNvPr id="124" name="Image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251" y="4750308"/>
            <a:ext cx="8449056" cy="1571244"/>
          </a:xfrm>
          <a:prstGeom prst="rect">
            <a:avLst/>
          </a:prstGeom>
        </p:spPr>
      </p:pic>
      <p:sp>
        <p:nvSpPr>
          <p:cNvPr id="835" name="object 835"/>
          <p:cNvSpPr/>
          <p:nvPr/>
        </p:nvSpPr>
        <p:spPr>
          <a:xfrm>
            <a:off x="534987" y="4770437"/>
            <a:ext cx="8362950" cy="1485900"/>
          </a:xfrm>
          <a:custGeom>
            <a:avLst/>
            <a:gdLst/>
            <a:ahLst/>
            <a:cxnLst/>
            <a:rect l="l" t="t" r="r" b="b"/>
            <a:pathLst>
              <a:path w="8362950" h="1485900">
                <a:moveTo>
                  <a:pt x="4763" y="250889"/>
                </a:moveTo>
                <a:cubicBezTo>
                  <a:pt x="4763" y="114872"/>
                  <a:pt x="114935" y="4763"/>
                  <a:pt x="250825" y="4763"/>
                </a:cubicBezTo>
                <a:lnTo>
                  <a:pt x="8112062" y="4763"/>
                </a:lnTo>
                <a:cubicBezTo>
                  <a:pt x="8248079" y="4763"/>
                  <a:pt x="8358188" y="114872"/>
                  <a:pt x="8358188" y="250889"/>
                </a:cubicBezTo>
                <a:lnTo>
                  <a:pt x="8358188" y="1235075"/>
                </a:lnTo>
                <a:cubicBezTo>
                  <a:pt x="8358188" y="1370965"/>
                  <a:pt x="8248079" y="1481138"/>
                  <a:pt x="8112062" y="1481138"/>
                </a:cubicBezTo>
                <a:lnTo>
                  <a:pt x="250825" y="1481138"/>
                </a:lnTo>
                <a:cubicBezTo>
                  <a:pt x="114935" y="1481138"/>
                  <a:pt x="4763" y="1370965"/>
                  <a:pt x="4763" y="1235075"/>
                </a:cubicBezTo>
                <a:close/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pic>
        <p:nvPicPr>
          <p:cNvPr id="125" name="Image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324" y="1577340"/>
            <a:ext cx="3052572" cy="2639568"/>
          </a:xfrm>
          <a:prstGeom prst="rect">
            <a:avLst/>
          </a:prstGeom>
        </p:spPr>
      </p:pic>
      <p:pic>
        <p:nvPicPr>
          <p:cNvPr id="126" name="Image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380" y="2389632"/>
            <a:ext cx="2212848" cy="1868424"/>
          </a:xfrm>
          <a:prstGeom prst="rect">
            <a:avLst/>
          </a:prstGeom>
        </p:spPr>
      </p:pic>
      <p:sp>
        <p:nvSpPr>
          <p:cNvPr id="836" name="object 836"/>
          <p:cNvSpPr/>
          <p:nvPr/>
        </p:nvSpPr>
        <p:spPr>
          <a:xfrm>
            <a:off x="349250" y="1597200"/>
            <a:ext cx="2554414" cy="1047623"/>
          </a:xfrm>
          <a:custGeom>
            <a:avLst/>
            <a:gdLst/>
            <a:ahLst/>
            <a:cxnLst/>
            <a:rect l="l" t="t" r="r" b="b"/>
            <a:pathLst>
              <a:path w="2554414" h="1047623">
                <a:moveTo>
                  <a:pt x="4762" y="4763"/>
                </a:moveTo>
                <a:lnTo>
                  <a:pt x="2201037" y="4763"/>
                </a:lnTo>
                <a:lnTo>
                  <a:pt x="2201037" y="1042861"/>
                </a:lnTo>
                <a:lnTo>
                  <a:pt x="2549652" y="1042861"/>
                </a:lnTo>
                <a:lnTo>
                  <a:pt x="2549652" y="789877"/>
                </a:ln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37" name="object 837"/>
          <p:cNvSpPr/>
          <p:nvPr/>
        </p:nvSpPr>
        <p:spPr>
          <a:xfrm>
            <a:off x="2894139" y="2382314"/>
            <a:ext cx="422148" cy="983869"/>
          </a:xfrm>
          <a:custGeom>
            <a:avLst/>
            <a:gdLst/>
            <a:ahLst/>
            <a:cxnLst/>
            <a:rect l="l" t="t" r="r" b="b"/>
            <a:pathLst>
              <a:path w="422148" h="983869">
                <a:moveTo>
                  <a:pt x="4763" y="4763"/>
                </a:moveTo>
                <a:lnTo>
                  <a:pt x="417386" y="491935"/>
                </a:lnTo>
                <a:lnTo>
                  <a:pt x="4763" y="979107"/>
                </a:ln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38" name="object 838"/>
          <p:cNvSpPr/>
          <p:nvPr/>
        </p:nvSpPr>
        <p:spPr>
          <a:xfrm>
            <a:off x="349250" y="1597088"/>
            <a:ext cx="2554414" cy="2554224"/>
          </a:xfrm>
          <a:custGeom>
            <a:avLst/>
            <a:gdLst/>
            <a:ahLst/>
            <a:cxnLst/>
            <a:rect l="l" t="t" r="r" b="b"/>
            <a:pathLst>
              <a:path w="2554414" h="2554224">
                <a:moveTo>
                  <a:pt x="2549652" y="1764221"/>
                </a:moveTo>
                <a:lnTo>
                  <a:pt x="2549652" y="1511364"/>
                </a:lnTo>
                <a:lnTo>
                  <a:pt x="2201037" y="1511364"/>
                </a:lnTo>
                <a:lnTo>
                  <a:pt x="2201037" y="2549462"/>
                </a:lnTo>
                <a:lnTo>
                  <a:pt x="4762" y="2549462"/>
                </a:lnTo>
                <a:moveTo>
                  <a:pt x="4762" y="4763"/>
                </a:move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2" name="text 1"/>
          <p:cNvSpPr txBox="1"/>
          <p:nvPr/>
        </p:nvSpPr>
        <p:spPr>
          <a:xfrm>
            <a:off x="508462" y="2468330"/>
            <a:ext cx="1936749" cy="161095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22859"/>
            <a:r>
              <a:rPr sz="1200" b="1" spc="10" dirty="0">
                <a:solidFill>
                  <a:srgbClr val="0E5393"/>
                </a:solidFill>
                <a:latin typeface="Arial"/>
                <a:cs typeface="Arial"/>
              </a:rPr>
              <a:t>Consumer  Complaint: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pPr marL="7619"/>
            <a:r>
              <a:rPr sz="1200" spc="10" dirty="0">
                <a:solidFill>
                  <a:srgbClr val="0E5393"/>
                </a:solidFill>
                <a:latin typeface="Verdana"/>
                <a:cs typeface="Verdana"/>
              </a:rPr>
              <a:t>After  </a:t>
            </a:r>
            <a:r>
              <a:rPr sz="1200" b="1" spc="10" dirty="0">
                <a:solidFill>
                  <a:srgbClr val="0E5393"/>
                </a:solidFill>
                <a:latin typeface="Arial"/>
                <a:cs typeface="Arial"/>
              </a:rPr>
              <a:t>allergic  reaction</a:t>
            </a:r>
            <a:r>
              <a:rPr sz="1200" spc="10" dirty="0">
                <a:solidFill>
                  <a:srgbClr val="0E5393"/>
                </a:solidFill>
                <a:latin typeface="Verdana"/>
                <a:cs typeface="Verdana"/>
              </a:rPr>
              <a:t>.</a:t>
            </a:r>
            <a:endParaRPr sz="1200">
              <a:solidFill>
                <a:prstClr val="black"/>
              </a:solidFill>
              <a:latin typeface="Verdana"/>
              <a:cs typeface="Verdana"/>
            </a:endParaRPr>
          </a:p>
          <a:p>
            <a:pPr marL="309370"/>
            <a:r>
              <a:rPr sz="1200" spc="10" dirty="0">
                <a:solidFill>
                  <a:srgbClr val="0E5393"/>
                </a:solidFill>
                <a:latin typeface="Verdana"/>
                <a:cs typeface="Verdana"/>
              </a:rPr>
              <a:t>Peanut  allergy  is</a:t>
            </a:r>
            <a:endParaRPr sz="1200">
              <a:solidFill>
                <a:prstClr val="black"/>
              </a:solidFill>
              <a:latin typeface="Verdana"/>
              <a:cs typeface="Verdana"/>
            </a:endParaRPr>
          </a:p>
          <a:p>
            <a:pPr marL="1523"/>
            <a:r>
              <a:rPr sz="1079" spc="10" dirty="0">
                <a:solidFill>
                  <a:srgbClr val="0E5393"/>
                </a:solidFill>
                <a:latin typeface="Verdana"/>
                <a:cs typeface="Verdana"/>
              </a:rPr>
              <a:t>recognized  as  one  of  the</a:t>
            </a:r>
            <a:endParaRPr sz="1000">
              <a:solidFill>
                <a:prstClr val="black"/>
              </a:solidFill>
              <a:latin typeface="Verdana"/>
              <a:cs typeface="Verdana"/>
            </a:endParaRPr>
          </a:p>
          <a:p>
            <a:pPr marL="280415"/>
            <a:r>
              <a:rPr sz="1200" spc="10" dirty="0">
                <a:solidFill>
                  <a:srgbClr val="0E5393"/>
                </a:solidFill>
                <a:latin typeface="Verdana"/>
                <a:cs typeface="Verdana"/>
              </a:rPr>
              <a:t>most  severe  food</a:t>
            </a:r>
            <a:endParaRPr sz="1200">
              <a:solidFill>
                <a:prstClr val="black"/>
              </a:solidFill>
              <a:latin typeface="Verdana"/>
              <a:cs typeface="Verdana"/>
            </a:endParaRPr>
          </a:p>
          <a:p>
            <a:pPr marL="237743"/>
            <a:r>
              <a:rPr sz="1200" spc="10" dirty="0">
                <a:solidFill>
                  <a:srgbClr val="0E5393"/>
                </a:solidFill>
                <a:latin typeface="Verdana"/>
                <a:cs typeface="Verdana"/>
              </a:rPr>
              <a:t>allergies  due  to  its</a:t>
            </a:r>
            <a:endParaRPr sz="1200">
              <a:solidFill>
                <a:prstClr val="black"/>
              </a:solidFill>
              <a:latin typeface="Verdana"/>
              <a:cs typeface="Verdana"/>
            </a:endParaRPr>
          </a:p>
          <a:p>
            <a:r>
              <a:rPr sz="989" spc="10" dirty="0">
                <a:solidFill>
                  <a:srgbClr val="0E5393"/>
                </a:solidFill>
                <a:latin typeface="Verdana"/>
                <a:cs typeface="Verdana"/>
              </a:rPr>
              <a:t>prevalence  and  potential</a:t>
            </a:r>
            <a:endParaRPr sz="900">
              <a:solidFill>
                <a:prstClr val="black"/>
              </a:solidFill>
              <a:latin typeface="Verdana"/>
              <a:cs typeface="Verdana"/>
            </a:endParaRPr>
          </a:p>
          <a:p>
            <a:pPr marL="240791"/>
            <a:r>
              <a:rPr sz="1200" spc="10" dirty="0">
                <a:solidFill>
                  <a:srgbClr val="0E5393"/>
                </a:solidFill>
                <a:latin typeface="Verdana"/>
                <a:cs typeface="Verdana"/>
              </a:rPr>
              <a:t>severity  of  allergic</a:t>
            </a:r>
            <a:endParaRPr sz="1200">
              <a:solidFill>
                <a:prstClr val="black"/>
              </a:solidFill>
              <a:latin typeface="Verdana"/>
              <a:cs typeface="Verdana"/>
            </a:endParaRPr>
          </a:p>
          <a:p>
            <a:pPr marL="635507"/>
            <a:r>
              <a:rPr sz="1200" spc="10" dirty="0">
                <a:solidFill>
                  <a:srgbClr val="0E5393"/>
                </a:solidFill>
                <a:latin typeface="Verdana"/>
                <a:cs typeface="Verdana"/>
              </a:rPr>
              <a:t>reaction</a:t>
            </a:r>
            <a:endParaRPr sz="1200">
              <a:solidFill>
                <a:prstClr val="black"/>
              </a:solidFill>
              <a:latin typeface="Verdana"/>
              <a:cs typeface="Verdana"/>
            </a:endParaRPr>
          </a:p>
        </p:txBody>
      </p:sp>
      <p:pic>
        <p:nvPicPr>
          <p:cNvPr id="127" name="Image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381" y="5199174"/>
            <a:ext cx="630237" cy="630237"/>
          </a:xfrm>
          <a:prstGeom prst="rect">
            <a:avLst/>
          </a:prstGeom>
        </p:spPr>
      </p:pic>
      <p:pic>
        <p:nvPicPr>
          <p:cNvPr id="128" name="Image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5" y="4906962"/>
            <a:ext cx="1817751" cy="1212850"/>
          </a:xfrm>
          <a:prstGeom prst="rect">
            <a:avLst/>
          </a:prstGeom>
        </p:spPr>
      </p:pic>
      <p:pic>
        <p:nvPicPr>
          <p:cNvPr id="129" name="Image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081" y="1601728"/>
            <a:ext cx="852487" cy="879475"/>
          </a:xfrm>
          <a:prstGeom prst="rect">
            <a:avLst/>
          </a:prstGeom>
        </p:spPr>
      </p:pic>
      <p:pic>
        <p:nvPicPr>
          <p:cNvPr id="130" name="Image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51275" y="1684386"/>
            <a:ext cx="1423924" cy="1171575"/>
          </a:xfrm>
          <a:prstGeom prst="rect">
            <a:avLst/>
          </a:prstGeom>
        </p:spPr>
      </p:pic>
      <p:sp>
        <p:nvSpPr>
          <p:cNvPr id="839" name="object 839"/>
          <p:cNvSpPr/>
          <p:nvPr/>
        </p:nvSpPr>
        <p:spPr>
          <a:xfrm>
            <a:off x="5732526" y="4945062"/>
            <a:ext cx="3160649" cy="679450"/>
          </a:xfrm>
          <a:custGeom>
            <a:avLst/>
            <a:gdLst/>
            <a:ahLst/>
            <a:cxnLst/>
            <a:rect l="l" t="t" r="r" b="b"/>
            <a:pathLst>
              <a:path w="3160649" h="679450">
                <a:moveTo>
                  <a:pt x="0" y="0"/>
                </a:moveTo>
                <a:lnTo>
                  <a:pt x="0" y="679450"/>
                </a:lnTo>
                <a:lnTo>
                  <a:pt x="3160649" y="679450"/>
                </a:lnTo>
                <a:lnTo>
                  <a:pt x="3160649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pic>
        <p:nvPicPr>
          <p:cNvPr id="131" name="Image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2526" y="4945062"/>
            <a:ext cx="3160649" cy="679450"/>
          </a:xfrm>
          <a:prstGeom prst="rect">
            <a:avLst/>
          </a:prstGeom>
        </p:spPr>
      </p:pic>
      <p:sp>
        <p:nvSpPr>
          <p:cNvPr id="840" name="object 840"/>
          <p:cNvSpPr/>
          <p:nvPr/>
        </p:nvSpPr>
        <p:spPr>
          <a:xfrm>
            <a:off x="5707126" y="4919662"/>
            <a:ext cx="3211449" cy="730250"/>
          </a:xfrm>
          <a:custGeom>
            <a:avLst/>
            <a:gdLst/>
            <a:ahLst/>
            <a:cxnLst/>
            <a:rect l="l" t="t" r="r" b="b"/>
            <a:pathLst>
              <a:path w="3211449" h="730250">
                <a:moveTo>
                  <a:pt x="12700" y="12700"/>
                </a:moveTo>
                <a:lnTo>
                  <a:pt x="12700" y="717550"/>
                </a:lnTo>
                <a:lnTo>
                  <a:pt x="3198749" y="717550"/>
                </a:lnTo>
                <a:lnTo>
                  <a:pt x="3198749" y="12700"/>
                </a:lnTo>
                <a:lnTo>
                  <a:pt x="12700" y="12700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pic>
        <p:nvPicPr>
          <p:cNvPr id="132" name="Image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7852" y="1577340"/>
            <a:ext cx="3052572" cy="2639568"/>
          </a:xfrm>
          <a:prstGeom prst="rect">
            <a:avLst/>
          </a:prstGeom>
        </p:spPr>
      </p:pic>
      <p:pic>
        <p:nvPicPr>
          <p:cNvPr id="133" name="Image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4435" y="2938271"/>
            <a:ext cx="2269235" cy="1319784"/>
          </a:xfrm>
          <a:prstGeom prst="rect">
            <a:avLst/>
          </a:prstGeom>
        </p:spPr>
      </p:pic>
      <p:sp>
        <p:nvSpPr>
          <p:cNvPr id="841" name="object 841"/>
          <p:cNvSpPr/>
          <p:nvPr/>
        </p:nvSpPr>
        <p:spPr>
          <a:xfrm>
            <a:off x="3430593" y="1597200"/>
            <a:ext cx="2554351" cy="1047623"/>
          </a:xfrm>
          <a:custGeom>
            <a:avLst/>
            <a:gdLst/>
            <a:ahLst/>
            <a:cxnLst/>
            <a:rect l="l" t="t" r="r" b="b"/>
            <a:pathLst>
              <a:path w="2554351" h="1047623">
                <a:moveTo>
                  <a:pt x="4763" y="4763"/>
                </a:moveTo>
                <a:lnTo>
                  <a:pt x="2201101" y="4763"/>
                </a:lnTo>
                <a:lnTo>
                  <a:pt x="2201101" y="1042861"/>
                </a:lnTo>
                <a:lnTo>
                  <a:pt x="2549589" y="1042861"/>
                </a:lnTo>
                <a:lnTo>
                  <a:pt x="2549589" y="789877"/>
                </a:ln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42" name="object 842"/>
          <p:cNvSpPr/>
          <p:nvPr/>
        </p:nvSpPr>
        <p:spPr>
          <a:xfrm>
            <a:off x="5975426" y="2382314"/>
            <a:ext cx="422275" cy="983869"/>
          </a:xfrm>
          <a:custGeom>
            <a:avLst/>
            <a:gdLst/>
            <a:ahLst/>
            <a:cxnLst/>
            <a:rect l="l" t="t" r="r" b="b"/>
            <a:pathLst>
              <a:path w="422275" h="983869">
                <a:moveTo>
                  <a:pt x="4763" y="4763"/>
                </a:moveTo>
                <a:lnTo>
                  <a:pt x="417513" y="491935"/>
                </a:lnTo>
                <a:lnTo>
                  <a:pt x="4763" y="979107"/>
                </a:ln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43" name="object 843"/>
          <p:cNvSpPr/>
          <p:nvPr/>
        </p:nvSpPr>
        <p:spPr>
          <a:xfrm>
            <a:off x="3430593" y="1597088"/>
            <a:ext cx="2554351" cy="2554224"/>
          </a:xfrm>
          <a:custGeom>
            <a:avLst/>
            <a:gdLst/>
            <a:ahLst/>
            <a:cxnLst/>
            <a:rect l="l" t="t" r="r" b="b"/>
            <a:pathLst>
              <a:path w="2554351" h="2554224">
                <a:moveTo>
                  <a:pt x="2549589" y="1764221"/>
                </a:moveTo>
                <a:lnTo>
                  <a:pt x="2549589" y="1511364"/>
                </a:lnTo>
                <a:lnTo>
                  <a:pt x="2201101" y="1511364"/>
                </a:lnTo>
                <a:lnTo>
                  <a:pt x="2201101" y="2549462"/>
                </a:lnTo>
                <a:lnTo>
                  <a:pt x="4763" y="2549462"/>
                </a:lnTo>
                <a:moveTo>
                  <a:pt x="4763" y="4763"/>
                </a:move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" name="text 1"/>
          <p:cNvSpPr txBox="1"/>
          <p:nvPr/>
        </p:nvSpPr>
        <p:spPr>
          <a:xfrm>
            <a:off x="3559428" y="3017352"/>
            <a:ext cx="1922001" cy="107093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989" b="1" spc="10" dirty="0">
                <a:solidFill>
                  <a:srgbClr val="0E5393"/>
                </a:solidFill>
                <a:latin typeface="Arial"/>
                <a:cs typeface="Arial"/>
              </a:rPr>
              <a:t>Manufacturer's  own</a:t>
            </a:r>
            <a:endParaRPr sz="900">
              <a:solidFill>
                <a:prstClr val="black"/>
              </a:solidFill>
              <a:latin typeface="Arial"/>
              <a:cs typeface="Arial"/>
            </a:endParaRPr>
          </a:p>
          <a:p>
            <a:pPr marL="576072"/>
            <a:r>
              <a:rPr sz="1200" b="1" spc="10" dirty="0">
                <a:solidFill>
                  <a:srgbClr val="0E5393"/>
                </a:solidFill>
                <a:latin typeface="Arial"/>
                <a:cs typeface="Arial"/>
              </a:rPr>
              <a:t>check: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  <a:p>
            <a:r>
              <a:rPr sz="1170" spc="10" dirty="0">
                <a:solidFill>
                  <a:srgbClr val="0E5393"/>
                </a:solidFill>
                <a:latin typeface="Verdana"/>
                <a:cs typeface="Verdana"/>
              </a:rPr>
              <a:t>Discovery  of  </a:t>
            </a:r>
            <a:r>
              <a:rPr sz="1170" b="1" spc="10" dirty="0">
                <a:solidFill>
                  <a:srgbClr val="0E5393"/>
                </a:solidFill>
                <a:latin typeface="Arial"/>
                <a:cs typeface="Arial"/>
              </a:rPr>
              <a:t>undeclared</a:t>
            </a:r>
            <a:endParaRPr sz="1100">
              <a:solidFill>
                <a:prstClr val="black"/>
              </a:solidFill>
              <a:latin typeface="Arial"/>
              <a:cs typeface="Arial"/>
            </a:endParaRPr>
          </a:p>
          <a:p>
            <a:pPr marL="157353"/>
            <a:r>
              <a:rPr sz="1200" b="1" spc="10" dirty="0">
                <a:solidFill>
                  <a:srgbClr val="0E5393"/>
                </a:solidFill>
                <a:latin typeface="Arial"/>
                <a:cs typeface="Arial"/>
              </a:rPr>
              <a:t>peanut</a:t>
            </a:r>
            <a:r>
              <a:rPr sz="1200" spc="10" dirty="0">
                <a:solidFill>
                  <a:srgbClr val="0E5393"/>
                </a:solidFill>
                <a:latin typeface="Verdana"/>
                <a:cs typeface="Verdana"/>
              </a:rPr>
              <a:t>  in  batches  of</a:t>
            </a:r>
            <a:endParaRPr sz="1200">
              <a:solidFill>
                <a:prstClr val="black"/>
              </a:solidFill>
              <a:latin typeface="Verdana"/>
              <a:cs typeface="Verdana"/>
            </a:endParaRPr>
          </a:p>
          <a:p>
            <a:pPr marL="181736"/>
            <a:r>
              <a:rPr sz="1200" spc="10" dirty="0">
                <a:solidFill>
                  <a:srgbClr val="0E5393"/>
                </a:solidFill>
                <a:latin typeface="Verdana"/>
                <a:cs typeface="Verdana"/>
              </a:rPr>
              <a:t>ground  hazelnut  and</a:t>
            </a:r>
            <a:endParaRPr sz="1200">
              <a:solidFill>
                <a:prstClr val="black"/>
              </a:solidFill>
              <a:latin typeface="Verdana"/>
              <a:cs typeface="Verdana"/>
            </a:endParaRPr>
          </a:p>
          <a:p>
            <a:pPr marL="131445"/>
            <a:r>
              <a:rPr sz="1200" spc="10" dirty="0">
                <a:solidFill>
                  <a:srgbClr val="0E5393"/>
                </a:solidFill>
                <a:latin typeface="Verdana"/>
                <a:cs typeface="Verdana"/>
              </a:rPr>
              <a:t>hazelnut  flour  </a:t>
            </a:r>
            <a:r>
              <a:rPr sz="1200" b="1" spc="10" dirty="0">
                <a:solidFill>
                  <a:srgbClr val="0E5393"/>
                </a:solidFill>
                <a:latin typeface="Arial"/>
                <a:cs typeface="Arial"/>
              </a:rPr>
              <a:t>(22%)</a:t>
            </a:r>
            <a:endParaRPr sz="1200"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134" name="Image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2756" y="1790700"/>
            <a:ext cx="504825" cy="323850"/>
          </a:xfrm>
          <a:prstGeom prst="rect">
            <a:avLst/>
          </a:prstGeom>
        </p:spPr>
      </p:pic>
      <p:pic>
        <p:nvPicPr>
          <p:cNvPr id="135" name="Image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5664" y="1531619"/>
            <a:ext cx="2340864" cy="3445764"/>
          </a:xfrm>
          <a:prstGeom prst="rect">
            <a:avLst/>
          </a:prstGeom>
        </p:spPr>
      </p:pic>
      <p:pic>
        <p:nvPicPr>
          <p:cNvPr id="136" name="Image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6144" y="2444496"/>
            <a:ext cx="2357628" cy="1438656"/>
          </a:xfrm>
          <a:prstGeom prst="rect">
            <a:avLst/>
          </a:prstGeom>
        </p:spPr>
      </p:pic>
      <p:sp>
        <p:nvSpPr>
          <p:cNvPr id="844" name="object 844"/>
          <p:cNvSpPr/>
          <p:nvPr/>
        </p:nvSpPr>
        <p:spPr>
          <a:xfrm>
            <a:off x="6502400" y="1555750"/>
            <a:ext cx="2246376" cy="3351276"/>
          </a:xfrm>
          <a:custGeom>
            <a:avLst/>
            <a:gdLst/>
            <a:ahLst/>
            <a:cxnLst/>
            <a:rect l="l" t="t" r="r" b="b"/>
            <a:pathLst>
              <a:path w="2246376" h="3351276">
                <a:moveTo>
                  <a:pt x="0" y="0"/>
                </a:moveTo>
                <a:lnTo>
                  <a:pt x="2246376" y="0"/>
                </a:lnTo>
                <a:lnTo>
                  <a:pt x="2246376" y="2177542"/>
                </a:lnTo>
                <a:lnTo>
                  <a:pt x="1403985" y="2177542"/>
                </a:lnTo>
                <a:lnTo>
                  <a:pt x="1403985" y="2789682"/>
                </a:lnTo>
                <a:lnTo>
                  <a:pt x="1684781" y="2789682"/>
                </a:lnTo>
                <a:lnTo>
                  <a:pt x="1123188" y="3351276"/>
                </a:lnTo>
                <a:lnTo>
                  <a:pt x="561593" y="2789682"/>
                </a:lnTo>
                <a:lnTo>
                  <a:pt x="842391" y="2789682"/>
                </a:lnTo>
                <a:lnTo>
                  <a:pt x="842391" y="2177542"/>
                </a:lnTo>
                <a:lnTo>
                  <a:pt x="0" y="217754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45" name="object 845"/>
          <p:cNvSpPr/>
          <p:nvPr/>
        </p:nvSpPr>
        <p:spPr>
          <a:xfrm>
            <a:off x="6497693" y="1551099"/>
            <a:ext cx="2255901" cy="2799207"/>
          </a:xfrm>
          <a:custGeom>
            <a:avLst/>
            <a:gdLst/>
            <a:ahLst/>
            <a:cxnLst/>
            <a:rect l="l" t="t" r="r" b="b"/>
            <a:pathLst>
              <a:path w="2255901" h="2799207">
                <a:moveTo>
                  <a:pt x="4763" y="4763"/>
                </a:moveTo>
                <a:lnTo>
                  <a:pt x="2251139" y="4763"/>
                </a:lnTo>
                <a:lnTo>
                  <a:pt x="2251139" y="2182305"/>
                </a:lnTo>
                <a:lnTo>
                  <a:pt x="1408748" y="2182305"/>
                </a:lnTo>
                <a:lnTo>
                  <a:pt x="1408748" y="2794445"/>
                </a:lnTo>
                <a:lnTo>
                  <a:pt x="1689544" y="2794445"/>
                </a:ln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46" name="object 846"/>
          <p:cNvSpPr/>
          <p:nvPr/>
        </p:nvSpPr>
        <p:spPr>
          <a:xfrm>
            <a:off x="7059236" y="4340781"/>
            <a:ext cx="1132713" cy="571119"/>
          </a:xfrm>
          <a:custGeom>
            <a:avLst/>
            <a:gdLst/>
            <a:ahLst/>
            <a:cxnLst/>
            <a:rect l="l" t="t" r="r" b="b"/>
            <a:pathLst>
              <a:path w="1132713" h="571119">
                <a:moveTo>
                  <a:pt x="1127950" y="4763"/>
                </a:moveTo>
                <a:lnTo>
                  <a:pt x="566357" y="566357"/>
                </a:lnTo>
                <a:lnTo>
                  <a:pt x="4762" y="4763"/>
                </a:ln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47" name="object 847"/>
          <p:cNvSpPr/>
          <p:nvPr/>
        </p:nvSpPr>
        <p:spPr>
          <a:xfrm>
            <a:off x="6497640" y="1551099"/>
            <a:ext cx="851916" cy="2799207"/>
          </a:xfrm>
          <a:custGeom>
            <a:avLst/>
            <a:gdLst/>
            <a:ahLst/>
            <a:cxnLst/>
            <a:rect l="l" t="t" r="r" b="b"/>
            <a:pathLst>
              <a:path w="851916" h="2799207">
                <a:moveTo>
                  <a:pt x="566356" y="2794445"/>
                </a:moveTo>
                <a:lnTo>
                  <a:pt x="847154" y="2794445"/>
                </a:lnTo>
                <a:lnTo>
                  <a:pt x="847154" y="2182305"/>
                </a:lnTo>
                <a:lnTo>
                  <a:pt x="4763" y="2182305"/>
                </a:lnTo>
                <a:moveTo>
                  <a:pt x="4763" y="4763"/>
                </a:move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pic>
        <p:nvPicPr>
          <p:cNvPr id="137" name="Image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73596" y="2462784"/>
            <a:ext cx="1994916" cy="457200"/>
          </a:xfrm>
          <a:prstGeom prst="rect">
            <a:avLst/>
          </a:prstGeom>
        </p:spPr>
      </p:pic>
      <p:pic>
        <p:nvPicPr>
          <p:cNvPr id="138" name="Image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37831" y="2706624"/>
            <a:ext cx="1261872" cy="457200"/>
          </a:xfrm>
          <a:prstGeom prst="rect">
            <a:avLst/>
          </a:prstGeom>
        </p:spPr>
      </p:pic>
      <p:pic>
        <p:nvPicPr>
          <p:cNvPr id="139" name="Image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140" y="2950464"/>
            <a:ext cx="1598676" cy="457200"/>
          </a:xfrm>
          <a:prstGeom prst="rect">
            <a:avLst/>
          </a:prstGeom>
        </p:spPr>
      </p:pic>
      <p:pic>
        <p:nvPicPr>
          <p:cNvPr id="140" name="Image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9552" y="2950464"/>
            <a:ext cx="350519" cy="457200"/>
          </a:xfrm>
          <a:prstGeom prst="rect">
            <a:avLst/>
          </a:prstGeom>
        </p:spPr>
      </p:pic>
      <p:pic>
        <p:nvPicPr>
          <p:cNvPr id="141" name="Image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7299" y="3200512"/>
            <a:ext cx="2275331" cy="403859"/>
          </a:xfrm>
          <a:prstGeom prst="rect">
            <a:avLst/>
          </a:prstGeom>
        </p:spPr>
      </p:pic>
      <p:pic>
        <p:nvPicPr>
          <p:cNvPr id="142" name="Image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6748" y="3413767"/>
            <a:ext cx="1775460" cy="403859"/>
          </a:xfrm>
          <a:prstGeom prst="rect">
            <a:avLst/>
          </a:prstGeom>
        </p:spPr>
      </p:pic>
      <p:pic>
        <p:nvPicPr>
          <p:cNvPr id="143" name="Image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8375" y="3413767"/>
            <a:ext cx="306323" cy="403859"/>
          </a:xfrm>
          <a:prstGeom prst="rect">
            <a:avLst/>
          </a:prstGeom>
        </p:spPr>
      </p:pic>
      <p:sp>
        <p:nvSpPr>
          <p:cNvPr id="4" name="text 1"/>
          <p:cNvSpPr txBox="1"/>
          <p:nvPr/>
        </p:nvSpPr>
        <p:spPr>
          <a:xfrm>
            <a:off x="6802881" y="2547494"/>
            <a:ext cx="1321196" cy="72481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510" b="1" spc="10" dirty="0">
                <a:solidFill>
                  <a:srgbClr val="0E5393"/>
                </a:solidFill>
                <a:latin typeface="Arial"/>
                <a:cs typeface="Arial"/>
              </a:rPr>
              <a:t>Investigations</a:t>
            </a:r>
            <a:endParaRPr sz="1500">
              <a:solidFill>
                <a:prstClr val="black"/>
              </a:solidFill>
              <a:latin typeface="Arial"/>
              <a:cs typeface="Arial"/>
            </a:endParaRPr>
          </a:p>
          <a:p>
            <a:pPr marL="364236"/>
            <a:r>
              <a:rPr sz="1600" b="1" spc="10" dirty="0">
                <a:solidFill>
                  <a:srgbClr val="0E5393"/>
                </a:solidFill>
                <a:latin typeface="Arial"/>
                <a:cs typeface="Arial"/>
              </a:rPr>
              <a:t>from  DE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  <a:p>
            <a:pPr marL="161544"/>
            <a:r>
              <a:rPr sz="1600" b="1" spc="10" dirty="0">
                <a:solidFill>
                  <a:srgbClr val="0E5393"/>
                </a:solidFill>
                <a:latin typeface="Arial"/>
                <a:cs typeface="Arial"/>
              </a:rPr>
              <a:t>authorities:</a:t>
            </a:r>
            <a:endParaRPr sz="1600">
              <a:solidFill>
                <a:prstClr val="black"/>
              </a:solidFill>
              <a:latin typeface="Verdana"/>
              <a:cs typeface="Verdana"/>
            </a:endParaRPr>
          </a:p>
        </p:txBody>
      </p:sp>
      <p:sp>
        <p:nvSpPr>
          <p:cNvPr id="5" name="text 1"/>
          <p:cNvSpPr txBox="1"/>
          <p:nvPr/>
        </p:nvSpPr>
        <p:spPr>
          <a:xfrm>
            <a:off x="6640956" y="3259133"/>
            <a:ext cx="1916230" cy="39382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159" spc="10" dirty="0">
                <a:solidFill>
                  <a:srgbClr val="0E5393"/>
                </a:solidFill>
                <a:latin typeface="Verdana"/>
                <a:cs typeface="Verdana"/>
              </a:rPr>
              <a:t>suspicion  of  fraud  and</a:t>
            </a:r>
            <a:endParaRPr sz="1100">
              <a:solidFill>
                <a:prstClr val="black"/>
              </a:solidFill>
              <a:latin typeface="Verdana"/>
              <a:cs typeface="Verdana"/>
            </a:endParaRPr>
          </a:p>
          <a:p>
            <a:pPr marL="219836"/>
            <a:r>
              <a:rPr sz="1400" spc="10" dirty="0">
                <a:solidFill>
                  <a:srgbClr val="0E5393"/>
                </a:solidFill>
                <a:latin typeface="Verdana"/>
                <a:cs typeface="Verdana"/>
              </a:rPr>
              <a:t>public  health  risk</a:t>
            </a:r>
            <a:endParaRPr sz="1400">
              <a:solidFill>
                <a:prstClr val="black"/>
              </a:solidFill>
              <a:latin typeface="Verdana"/>
              <a:cs typeface="Verdana"/>
            </a:endParaRPr>
          </a:p>
        </p:txBody>
      </p:sp>
      <p:pic>
        <p:nvPicPr>
          <p:cNvPr id="144" name="Image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5029" y="4305348"/>
            <a:ext cx="954087" cy="661987"/>
          </a:xfrm>
          <a:prstGeom prst="rect">
            <a:avLst/>
          </a:prstGeom>
        </p:spPr>
      </p:pic>
      <p:pic>
        <p:nvPicPr>
          <p:cNvPr id="145" name="Image"/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1503" y="5276088"/>
            <a:ext cx="1824227" cy="597408"/>
          </a:xfrm>
          <a:prstGeom prst="rect">
            <a:avLst/>
          </a:prstGeom>
        </p:spPr>
      </p:pic>
      <p:sp>
        <p:nvSpPr>
          <p:cNvPr id="848" name="object 848"/>
          <p:cNvSpPr/>
          <p:nvPr/>
        </p:nvSpPr>
        <p:spPr>
          <a:xfrm>
            <a:off x="3698875" y="5300726"/>
            <a:ext cx="1728851" cy="501586"/>
          </a:xfrm>
          <a:custGeom>
            <a:avLst/>
            <a:gdLst/>
            <a:ahLst/>
            <a:cxnLst/>
            <a:rect l="l" t="t" r="r" b="b"/>
            <a:pathLst>
              <a:path w="1728851" h="501586">
                <a:moveTo>
                  <a:pt x="0" y="250825"/>
                </a:moveTo>
                <a:lnTo>
                  <a:pt x="250825" y="0"/>
                </a:lnTo>
                <a:lnTo>
                  <a:pt x="250825" y="125349"/>
                </a:lnTo>
                <a:lnTo>
                  <a:pt x="1478026" y="125349"/>
                </a:lnTo>
                <a:lnTo>
                  <a:pt x="1478026" y="0"/>
                </a:lnTo>
                <a:lnTo>
                  <a:pt x="1728851" y="250825"/>
                </a:lnTo>
                <a:lnTo>
                  <a:pt x="1478026" y="501586"/>
                </a:lnTo>
                <a:lnTo>
                  <a:pt x="1478026" y="376174"/>
                </a:lnTo>
                <a:lnTo>
                  <a:pt x="250825" y="376174"/>
                </a:lnTo>
                <a:lnTo>
                  <a:pt x="250825" y="501586"/>
                </a:lnTo>
                <a:close/>
              </a:path>
            </a:pathLst>
          </a:custGeom>
          <a:solidFill>
            <a:srgbClr val="123076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49" name="object 849"/>
          <p:cNvSpPr/>
          <p:nvPr/>
        </p:nvSpPr>
        <p:spPr>
          <a:xfrm>
            <a:off x="3694129" y="5546900"/>
            <a:ext cx="9525" cy="9525"/>
          </a:xfrm>
          <a:custGeom>
            <a:avLst/>
            <a:gdLst/>
            <a:ahLst/>
            <a:cxnLst/>
            <a:rect l="l" t="t" r="r" b="b"/>
            <a:pathLst>
              <a:path w="9525" h="9525">
                <a:moveTo>
                  <a:pt x="4763" y="4763"/>
                </a:move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50" name="object 850"/>
          <p:cNvSpPr/>
          <p:nvPr/>
        </p:nvSpPr>
        <p:spPr>
          <a:xfrm>
            <a:off x="3694112" y="5295963"/>
            <a:ext cx="260350" cy="260350"/>
          </a:xfrm>
          <a:custGeom>
            <a:avLst/>
            <a:gdLst/>
            <a:ahLst/>
            <a:cxnLst/>
            <a:rect l="l" t="t" r="r" b="b"/>
            <a:pathLst>
              <a:path w="260350" h="260350">
                <a:moveTo>
                  <a:pt x="4763" y="255588"/>
                </a:moveTo>
                <a:lnTo>
                  <a:pt x="255588" y="4763"/>
                </a:ln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51" name="object 851"/>
          <p:cNvSpPr/>
          <p:nvPr/>
        </p:nvSpPr>
        <p:spPr>
          <a:xfrm>
            <a:off x="3944943" y="5295963"/>
            <a:ext cx="1236726" cy="134874"/>
          </a:xfrm>
          <a:custGeom>
            <a:avLst/>
            <a:gdLst/>
            <a:ahLst/>
            <a:cxnLst/>
            <a:rect l="l" t="t" r="r" b="b"/>
            <a:pathLst>
              <a:path w="1236726" h="134874">
                <a:moveTo>
                  <a:pt x="4763" y="4763"/>
                </a:moveTo>
                <a:lnTo>
                  <a:pt x="4763" y="130112"/>
                </a:lnTo>
                <a:lnTo>
                  <a:pt x="1231964" y="130112"/>
                </a:lnTo>
                <a:lnTo>
                  <a:pt x="1231964" y="4763"/>
                </a:ln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52" name="object 852"/>
          <p:cNvSpPr/>
          <p:nvPr/>
        </p:nvSpPr>
        <p:spPr>
          <a:xfrm>
            <a:off x="5172138" y="5296075"/>
            <a:ext cx="260350" cy="511111"/>
          </a:xfrm>
          <a:custGeom>
            <a:avLst/>
            <a:gdLst/>
            <a:ahLst/>
            <a:cxnLst/>
            <a:rect l="l" t="t" r="r" b="b"/>
            <a:pathLst>
              <a:path w="260350" h="511111">
                <a:moveTo>
                  <a:pt x="4763" y="4763"/>
                </a:moveTo>
                <a:lnTo>
                  <a:pt x="255588" y="255588"/>
                </a:lnTo>
                <a:lnTo>
                  <a:pt x="4763" y="506349"/>
                </a:ln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53" name="object 853"/>
          <p:cNvSpPr/>
          <p:nvPr/>
        </p:nvSpPr>
        <p:spPr>
          <a:xfrm>
            <a:off x="3944943" y="5672249"/>
            <a:ext cx="1236726" cy="134937"/>
          </a:xfrm>
          <a:custGeom>
            <a:avLst/>
            <a:gdLst/>
            <a:ahLst/>
            <a:cxnLst/>
            <a:rect l="l" t="t" r="r" b="b"/>
            <a:pathLst>
              <a:path w="1236726" h="134937">
                <a:moveTo>
                  <a:pt x="1231964" y="130175"/>
                </a:moveTo>
                <a:lnTo>
                  <a:pt x="1231964" y="4763"/>
                </a:lnTo>
                <a:lnTo>
                  <a:pt x="4763" y="4763"/>
                </a:lnTo>
                <a:lnTo>
                  <a:pt x="4763" y="130175"/>
                </a:ln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54" name="object 854"/>
          <p:cNvSpPr/>
          <p:nvPr/>
        </p:nvSpPr>
        <p:spPr>
          <a:xfrm>
            <a:off x="3694112" y="5546788"/>
            <a:ext cx="260350" cy="260286"/>
          </a:xfrm>
          <a:custGeom>
            <a:avLst/>
            <a:gdLst/>
            <a:ahLst/>
            <a:cxnLst/>
            <a:rect l="l" t="t" r="r" b="b"/>
            <a:pathLst>
              <a:path w="260350" h="260286">
                <a:moveTo>
                  <a:pt x="255588" y="255524"/>
                </a:moveTo>
                <a:moveTo>
                  <a:pt x="4763" y="4763"/>
                </a:move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55" name="object 855"/>
          <p:cNvSpPr/>
          <p:nvPr/>
        </p:nvSpPr>
        <p:spPr>
          <a:xfrm>
            <a:off x="1690751" y="5122974"/>
            <a:ext cx="1919224" cy="923925"/>
          </a:xfrm>
          <a:custGeom>
            <a:avLst/>
            <a:gdLst/>
            <a:ahLst/>
            <a:cxnLst/>
            <a:rect l="l" t="t" r="r" b="b"/>
            <a:pathLst>
              <a:path w="1919224" h="923925">
                <a:moveTo>
                  <a:pt x="0" y="0"/>
                </a:moveTo>
                <a:lnTo>
                  <a:pt x="0" y="923925"/>
                </a:lnTo>
                <a:lnTo>
                  <a:pt x="1919224" y="923925"/>
                </a:lnTo>
                <a:lnTo>
                  <a:pt x="1919224" y="0"/>
                </a:lnTo>
                <a:lnTo>
                  <a:pt x="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56" name="object 856"/>
          <p:cNvSpPr/>
          <p:nvPr/>
        </p:nvSpPr>
        <p:spPr>
          <a:xfrm>
            <a:off x="1678051" y="5110274"/>
            <a:ext cx="1944624" cy="949325"/>
          </a:xfrm>
          <a:custGeom>
            <a:avLst/>
            <a:gdLst/>
            <a:ahLst/>
            <a:cxnLst/>
            <a:rect l="l" t="t" r="r" b="b"/>
            <a:pathLst>
              <a:path w="1944624" h="949325">
                <a:moveTo>
                  <a:pt x="12700" y="12700"/>
                </a:moveTo>
                <a:lnTo>
                  <a:pt x="12700" y="936625"/>
                </a:lnTo>
                <a:lnTo>
                  <a:pt x="1931924" y="936625"/>
                </a:lnTo>
                <a:lnTo>
                  <a:pt x="1931924" y="12700"/>
                </a:lnTo>
                <a:lnTo>
                  <a:pt x="12700" y="12700"/>
                </a:lnTo>
                <a:close/>
              </a:path>
            </a:pathLst>
          </a:custGeom>
          <a:ln w="254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" name="text 1"/>
          <p:cNvSpPr txBox="1"/>
          <p:nvPr/>
        </p:nvSpPr>
        <p:spPr>
          <a:xfrm>
            <a:off x="2130552" y="5210003"/>
            <a:ext cx="1004121" cy="55399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3600" b="1" spc="10" dirty="0">
                <a:solidFill>
                  <a:srgbClr val="0E5393"/>
                </a:solidFill>
                <a:latin typeface="Arial"/>
                <a:cs typeface="Arial"/>
              </a:rPr>
              <a:t>AAC</a:t>
            </a:r>
            <a:endParaRPr sz="36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" name="text 1"/>
          <p:cNvSpPr txBox="1"/>
          <p:nvPr/>
        </p:nvSpPr>
        <p:spPr>
          <a:xfrm>
            <a:off x="1821234" y="5728073"/>
            <a:ext cx="1488869" cy="2769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900" b="1" spc="10" dirty="0">
                <a:solidFill>
                  <a:srgbClr val="0E5393"/>
                </a:solidFill>
                <a:latin typeface="Arial"/>
                <a:cs typeface="Arial"/>
              </a:rPr>
              <a:t>Administrative  assistance</a:t>
            </a:r>
            <a:endParaRPr sz="900">
              <a:solidFill>
                <a:prstClr val="black"/>
              </a:solidFill>
              <a:latin typeface="Arial"/>
              <a:cs typeface="Arial"/>
            </a:endParaRPr>
          </a:p>
          <a:p>
            <a:pPr marL="60960"/>
            <a:r>
              <a:rPr sz="900" b="1" spc="10" dirty="0">
                <a:solidFill>
                  <a:srgbClr val="0E5393"/>
                </a:solidFill>
                <a:latin typeface="Arial"/>
                <a:cs typeface="Arial"/>
              </a:rPr>
              <a:t>and  cooperation  system</a:t>
            </a:r>
            <a:endParaRPr sz="900"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146" name="Image"/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7856" y="1606490"/>
            <a:ext cx="2333625" cy="814387"/>
          </a:xfrm>
          <a:prstGeom prst="rect">
            <a:avLst/>
          </a:prstGeom>
        </p:spPr>
      </p:pic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7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48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"/>
            <a:ext cx="9144000" cy="1103249"/>
          </a:xfrm>
          <a:prstGeom prst="rect">
            <a:avLst/>
          </a:prstGeom>
        </p:spPr>
      </p:pic>
      <p:pic>
        <p:nvPicPr>
          <p:cNvPr id="149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1757" y="6401004"/>
            <a:ext cx="678215" cy="457097"/>
          </a:xfrm>
          <a:prstGeom prst="rect">
            <a:avLst/>
          </a:prstGeom>
        </p:spPr>
      </p:pic>
      <p:pic>
        <p:nvPicPr>
          <p:cNvPr id="150" name="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300" y="335211"/>
            <a:ext cx="1537740" cy="1077300"/>
          </a:xfrm>
          <a:prstGeom prst="rect">
            <a:avLst/>
          </a:prstGeom>
        </p:spPr>
      </p:pic>
      <p:pic>
        <p:nvPicPr>
          <p:cNvPr id="151" name="Image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343" y="5937362"/>
            <a:ext cx="630237" cy="630237"/>
          </a:xfrm>
          <a:prstGeom prst="rect">
            <a:avLst/>
          </a:prstGeom>
        </p:spPr>
      </p:pic>
      <p:pic>
        <p:nvPicPr>
          <p:cNvPr id="152" name="Image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40499"/>
            <a:ext cx="1619313" cy="1212849"/>
          </a:xfrm>
          <a:prstGeom prst="rect">
            <a:avLst/>
          </a:prstGeom>
        </p:spPr>
      </p:pic>
      <p:sp>
        <p:nvSpPr>
          <p:cNvPr id="2" name="text 1"/>
          <p:cNvSpPr txBox="1"/>
          <p:nvPr/>
        </p:nvSpPr>
        <p:spPr>
          <a:xfrm>
            <a:off x="2493899" y="1637328"/>
            <a:ext cx="2650084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2400" b="1" spc="10" dirty="0">
                <a:solidFill>
                  <a:srgbClr val="0E5393"/>
                </a:solidFill>
                <a:latin typeface="Arial"/>
                <a:cs typeface="Arial"/>
              </a:rPr>
              <a:t>ECONOMIC  GAIN</a:t>
            </a:r>
            <a:endParaRPr sz="2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57" name="object 857"/>
          <p:cNvSpPr/>
          <p:nvPr/>
        </p:nvSpPr>
        <p:spPr>
          <a:xfrm>
            <a:off x="2493391" y="1943227"/>
            <a:ext cx="2892552" cy="15240"/>
          </a:xfrm>
          <a:custGeom>
            <a:avLst/>
            <a:gdLst/>
            <a:ahLst/>
            <a:cxnLst/>
            <a:rect l="l" t="t" r="r" b="b"/>
            <a:pathLst>
              <a:path w="2892552" h="15240">
                <a:moveTo>
                  <a:pt x="0" y="0"/>
                </a:moveTo>
                <a:lnTo>
                  <a:pt x="723138" y="0"/>
                </a:lnTo>
                <a:lnTo>
                  <a:pt x="1446276" y="0"/>
                </a:lnTo>
                <a:lnTo>
                  <a:pt x="2169414" y="0"/>
                </a:lnTo>
                <a:lnTo>
                  <a:pt x="2892552" y="0"/>
                </a:lnTo>
                <a:lnTo>
                  <a:pt x="2892552" y="15240"/>
                </a:lnTo>
                <a:lnTo>
                  <a:pt x="2169414" y="15240"/>
                </a:lnTo>
                <a:lnTo>
                  <a:pt x="1446276" y="15240"/>
                </a:lnTo>
                <a:lnTo>
                  <a:pt x="723138" y="15240"/>
                </a:lnTo>
                <a:lnTo>
                  <a:pt x="0" y="15240"/>
                </a:lnTo>
                <a:close/>
              </a:path>
            </a:pathLst>
          </a:custGeom>
          <a:solidFill>
            <a:srgbClr val="0E5393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pic>
        <p:nvPicPr>
          <p:cNvPr id="153" name="Image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32032" y="2532111"/>
            <a:ext cx="879475" cy="600075"/>
          </a:xfrm>
          <a:prstGeom prst="rect">
            <a:avLst/>
          </a:prstGeom>
        </p:spPr>
      </p:pic>
      <p:pic>
        <p:nvPicPr>
          <p:cNvPr id="154" name="Image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8887" y="3132081"/>
            <a:ext cx="952500" cy="631825"/>
          </a:xfrm>
          <a:prstGeom prst="rect">
            <a:avLst/>
          </a:prstGeom>
        </p:spPr>
      </p:pic>
      <p:sp>
        <p:nvSpPr>
          <p:cNvPr id="3" name="text 1"/>
          <p:cNvSpPr txBox="1"/>
          <p:nvPr/>
        </p:nvSpPr>
        <p:spPr>
          <a:xfrm>
            <a:off x="2300025" y="2699804"/>
            <a:ext cx="1189813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600" spc="10" dirty="0">
                <a:solidFill>
                  <a:srgbClr val="0E5393"/>
                </a:solidFill>
                <a:latin typeface="Verdana"/>
                <a:cs typeface="Verdana"/>
              </a:rPr>
              <a:t>3.600$/Ton</a:t>
            </a:r>
            <a:endParaRPr sz="1600">
              <a:solidFill>
                <a:prstClr val="black"/>
              </a:solidFill>
              <a:latin typeface="Verdana"/>
              <a:cs typeface="Verdana"/>
            </a:endParaRPr>
          </a:p>
        </p:txBody>
      </p:sp>
      <p:sp>
        <p:nvSpPr>
          <p:cNvPr id="4" name="text 1"/>
          <p:cNvSpPr txBox="1"/>
          <p:nvPr/>
        </p:nvSpPr>
        <p:spPr>
          <a:xfrm>
            <a:off x="2298501" y="3427911"/>
            <a:ext cx="1189813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600" spc="10" dirty="0">
                <a:solidFill>
                  <a:srgbClr val="0E5393"/>
                </a:solidFill>
                <a:latin typeface="Verdana"/>
                <a:cs typeface="Verdana"/>
              </a:rPr>
              <a:t>1.600$/Ton</a:t>
            </a:r>
            <a:endParaRPr sz="1600">
              <a:solidFill>
                <a:prstClr val="black"/>
              </a:solidFill>
              <a:latin typeface="Verdana"/>
              <a:cs typeface="Verdana"/>
            </a:endParaRPr>
          </a:p>
        </p:txBody>
      </p:sp>
      <p:pic>
        <p:nvPicPr>
          <p:cNvPr id="155" name="Image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2212" y="2924556"/>
            <a:ext cx="676656" cy="288036"/>
          </a:xfrm>
          <a:prstGeom prst="rect">
            <a:avLst/>
          </a:prstGeom>
        </p:spPr>
      </p:pic>
      <p:sp>
        <p:nvSpPr>
          <p:cNvPr id="858" name="object 858"/>
          <p:cNvSpPr/>
          <p:nvPr/>
        </p:nvSpPr>
        <p:spPr>
          <a:xfrm>
            <a:off x="4029328" y="2949179"/>
            <a:ext cx="582168" cy="193167"/>
          </a:xfrm>
          <a:custGeom>
            <a:avLst/>
            <a:gdLst/>
            <a:ahLst/>
            <a:cxnLst/>
            <a:rect l="l" t="t" r="r" b="b"/>
            <a:pathLst>
              <a:path w="582168" h="193167">
                <a:moveTo>
                  <a:pt x="0" y="0"/>
                </a:moveTo>
                <a:lnTo>
                  <a:pt x="582169" y="0"/>
                </a:lnTo>
                <a:lnTo>
                  <a:pt x="582169" y="77216"/>
                </a:lnTo>
                <a:lnTo>
                  <a:pt x="0" y="77216"/>
                </a:lnTo>
                <a:close/>
                <a:moveTo>
                  <a:pt x="0" y="115823"/>
                </a:moveTo>
                <a:lnTo>
                  <a:pt x="582169" y="115823"/>
                </a:lnTo>
                <a:lnTo>
                  <a:pt x="582169" y="193167"/>
                </a:lnTo>
                <a:lnTo>
                  <a:pt x="0" y="193167"/>
                </a:lnTo>
                <a:close/>
              </a:path>
            </a:pathLst>
          </a:custGeom>
          <a:solidFill>
            <a:srgbClr val="123076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59" name="object 859"/>
          <p:cNvSpPr/>
          <p:nvPr/>
        </p:nvSpPr>
        <p:spPr>
          <a:xfrm>
            <a:off x="4024622" y="2944304"/>
            <a:ext cx="591693" cy="202692"/>
          </a:xfrm>
          <a:custGeom>
            <a:avLst/>
            <a:gdLst/>
            <a:ahLst/>
            <a:cxnLst/>
            <a:rect l="l" t="t" r="r" b="b"/>
            <a:pathLst>
              <a:path w="591693" h="202692">
                <a:moveTo>
                  <a:pt x="4762" y="4763"/>
                </a:moveTo>
                <a:lnTo>
                  <a:pt x="586931" y="4763"/>
                </a:lnTo>
                <a:lnTo>
                  <a:pt x="586931" y="81979"/>
                </a:lnTo>
                <a:lnTo>
                  <a:pt x="4762" y="81979"/>
                </a:lnTo>
                <a:close/>
                <a:moveTo>
                  <a:pt x="4762" y="120586"/>
                </a:moveTo>
                <a:lnTo>
                  <a:pt x="586931" y="120586"/>
                </a:lnTo>
                <a:lnTo>
                  <a:pt x="586931" y="197930"/>
                </a:lnTo>
                <a:lnTo>
                  <a:pt x="4762" y="197930"/>
                </a:lnTo>
                <a:close/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" name="text 1"/>
          <p:cNvSpPr txBox="1"/>
          <p:nvPr/>
        </p:nvSpPr>
        <p:spPr>
          <a:xfrm>
            <a:off x="2006219" y="2205890"/>
            <a:ext cx="1537280" cy="2769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pc="10" dirty="0">
                <a:solidFill>
                  <a:srgbClr val="0E5393"/>
                </a:solidFill>
                <a:latin typeface="Verdana"/>
                <a:cs typeface="Verdana"/>
              </a:rPr>
              <a:t>Market  price</a:t>
            </a:r>
            <a:endParaRPr>
              <a:solidFill>
                <a:prstClr val="black"/>
              </a:solidFill>
              <a:latin typeface="Verdana"/>
              <a:cs typeface="Verdana"/>
            </a:endParaRPr>
          </a:p>
        </p:txBody>
      </p:sp>
      <p:sp>
        <p:nvSpPr>
          <p:cNvPr id="6" name="text 1"/>
          <p:cNvSpPr txBox="1"/>
          <p:nvPr/>
        </p:nvSpPr>
        <p:spPr>
          <a:xfrm>
            <a:off x="810165" y="1635831"/>
            <a:ext cx="286617" cy="61555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4000" b="1" spc="10" dirty="0">
                <a:solidFill>
                  <a:srgbClr val="0E5393"/>
                </a:solidFill>
                <a:latin typeface="Arial"/>
                <a:cs typeface="Arial"/>
              </a:rPr>
              <a:t>1</a:t>
            </a:r>
            <a:endParaRPr sz="4000"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156" name="Image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052" y="1408176"/>
            <a:ext cx="1150620" cy="1065276"/>
          </a:xfrm>
          <a:prstGeom prst="rect">
            <a:avLst/>
          </a:prstGeom>
        </p:spPr>
      </p:pic>
      <p:sp>
        <p:nvSpPr>
          <p:cNvPr id="860" name="object 860"/>
          <p:cNvSpPr/>
          <p:nvPr/>
        </p:nvSpPr>
        <p:spPr>
          <a:xfrm>
            <a:off x="463553" y="1431925"/>
            <a:ext cx="1055751" cy="971550"/>
          </a:xfrm>
          <a:custGeom>
            <a:avLst/>
            <a:gdLst/>
            <a:ahLst/>
            <a:cxnLst/>
            <a:rect l="l" t="t" r="r" b="b"/>
            <a:pathLst>
              <a:path w="1055751" h="971550">
                <a:moveTo>
                  <a:pt x="0" y="485775"/>
                </a:moveTo>
                <a:cubicBezTo>
                  <a:pt x="0" y="217551"/>
                  <a:pt x="236321" y="0"/>
                  <a:pt x="527850" y="0"/>
                </a:cubicBezTo>
                <a:cubicBezTo>
                  <a:pt x="819404" y="0"/>
                  <a:pt x="1055751" y="217551"/>
                  <a:pt x="1055751" y="485775"/>
                </a:cubicBezTo>
                <a:cubicBezTo>
                  <a:pt x="1055751" y="753999"/>
                  <a:pt x="819404" y="971550"/>
                  <a:pt x="527850" y="971550"/>
                </a:cubicBezTo>
                <a:cubicBezTo>
                  <a:pt x="236321" y="971550"/>
                  <a:pt x="0" y="753999"/>
                  <a:pt x="0" y="485775"/>
                </a:cubicBezTo>
                <a:close/>
                <a:moveTo>
                  <a:pt x="44043" y="485775"/>
                </a:moveTo>
                <a:cubicBezTo>
                  <a:pt x="44043" y="729742"/>
                  <a:pt x="260654" y="927481"/>
                  <a:pt x="527850" y="927481"/>
                </a:cubicBezTo>
                <a:cubicBezTo>
                  <a:pt x="795032" y="927481"/>
                  <a:pt x="1011682" y="729742"/>
                  <a:pt x="1011682" y="485775"/>
                </a:cubicBezTo>
                <a:cubicBezTo>
                  <a:pt x="1011682" y="241808"/>
                  <a:pt x="795032" y="44069"/>
                  <a:pt x="527850" y="44069"/>
                </a:cubicBezTo>
                <a:cubicBezTo>
                  <a:pt x="260654" y="44069"/>
                  <a:pt x="44043" y="241808"/>
                  <a:pt x="44043" y="485775"/>
                </a:cubicBezTo>
                <a:close/>
              </a:path>
            </a:pathLst>
          </a:custGeom>
          <a:solidFill>
            <a:srgbClr val="123076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61" name="object 861"/>
          <p:cNvSpPr/>
          <p:nvPr/>
        </p:nvSpPr>
        <p:spPr>
          <a:xfrm>
            <a:off x="458843" y="1912938"/>
            <a:ext cx="9525" cy="9525"/>
          </a:xfrm>
          <a:custGeom>
            <a:avLst/>
            <a:gdLst/>
            <a:ahLst/>
            <a:cxnLst/>
            <a:rect l="l" t="t" r="r" b="b"/>
            <a:pathLst>
              <a:path w="9525" h="9525">
                <a:moveTo>
                  <a:pt x="4763" y="4763"/>
                </a:move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62" name="object 862"/>
          <p:cNvSpPr/>
          <p:nvPr/>
        </p:nvSpPr>
        <p:spPr>
          <a:xfrm>
            <a:off x="458787" y="1427163"/>
            <a:ext cx="1065276" cy="981075"/>
          </a:xfrm>
          <a:custGeom>
            <a:avLst/>
            <a:gdLst/>
            <a:ahLst/>
            <a:cxnLst/>
            <a:rect l="l" t="t" r="r" b="b"/>
            <a:pathLst>
              <a:path w="1065276" h="981075">
                <a:moveTo>
                  <a:pt x="4763" y="490538"/>
                </a:moveTo>
                <a:cubicBezTo>
                  <a:pt x="4763" y="222314"/>
                  <a:pt x="241084" y="4763"/>
                  <a:pt x="532613" y="4763"/>
                </a:cubicBezTo>
                <a:cubicBezTo>
                  <a:pt x="824167" y="4763"/>
                  <a:pt x="1060514" y="222314"/>
                  <a:pt x="1060514" y="490538"/>
                </a:cubicBezTo>
                <a:cubicBezTo>
                  <a:pt x="1060514" y="758762"/>
                  <a:pt x="824167" y="976313"/>
                  <a:pt x="532613" y="976313"/>
                </a:cubicBezTo>
                <a:cubicBezTo>
                  <a:pt x="241084" y="976313"/>
                  <a:pt x="4763" y="758762"/>
                  <a:pt x="4763" y="490538"/>
                </a:cubicBez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63" name="object 863"/>
          <p:cNvSpPr/>
          <p:nvPr/>
        </p:nvSpPr>
        <p:spPr>
          <a:xfrm>
            <a:off x="458787" y="1912938"/>
            <a:ext cx="53568" cy="9525"/>
          </a:xfrm>
          <a:custGeom>
            <a:avLst/>
            <a:gdLst/>
            <a:ahLst/>
            <a:cxnLst/>
            <a:rect l="l" t="t" r="r" b="b"/>
            <a:pathLst>
              <a:path w="53568" h="9525">
                <a:moveTo>
                  <a:pt x="4763" y="4763"/>
                </a:moveTo>
                <a:moveTo>
                  <a:pt x="4763" y="4763"/>
                </a:moveTo>
                <a:moveTo>
                  <a:pt x="48806" y="4763"/>
                </a:move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64" name="object 864"/>
          <p:cNvSpPr/>
          <p:nvPr/>
        </p:nvSpPr>
        <p:spPr>
          <a:xfrm>
            <a:off x="502887" y="1471232"/>
            <a:ext cx="977163" cy="892937"/>
          </a:xfrm>
          <a:custGeom>
            <a:avLst/>
            <a:gdLst/>
            <a:ahLst/>
            <a:cxnLst/>
            <a:rect l="l" t="t" r="r" b="b"/>
            <a:pathLst>
              <a:path w="977163" h="892937">
                <a:moveTo>
                  <a:pt x="4762" y="446469"/>
                </a:moveTo>
                <a:cubicBezTo>
                  <a:pt x="4762" y="690436"/>
                  <a:pt x="221373" y="888175"/>
                  <a:pt x="488569" y="888175"/>
                </a:cubicBezTo>
                <a:cubicBezTo>
                  <a:pt x="755751" y="888175"/>
                  <a:pt x="972401" y="690436"/>
                  <a:pt x="972401" y="446469"/>
                </a:cubicBezTo>
                <a:cubicBezTo>
                  <a:pt x="972401" y="202502"/>
                  <a:pt x="755751" y="4763"/>
                  <a:pt x="488569" y="4763"/>
                </a:cubicBezTo>
                <a:cubicBezTo>
                  <a:pt x="221373" y="4763"/>
                  <a:pt x="4762" y="202502"/>
                  <a:pt x="4762" y="446469"/>
                </a:cubicBez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65" name="object 865"/>
          <p:cNvSpPr/>
          <p:nvPr/>
        </p:nvSpPr>
        <p:spPr>
          <a:xfrm>
            <a:off x="458787" y="1912938"/>
            <a:ext cx="53568" cy="9525"/>
          </a:xfrm>
          <a:custGeom>
            <a:avLst/>
            <a:gdLst/>
            <a:ahLst/>
            <a:cxnLst/>
            <a:rect l="l" t="t" r="r" b="b"/>
            <a:pathLst>
              <a:path w="53568" h="9525">
                <a:moveTo>
                  <a:pt x="48806" y="4763"/>
                </a:moveTo>
                <a:moveTo>
                  <a:pt x="4763" y="4763"/>
                </a:move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pic>
        <p:nvPicPr>
          <p:cNvPr id="157" name="Image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33772" y="2130552"/>
            <a:ext cx="1956816" cy="1751076"/>
          </a:xfrm>
          <a:prstGeom prst="rect">
            <a:avLst/>
          </a:prstGeom>
        </p:spPr>
      </p:pic>
      <p:pic>
        <p:nvPicPr>
          <p:cNvPr id="158" name="Image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1328" y="2619756"/>
            <a:ext cx="1522476" cy="839724"/>
          </a:xfrm>
          <a:prstGeom prst="rect">
            <a:avLst/>
          </a:prstGeom>
        </p:spPr>
      </p:pic>
      <p:sp>
        <p:nvSpPr>
          <p:cNvPr id="866" name="object 866"/>
          <p:cNvSpPr/>
          <p:nvPr/>
        </p:nvSpPr>
        <p:spPr>
          <a:xfrm>
            <a:off x="5076827" y="2149587"/>
            <a:ext cx="1871726" cy="1666875"/>
          </a:xfrm>
          <a:custGeom>
            <a:avLst/>
            <a:gdLst/>
            <a:ahLst/>
            <a:cxnLst/>
            <a:rect l="l" t="t" r="r" b="b"/>
            <a:pathLst>
              <a:path w="1871726" h="1666875">
                <a:moveTo>
                  <a:pt x="0" y="833374"/>
                </a:moveTo>
                <a:cubicBezTo>
                  <a:pt x="0" y="373126"/>
                  <a:pt x="418973" y="0"/>
                  <a:pt x="935863" y="0"/>
                </a:cubicBezTo>
                <a:cubicBezTo>
                  <a:pt x="1452626" y="0"/>
                  <a:pt x="1871726" y="373126"/>
                  <a:pt x="1871726" y="833374"/>
                </a:cubicBezTo>
                <a:cubicBezTo>
                  <a:pt x="1871726" y="1293749"/>
                  <a:pt x="1452626" y="1666875"/>
                  <a:pt x="935863" y="1666875"/>
                </a:cubicBezTo>
                <a:cubicBezTo>
                  <a:pt x="418973" y="1666875"/>
                  <a:pt x="0" y="1293749"/>
                  <a:pt x="0" y="833374"/>
                </a:cubicBezTo>
                <a:close/>
              </a:path>
            </a:pathLst>
          </a:custGeom>
          <a:solidFill>
            <a:srgbClr val="C00000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" name="text 1"/>
          <p:cNvSpPr txBox="1"/>
          <p:nvPr/>
        </p:nvSpPr>
        <p:spPr>
          <a:xfrm>
            <a:off x="5472685" y="2706667"/>
            <a:ext cx="1107547" cy="55399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278891"/>
            <a:r>
              <a:rPr spc="10" dirty="0">
                <a:solidFill>
                  <a:srgbClr val="FFFFFF"/>
                </a:solidFill>
                <a:latin typeface="Verdana"/>
                <a:cs typeface="Verdana"/>
              </a:rPr>
              <a:t>Gain</a:t>
            </a:r>
            <a:endParaRPr>
              <a:solidFill>
                <a:prstClr val="black"/>
              </a:solidFill>
              <a:latin typeface="Verdana"/>
              <a:cs typeface="Verdana"/>
            </a:endParaRPr>
          </a:p>
          <a:p>
            <a:r>
              <a:rPr spc="10" dirty="0">
                <a:solidFill>
                  <a:srgbClr val="FFFFFF"/>
                </a:solidFill>
                <a:latin typeface="Verdana"/>
                <a:cs typeface="Verdana"/>
              </a:rPr>
              <a:t>400$/Ton</a:t>
            </a:r>
            <a:endParaRPr>
              <a:solidFill>
                <a:prstClr val="black"/>
              </a:solidFill>
              <a:latin typeface="Verdana"/>
              <a:cs typeface="Verdana"/>
            </a:endParaRPr>
          </a:p>
        </p:txBody>
      </p:sp>
      <p:sp>
        <p:nvSpPr>
          <p:cNvPr id="8" name="text 1"/>
          <p:cNvSpPr txBox="1"/>
          <p:nvPr/>
        </p:nvSpPr>
        <p:spPr>
          <a:xfrm>
            <a:off x="2520959" y="4034834"/>
            <a:ext cx="2787943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2400" b="1" spc="10" dirty="0">
                <a:solidFill>
                  <a:srgbClr val="0E5393"/>
                </a:solidFill>
                <a:latin typeface="Arial"/>
                <a:cs typeface="Arial"/>
              </a:rPr>
              <a:t>EU  COMPETENCE</a:t>
            </a:r>
            <a:endParaRPr sz="2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67" name="object 867"/>
          <p:cNvSpPr/>
          <p:nvPr/>
        </p:nvSpPr>
        <p:spPr>
          <a:xfrm>
            <a:off x="2520444" y="4340352"/>
            <a:ext cx="2866644" cy="15240"/>
          </a:xfrm>
          <a:custGeom>
            <a:avLst/>
            <a:gdLst/>
            <a:ahLst/>
            <a:cxnLst/>
            <a:rect l="l" t="t" r="r" b="b"/>
            <a:pathLst>
              <a:path w="2866644" h="15240">
                <a:moveTo>
                  <a:pt x="0" y="0"/>
                </a:moveTo>
                <a:lnTo>
                  <a:pt x="716661" y="0"/>
                </a:lnTo>
                <a:lnTo>
                  <a:pt x="1433322" y="0"/>
                </a:lnTo>
                <a:lnTo>
                  <a:pt x="2149983" y="0"/>
                </a:lnTo>
                <a:lnTo>
                  <a:pt x="2866644" y="0"/>
                </a:lnTo>
                <a:lnTo>
                  <a:pt x="2866644" y="15240"/>
                </a:lnTo>
                <a:lnTo>
                  <a:pt x="2149983" y="15240"/>
                </a:lnTo>
                <a:lnTo>
                  <a:pt x="1433322" y="15240"/>
                </a:lnTo>
                <a:lnTo>
                  <a:pt x="716661" y="15240"/>
                </a:lnTo>
                <a:lnTo>
                  <a:pt x="0" y="15240"/>
                </a:lnTo>
                <a:close/>
              </a:path>
            </a:pathLst>
          </a:custGeom>
          <a:solidFill>
            <a:srgbClr val="0E5393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9" name="text 1"/>
          <p:cNvSpPr txBox="1"/>
          <p:nvPr/>
        </p:nvSpPr>
        <p:spPr>
          <a:xfrm>
            <a:off x="1000665" y="4052621"/>
            <a:ext cx="286617" cy="61555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4000" b="1" spc="10" dirty="0">
                <a:solidFill>
                  <a:srgbClr val="0E5393"/>
                </a:solidFill>
                <a:latin typeface="Arial"/>
                <a:cs typeface="Arial"/>
              </a:rPr>
              <a:t>2</a:t>
            </a:r>
            <a:endParaRPr sz="4000"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159" name="Image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552" y="3791712"/>
            <a:ext cx="1150620" cy="1066800"/>
          </a:xfrm>
          <a:prstGeom prst="rect">
            <a:avLst/>
          </a:prstGeom>
        </p:spPr>
      </p:pic>
      <p:sp>
        <p:nvSpPr>
          <p:cNvPr id="868" name="object 868"/>
          <p:cNvSpPr/>
          <p:nvPr/>
        </p:nvSpPr>
        <p:spPr>
          <a:xfrm>
            <a:off x="654053" y="3816350"/>
            <a:ext cx="1055751" cy="971550"/>
          </a:xfrm>
          <a:custGeom>
            <a:avLst/>
            <a:gdLst/>
            <a:ahLst/>
            <a:cxnLst/>
            <a:rect l="l" t="t" r="r" b="b"/>
            <a:pathLst>
              <a:path w="1055751" h="971550">
                <a:moveTo>
                  <a:pt x="0" y="485775"/>
                </a:moveTo>
                <a:cubicBezTo>
                  <a:pt x="0" y="217551"/>
                  <a:pt x="236321" y="0"/>
                  <a:pt x="527850" y="0"/>
                </a:cubicBezTo>
                <a:cubicBezTo>
                  <a:pt x="819404" y="0"/>
                  <a:pt x="1055751" y="217551"/>
                  <a:pt x="1055751" y="485775"/>
                </a:cubicBezTo>
                <a:cubicBezTo>
                  <a:pt x="1055751" y="753999"/>
                  <a:pt x="819404" y="971550"/>
                  <a:pt x="527850" y="971550"/>
                </a:cubicBezTo>
                <a:cubicBezTo>
                  <a:pt x="236321" y="971550"/>
                  <a:pt x="0" y="753999"/>
                  <a:pt x="0" y="485775"/>
                </a:cubicBezTo>
                <a:close/>
                <a:moveTo>
                  <a:pt x="44043" y="485775"/>
                </a:moveTo>
                <a:cubicBezTo>
                  <a:pt x="44043" y="729742"/>
                  <a:pt x="260654" y="927481"/>
                  <a:pt x="527850" y="927481"/>
                </a:cubicBezTo>
                <a:cubicBezTo>
                  <a:pt x="795020" y="927481"/>
                  <a:pt x="1011682" y="729742"/>
                  <a:pt x="1011682" y="485775"/>
                </a:cubicBezTo>
                <a:cubicBezTo>
                  <a:pt x="1011682" y="241808"/>
                  <a:pt x="795020" y="44069"/>
                  <a:pt x="527850" y="44069"/>
                </a:cubicBezTo>
                <a:cubicBezTo>
                  <a:pt x="260654" y="44069"/>
                  <a:pt x="44043" y="241808"/>
                  <a:pt x="44043" y="485775"/>
                </a:cubicBezTo>
                <a:close/>
              </a:path>
            </a:pathLst>
          </a:custGeom>
          <a:solidFill>
            <a:srgbClr val="123076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69" name="object 869"/>
          <p:cNvSpPr/>
          <p:nvPr/>
        </p:nvSpPr>
        <p:spPr>
          <a:xfrm>
            <a:off x="649343" y="4297474"/>
            <a:ext cx="9525" cy="9525"/>
          </a:xfrm>
          <a:custGeom>
            <a:avLst/>
            <a:gdLst/>
            <a:ahLst/>
            <a:cxnLst/>
            <a:rect l="l" t="t" r="r" b="b"/>
            <a:pathLst>
              <a:path w="9525" h="9525">
                <a:moveTo>
                  <a:pt x="4763" y="4763"/>
                </a:move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70" name="object 870"/>
          <p:cNvSpPr/>
          <p:nvPr/>
        </p:nvSpPr>
        <p:spPr>
          <a:xfrm>
            <a:off x="649287" y="3811699"/>
            <a:ext cx="1065276" cy="981075"/>
          </a:xfrm>
          <a:custGeom>
            <a:avLst/>
            <a:gdLst/>
            <a:ahLst/>
            <a:cxnLst/>
            <a:rect l="l" t="t" r="r" b="b"/>
            <a:pathLst>
              <a:path w="1065276" h="981075">
                <a:moveTo>
                  <a:pt x="4763" y="490538"/>
                </a:moveTo>
                <a:cubicBezTo>
                  <a:pt x="4763" y="222314"/>
                  <a:pt x="241084" y="4763"/>
                  <a:pt x="532613" y="4763"/>
                </a:cubicBezTo>
                <a:cubicBezTo>
                  <a:pt x="824167" y="4763"/>
                  <a:pt x="1060514" y="222314"/>
                  <a:pt x="1060514" y="490538"/>
                </a:cubicBezTo>
                <a:cubicBezTo>
                  <a:pt x="1060514" y="758762"/>
                  <a:pt x="824167" y="976313"/>
                  <a:pt x="532613" y="976313"/>
                </a:cubicBezTo>
                <a:cubicBezTo>
                  <a:pt x="241084" y="976313"/>
                  <a:pt x="4763" y="758762"/>
                  <a:pt x="4763" y="490538"/>
                </a:cubicBez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71" name="object 871"/>
          <p:cNvSpPr/>
          <p:nvPr/>
        </p:nvSpPr>
        <p:spPr>
          <a:xfrm>
            <a:off x="649287" y="4297474"/>
            <a:ext cx="53568" cy="9525"/>
          </a:xfrm>
          <a:custGeom>
            <a:avLst/>
            <a:gdLst/>
            <a:ahLst/>
            <a:cxnLst/>
            <a:rect l="l" t="t" r="r" b="b"/>
            <a:pathLst>
              <a:path w="53568" h="9525">
                <a:moveTo>
                  <a:pt x="4763" y="4763"/>
                </a:moveTo>
                <a:moveTo>
                  <a:pt x="4763" y="4763"/>
                </a:moveTo>
                <a:moveTo>
                  <a:pt x="48806" y="4763"/>
                </a:move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72" name="object 872"/>
          <p:cNvSpPr/>
          <p:nvPr/>
        </p:nvSpPr>
        <p:spPr>
          <a:xfrm>
            <a:off x="693387" y="3855768"/>
            <a:ext cx="977163" cy="892937"/>
          </a:xfrm>
          <a:custGeom>
            <a:avLst/>
            <a:gdLst/>
            <a:ahLst/>
            <a:cxnLst/>
            <a:rect l="l" t="t" r="r" b="b"/>
            <a:pathLst>
              <a:path w="977163" h="892937">
                <a:moveTo>
                  <a:pt x="4762" y="446469"/>
                </a:moveTo>
                <a:cubicBezTo>
                  <a:pt x="4762" y="690436"/>
                  <a:pt x="221373" y="888175"/>
                  <a:pt x="488569" y="888175"/>
                </a:cubicBezTo>
                <a:cubicBezTo>
                  <a:pt x="755739" y="888175"/>
                  <a:pt x="972401" y="690436"/>
                  <a:pt x="972401" y="446469"/>
                </a:cubicBezTo>
                <a:cubicBezTo>
                  <a:pt x="972401" y="202502"/>
                  <a:pt x="755739" y="4763"/>
                  <a:pt x="488569" y="4763"/>
                </a:cubicBezTo>
                <a:cubicBezTo>
                  <a:pt x="221373" y="4763"/>
                  <a:pt x="4762" y="202502"/>
                  <a:pt x="4762" y="446469"/>
                </a:cubicBez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73" name="object 873"/>
          <p:cNvSpPr/>
          <p:nvPr/>
        </p:nvSpPr>
        <p:spPr>
          <a:xfrm>
            <a:off x="649287" y="4297474"/>
            <a:ext cx="53568" cy="9525"/>
          </a:xfrm>
          <a:custGeom>
            <a:avLst/>
            <a:gdLst/>
            <a:ahLst/>
            <a:cxnLst/>
            <a:rect l="l" t="t" r="r" b="b"/>
            <a:pathLst>
              <a:path w="53568" h="9525">
                <a:moveTo>
                  <a:pt x="48806" y="4763"/>
                </a:moveTo>
                <a:moveTo>
                  <a:pt x="4763" y="4763"/>
                </a:move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pic>
        <p:nvPicPr>
          <p:cNvPr id="160" name="Image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4080" y="4561332"/>
            <a:ext cx="6050280" cy="877824"/>
          </a:xfrm>
          <a:prstGeom prst="rect">
            <a:avLst/>
          </a:prstGeom>
        </p:spPr>
      </p:pic>
      <p:pic>
        <p:nvPicPr>
          <p:cNvPr id="161" name="Image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0232" y="4527804"/>
            <a:ext cx="5919215" cy="1002792"/>
          </a:xfrm>
          <a:prstGeom prst="rect">
            <a:avLst/>
          </a:prstGeom>
        </p:spPr>
      </p:pic>
      <p:pic>
        <p:nvPicPr>
          <p:cNvPr id="162" name="Image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6655" y="4581525"/>
            <a:ext cx="5965825" cy="792226"/>
          </a:xfrm>
          <a:prstGeom prst="rect">
            <a:avLst/>
          </a:prstGeom>
        </p:spPr>
      </p:pic>
      <p:sp>
        <p:nvSpPr>
          <p:cNvPr id="10" name="text 1"/>
          <p:cNvSpPr txBox="1"/>
          <p:nvPr/>
        </p:nvSpPr>
        <p:spPr>
          <a:xfrm>
            <a:off x="2337236" y="4610229"/>
            <a:ext cx="5639685" cy="73866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600" spc="10" dirty="0">
                <a:solidFill>
                  <a:srgbClr val="FFFFFF"/>
                </a:solidFill>
                <a:latin typeface="Verdana"/>
                <a:cs typeface="Verdana"/>
              </a:rPr>
              <a:t>1.  Two  RASFF  Notification  (</a:t>
            </a:r>
            <a:r>
              <a:rPr sz="1600" b="1" spc="10" dirty="0">
                <a:solidFill>
                  <a:srgbClr val="FFFFFF"/>
                </a:solidFill>
                <a:latin typeface="Arial"/>
                <a:cs typeface="Arial"/>
              </a:rPr>
              <a:t>Public  Health</a:t>
            </a:r>
            <a:r>
              <a:rPr sz="1600" spc="10" dirty="0">
                <a:solidFill>
                  <a:srgbClr val="FFFFFF"/>
                </a:solidFill>
                <a:latin typeface="Verdana"/>
                <a:cs typeface="Verdana"/>
              </a:rPr>
              <a:t>) </a:t>
            </a:r>
            <a:endParaRPr sz="1600">
              <a:solidFill>
                <a:prstClr val="black"/>
              </a:solidFill>
              <a:latin typeface="Verdana"/>
              <a:cs typeface="Verdana"/>
            </a:endParaRPr>
          </a:p>
          <a:p>
            <a:r>
              <a:rPr sz="1600" spc="10" dirty="0">
                <a:solidFill>
                  <a:srgbClr val="FFFFFF"/>
                </a:solidFill>
                <a:latin typeface="Verdana"/>
                <a:cs typeface="Verdana"/>
              </a:rPr>
              <a:t>     concerning two different Georgian establishments </a:t>
            </a:r>
            <a:endParaRPr sz="1600">
              <a:solidFill>
                <a:prstClr val="black"/>
              </a:solidFill>
              <a:latin typeface="Verdana"/>
              <a:cs typeface="Verdana"/>
            </a:endParaRPr>
          </a:p>
          <a:p>
            <a:r>
              <a:rPr sz="1600" spc="10" dirty="0">
                <a:solidFill>
                  <a:srgbClr val="FFFFFF"/>
                </a:solidFill>
                <a:latin typeface="Verdana"/>
                <a:cs typeface="Verdana"/>
              </a:rPr>
              <a:t>     (22% and 15% substitution)</a:t>
            </a:r>
            <a:endParaRPr sz="1600">
              <a:solidFill>
                <a:prstClr val="black"/>
              </a:solidFill>
              <a:latin typeface="Verdana"/>
              <a:cs typeface="Verdana"/>
            </a:endParaRPr>
          </a:p>
        </p:txBody>
      </p:sp>
      <p:pic>
        <p:nvPicPr>
          <p:cNvPr id="163" name="Image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8659" y="5492496"/>
            <a:ext cx="6051803" cy="877824"/>
          </a:xfrm>
          <a:prstGeom prst="rect">
            <a:avLst/>
          </a:prstGeom>
        </p:spPr>
      </p:pic>
      <p:pic>
        <p:nvPicPr>
          <p:cNvPr id="164" name="Image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1032" y="5561076"/>
            <a:ext cx="5932932" cy="794004"/>
          </a:xfrm>
          <a:prstGeom prst="rect">
            <a:avLst/>
          </a:prstGeom>
        </p:spPr>
      </p:pic>
      <p:pic>
        <p:nvPicPr>
          <p:cNvPr id="165" name="Image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1507" y="5511800"/>
            <a:ext cx="5965825" cy="792162"/>
          </a:xfrm>
          <a:prstGeom prst="rect">
            <a:avLst/>
          </a:prstGeom>
        </p:spPr>
      </p:pic>
      <p:sp>
        <p:nvSpPr>
          <p:cNvPr id="11" name="text 1"/>
          <p:cNvSpPr txBox="1"/>
          <p:nvPr/>
        </p:nvSpPr>
        <p:spPr>
          <a:xfrm>
            <a:off x="2341753" y="5647325"/>
            <a:ext cx="5619552" cy="2585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680" spc="10" dirty="0">
                <a:solidFill>
                  <a:srgbClr val="FFFFFF"/>
                </a:solidFill>
                <a:latin typeface="Verdana"/>
                <a:cs typeface="Verdana"/>
              </a:rPr>
              <a:t>2.  Imports  from  Georgia/Several  MS  Concerned</a:t>
            </a:r>
            <a:endParaRPr sz="1600">
              <a:solidFill>
                <a:prstClr val="black"/>
              </a:solidFill>
              <a:latin typeface="Verdana"/>
              <a:cs typeface="Verdana"/>
            </a:endParaRPr>
          </a:p>
        </p:txBody>
      </p:sp>
      <p:sp>
        <p:nvSpPr>
          <p:cNvPr id="12" name="text 1"/>
          <p:cNvSpPr txBox="1"/>
          <p:nvPr/>
        </p:nvSpPr>
        <p:spPr>
          <a:xfrm>
            <a:off x="2341753" y="5922200"/>
            <a:ext cx="4854662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600" spc="10" dirty="0">
                <a:solidFill>
                  <a:srgbClr val="FFFFFF"/>
                </a:solidFill>
                <a:latin typeface="Verdana"/>
                <a:cs typeface="Verdana"/>
              </a:rPr>
              <a:t>(art. 40 of Reg. 882/2004 on Official Controls)</a:t>
            </a:r>
            <a:endParaRPr sz="1600">
              <a:solidFill>
                <a:prstClr val="black"/>
              </a:solidFill>
              <a:latin typeface="Verdana"/>
              <a:cs typeface="Verdana"/>
            </a:endParaRPr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6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67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"/>
            <a:ext cx="9144000" cy="1103249"/>
          </a:xfrm>
          <a:prstGeom prst="rect">
            <a:avLst/>
          </a:prstGeom>
        </p:spPr>
      </p:pic>
      <p:pic>
        <p:nvPicPr>
          <p:cNvPr id="168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1757" y="6401004"/>
            <a:ext cx="678215" cy="457097"/>
          </a:xfrm>
          <a:prstGeom prst="rect">
            <a:avLst/>
          </a:prstGeom>
        </p:spPr>
      </p:pic>
      <p:pic>
        <p:nvPicPr>
          <p:cNvPr id="169" name="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300" y="335211"/>
            <a:ext cx="1537740" cy="1077300"/>
          </a:xfrm>
          <a:prstGeom prst="rect">
            <a:avLst/>
          </a:prstGeom>
        </p:spPr>
      </p:pic>
      <p:pic>
        <p:nvPicPr>
          <p:cNvPr id="170" name="Image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343" y="5937362"/>
            <a:ext cx="630237" cy="630237"/>
          </a:xfrm>
          <a:prstGeom prst="rect">
            <a:avLst/>
          </a:prstGeom>
        </p:spPr>
      </p:pic>
      <p:pic>
        <p:nvPicPr>
          <p:cNvPr id="171" name="Image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40499"/>
            <a:ext cx="1619313" cy="1212849"/>
          </a:xfrm>
          <a:prstGeom prst="rect">
            <a:avLst/>
          </a:prstGeom>
        </p:spPr>
      </p:pic>
      <p:sp>
        <p:nvSpPr>
          <p:cNvPr id="2" name="text 1"/>
          <p:cNvSpPr txBox="1"/>
          <p:nvPr/>
        </p:nvSpPr>
        <p:spPr>
          <a:xfrm>
            <a:off x="2234819" y="1904028"/>
            <a:ext cx="5457328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2400" b="1" spc="10" dirty="0">
                <a:solidFill>
                  <a:srgbClr val="0E5393"/>
                </a:solidFill>
                <a:latin typeface="Arial"/>
                <a:cs typeface="Arial"/>
              </a:rPr>
              <a:t>CRITERIA  FOR  EU  COORDINATION</a:t>
            </a:r>
            <a:endParaRPr sz="2400"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172" name="Image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952" y="3122676"/>
            <a:ext cx="3665220" cy="667512"/>
          </a:xfrm>
          <a:prstGeom prst="rect">
            <a:avLst/>
          </a:prstGeom>
        </p:spPr>
      </p:pic>
      <p:pic>
        <p:nvPicPr>
          <p:cNvPr id="173" name="Image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428" y="3230880"/>
            <a:ext cx="3204972" cy="512064"/>
          </a:xfrm>
          <a:prstGeom prst="rect">
            <a:avLst/>
          </a:prstGeom>
        </p:spPr>
      </p:pic>
      <p:sp>
        <p:nvSpPr>
          <p:cNvPr id="874" name="object 874"/>
          <p:cNvSpPr/>
          <p:nvPr/>
        </p:nvSpPr>
        <p:spPr>
          <a:xfrm>
            <a:off x="801687" y="3141733"/>
            <a:ext cx="3579812" cy="582549"/>
          </a:xfrm>
          <a:custGeom>
            <a:avLst/>
            <a:gdLst/>
            <a:ahLst/>
            <a:cxnLst/>
            <a:rect l="l" t="t" r="r" b="b"/>
            <a:pathLst>
              <a:path w="3579812" h="582549">
                <a:moveTo>
                  <a:pt x="0" y="97027"/>
                </a:moveTo>
                <a:cubicBezTo>
                  <a:pt x="0" y="43433"/>
                  <a:pt x="43472" y="0"/>
                  <a:pt x="97104" y="0"/>
                </a:cubicBezTo>
                <a:lnTo>
                  <a:pt x="3482658" y="0"/>
                </a:lnTo>
                <a:cubicBezTo>
                  <a:pt x="3536379" y="0"/>
                  <a:pt x="3579813" y="43433"/>
                  <a:pt x="3579813" y="97027"/>
                </a:cubicBezTo>
                <a:lnTo>
                  <a:pt x="3579813" y="485394"/>
                </a:lnTo>
                <a:cubicBezTo>
                  <a:pt x="3579813" y="539115"/>
                  <a:pt x="3536379" y="582549"/>
                  <a:pt x="3482658" y="582549"/>
                </a:cubicBezTo>
                <a:lnTo>
                  <a:pt x="97104" y="582549"/>
                </a:lnTo>
                <a:cubicBezTo>
                  <a:pt x="43472" y="582549"/>
                  <a:pt x="0" y="539115"/>
                  <a:pt x="0" y="485394"/>
                </a:cubicBezTo>
                <a:close/>
              </a:path>
            </a:pathLst>
          </a:custGeom>
          <a:solidFill>
            <a:srgbClr val="0E5393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" name="text 1"/>
          <p:cNvSpPr txBox="1"/>
          <p:nvPr/>
        </p:nvSpPr>
        <p:spPr>
          <a:xfrm>
            <a:off x="921713" y="3309297"/>
            <a:ext cx="2867516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600" spc="10" dirty="0">
                <a:solidFill>
                  <a:srgbClr val="FFFFFF"/>
                </a:solidFill>
                <a:latin typeface="Verdana"/>
                <a:cs typeface="Verdana"/>
              </a:rPr>
              <a:t>1. Violation of EU Food Law</a:t>
            </a:r>
            <a:endParaRPr sz="1600">
              <a:solidFill>
                <a:prstClr val="black"/>
              </a:solidFill>
              <a:latin typeface="Verdana"/>
              <a:cs typeface="Verdana"/>
            </a:endParaRPr>
          </a:p>
        </p:txBody>
      </p:sp>
      <p:pic>
        <p:nvPicPr>
          <p:cNvPr id="174" name="Image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644" y="3749040"/>
            <a:ext cx="3451860" cy="697991"/>
          </a:xfrm>
          <a:prstGeom prst="rect">
            <a:avLst/>
          </a:prstGeom>
        </p:spPr>
      </p:pic>
      <p:pic>
        <p:nvPicPr>
          <p:cNvPr id="175" name="Image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1644" y="3872486"/>
            <a:ext cx="1603248" cy="512063"/>
          </a:xfrm>
          <a:prstGeom prst="rect">
            <a:avLst/>
          </a:prstGeom>
        </p:spPr>
      </p:pic>
      <p:sp>
        <p:nvSpPr>
          <p:cNvPr id="875" name="object 875"/>
          <p:cNvSpPr/>
          <p:nvPr/>
        </p:nvSpPr>
        <p:spPr>
          <a:xfrm>
            <a:off x="1004943" y="3768731"/>
            <a:ext cx="3365563" cy="612775"/>
          </a:xfrm>
          <a:custGeom>
            <a:avLst/>
            <a:gdLst/>
            <a:ahLst/>
            <a:cxnLst/>
            <a:rect l="l" t="t" r="r" b="b"/>
            <a:pathLst>
              <a:path w="3365563" h="612775">
                <a:moveTo>
                  <a:pt x="0" y="102108"/>
                </a:moveTo>
                <a:cubicBezTo>
                  <a:pt x="0" y="45720"/>
                  <a:pt x="45720" y="0"/>
                  <a:pt x="102133" y="0"/>
                </a:cubicBezTo>
                <a:lnTo>
                  <a:pt x="3263329" y="0"/>
                </a:lnTo>
                <a:cubicBezTo>
                  <a:pt x="3319717" y="0"/>
                  <a:pt x="3365564" y="45720"/>
                  <a:pt x="3365564" y="102108"/>
                </a:cubicBezTo>
                <a:lnTo>
                  <a:pt x="3365564" y="510667"/>
                </a:lnTo>
                <a:cubicBezTo>
                  <a:pt x="3365564" y="567055"/>
                  <a:pt x="3319717" y="612775"/>
                  <a:pt x="3263329" y="612775"/>
                </a:cubicBezTo>
                <a:lnTo>
                  <a:pt x="102133" y="612775"/>
                </a:lnTo>
                <a:cubicBezTo>
                  <a:pt x="45720" y="612775"/>
                  <a:pt x="0" y="567055"/>
                  <a:pt x="0" y="510667"/>
                </a:cubicBezTo>
                <a:close/>
              </a:path>
            </a:pathLst>
          </a:custGeom>
          <a:solidFill>
            <a:srgbClr val="C00000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text 1"/>
          <p:cNvSpPr txBox="1"/>
          <p:nvPr/>
        </p:nvSpPr>
        <p:spPr>
          <a:xfrm>
            <a:off x="1126612" y="3951536"/>
            <a:ext cx="1232069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600" spc="10" dirty="0">
                <a:solidFill>
                  <a:srgbClr val="FFFFFF"/>
                </a:solidFill>
                <a:latin typeface="Verdana"/>
                <a:cs typeface="Verdana"/>
              </a:rPr>
              <a:t>2. Intention</a:t>
            </a:r>
            <a:endParaRPr sz="1600">
              <a:solidFill>
                <a:prstClr val="black"/>
              </a:solidFill>
              <a:latin typeface="Verdana"/>
              <a:cs typeface="Verdana"/>
            </a:endParaRPr>
          </a:p>
        </p:txBody>
      </p:sp>
      <p:pic>
        <p:nvPicPr>
          <p:cNvPr id="176" name="Image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5756" y="4459224"/>
            <a:ext cx="3326892" cy="630936"/>
          </a:xfrm>
          <a:prstGeom prst="rect">
            <a:avLst/>
          </a:prstGeom>
        </p:spPr>
      </p:pic>
      <p:pic>
        <p:nvPicPr>
          <p:cNvPr id="177" name="Image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184" y="4549140"/>
            <a:ext cx="2150364" cy="512064"/>
          </a:xfrm>
          <a:prstGeom prst="rect">
            <a:avLst/>
          </a:prstGeom>
        </p:spPr>
      </p:pic>
      <p:sp>
        <p:nvSpPr>
          <p:cNvPr id="876" name="object 876"/>
          <p:cNvSpPr/>
          <p:nvPr/>
        </p:nvSpPr>
        <p:spPr>
          <a:xfrm>
            <a:off x="1138237" y="4478401"/>
            <a:ext cx="3241738" cy="546100"/>
          </a:xfrm>
          <a:custGeom>
            <a:avLst/>
            <a:gdLst/>
            <a:ahLst/>
            <a:cxnLst/>
            <a:rect l="l" t="t" r="r" b="b"/>
            <a:pathLst>
              <a:path w="3241738" h="546100">
                <a:moveTo>
                  <a:pt x="0" y="90932"/>
                </a:moveTo>
                <a:cubicBezTo>
                  <a:pt x="0" y="40640"/>
                  <a:pt x="40754" y="0"/>
                  <a:pt x="91021" y="0"/>
                </a:cubicBezTo>
                <a:lnTo>
                  <a:pt x="3150680" y="0"/>
                </a:lnTo>
                <a:cubicBezTo>
                  <a:pt x="3200972" y="0"/>
                  <a:pt x="3241739" y="40640"/>
                  <a:pt x="3241739" y="90932"/>
                </a:cubicBezTo>
                <a:lnTo>
                  <a:pt x="3241739" y="455041"/>
                </a:lnTo>
                <a:cubicBezTo>
                  <a:pt x="3241739" y="505333"/>
                  <a:pt x="3200972" y="546100"/>
                  <a:pt x="3150680" y="546100"/>
                </a:cubicBezTo>
                <a:lnTo>
                  <a:pt x="91021" y="546100"/>
                </a:lnTo>
                <a:cubicBezTo>
                  <a:pt x="40754" y="546100"/>
                  <a:pt x="0" y="505333"/>
                  <a:pt x="0" y="455041"/>
                </a:cubicBez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5" name="text 1"/>
          <p:cNvSpPr txBox="1"/>
          <p:nvPr/>
        </p:nvSpPr>
        <p:spPr>
          <a:xfrm>
            <a:off x="1256700" y="4628045"/>
            <a:ext cx="1788631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600" spc="10" dirty="0">
                <a:solidFill>
                  <a:srgbClr val="FFFFFF"/>
                </a:solidFill>
                <a:latin typeface="Verdana"/>
                <a:cs typeface="Verdana"/>
              </a:rPr>
              <a:t>3. Economic gain</a:t>
            </a:r>
            <a:endParaRPr sz="1600">
              <a:solidFill>
                <a:prstClr val="black"/>
              </a:solidFill>
              <a:latin typeface="Verdana"/>
              <a:cs typeface="Verdana"/>
            </a:endParaRPr>
          </a:p>
        </p:txBody>
      </p:sp>
      <p:pic>
        <p:nvPicPr>
          <p:cNvPr id="178" name="Image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2832" y="5090160"/>
            <a:ext cx="3099816" cy="763524"/>
          </a:xfrm>
          <a:prstGeom prst="rect">
            <a:avLst/>
          </a:prstGeom>
        </p:spPr>
      </p:pic>
      <p:pic>
        <p:nvPicPr>
          <p:cNvPr id="179" name="Image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5880" y="5247132"/>
            <a:ext cx="3083052" cy="512064"/>
          </a:xfrm>
          <a:prstGeom prst="rect">
            <a:avLst/>
          </a:prstGeom>
        </p:spPr>
      </p:pic>
      <p:sp>
        <p:nvSpPr>
          <p:cNvPr id="877" name="object 877"/>
          <p:cNvSpPr/>
          <p:nvPr/>
        </p:nvSpPr>
        <p:spPr>
          <a:xfrm>
            <a:off x="1365251" y="5110099"/>
            <a:ext cx="3014726" cy="677926"/>
          </a:xfrm>
          <a:custGeom>
            <a:avLst/>
            <a:gdLst/>
            <a:ahLst/>
            <a:cxnLst/>
            <a:rect l="l" t="t" r="r" b="b"/>
            <a:pathLst>
              <a:path w="3014726" h="677926">
                <a:moveTo>
                  <a:pt x="0" y="113030"/>
                </a:moveTo>
                <a:cubicBezTo>
                  <a:pt x="0" y="50673"/>
                  <a:pt x="50546" y="0"/>
                  <a:pt x="113030" y="0"/>
                </a:cubicBezTo>
                <a:lnTo>
                  <a:pt x="2901696" y="0"/>
                </a:lnTo>
                <a:cubicBezTo>
                  <a:pt x="2964053" y="0"/>
                  <a:pt x="3014726" y="50673"/>
                  <a:pt x="3014726" y="113030"/>
                </a:cubicBezTo>
                <a:lnTo>
                  <a:pt x="3014726" y="564947"/>
                </a:lnTo>
                <a:cubicBezTo>
                  <a:pt x="3014726" y="627342"/>
                  <a:pt x="2964053" y="677926"/>
                  <a:pt x="2901696" y="677926"/>
                </a:cubicBezTo>
                <a:lnTo>
                  <a:pt x="113030" y="677926"/>
                </a:lnTo>
                <a:cubicBezTo>
                  <a:pt x="50546" y="677926"/>
                  <a:pt x="0" y="627342"/>
                  <a:pt x="0" y="564947"/>
                </a:cubicBezTo>
                <a:close/>
              </a:path>
            </a:pathLst>
          </a:custGeom>
          <a:solidFill>
            <a:srgbClr val="ED7C31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6" name="text 1"/>
          <p:cNvSpPr txBox="1"/>
          <p:nvPr/>
        </p:nvSpPr>
        <p:spPr>
          <a:xfrm>
            <a:off x="1490285" y="5326037"/>
            <a:ext cx="2747547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600" spc="10" dirty="0">
                <a:solidFill>
                  <a:srgbClr val="FFFFFF"/>
                </a:solidFill>
                <a:latin typeface="Verdana"/>
                <a:cs typeface="Verdana"/>
              </a:rPr>
              <a:t>4. Deception of customers</a:t>
            </a:r>
            <a:endParaRPr sz="1600">
              <a:solidFill>
                <a:prstClr val="black"/>
              </a:solidFill>
              <a:latin typeface="Verdana"/>
              <a:cs typeface="Verdana"/>
            </a:endParaRPr>
          </a:p>
        </p:txBody>
      </p:sp>
      <p:pic>
        <p:nvPicPr>
          <p:cNvPr id="180" name="Image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9036" y="3122676"/>
            <a:ext cx="4023360" cy="667512"/>
          </a:xfrm>
          <a:prstGeom prst="rect">
            <a:avLst/>
          </a:prstGeom>
        </p:spPr>
      </p:pic>
      <p:pic>
        <p:nvPicPr>
          <p:cNvPr id="181" name="Image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75988" y="3108966"/>
            <a:ext cx="3479292" cy="755903"/>
          </a:xfrm>
          <a:prstGeom prst="rect">
            <a:avLst/>
          </a:prstGeom>
        </p:spPr>
      </p:pic>
      <p:sp>
        <p:nvSpPr>
          <p:cNvPr id="878" name="object 878"/>
          <p:cNvSpPr/>
          <p:nvPr/>
        </p:nvSpPr>
        <p:spPr>
          <a:xfrm>
            <a:off x="4521200" y="3141733"/>
            <a:ext cx="3938651" cy="582549"/>
          </a:xfrm>
          <a:custGeom>
            <a:avLst/>
            <a:gdLst/>
            <a:ahLst/>
            <a:cxnLst/>
            <a:rect l="l" t="t" r="r" b="b"/>
            <a:pathLst>
              <a:path w="3938651" h="582549">
                <a:moveTo>
                  <a:pt x="3938651" y="97027"/>
                </a:moveTo>
                <a:cubicBezTo>
                  <a:pt x="3938651" y="43433"/>
                  <a:pt x="3895090" y="0"/>
                  <a:pt x="3841496" y="0"/>
                </a:cubicBezTo>
                <a:lnTo>
                  <a:pt x="97155" y="0"/>
                </a:lnTo>
                <a:cubicBezTo>
                  <a:pt x="43434" y="0"/>
                  <a:pt x="0" y="43433"/>
                  <a:pt x="0" y="97027"/>
                </a:cubicBezTo>
                <a:lnTo>
                  <a:pt x="0" y="485394"/>
                </a:lnTo>
                <a:cubicBezTo>
                  <a:pt x="0" y="539115"/>
                  <a:pt x="43434" y="582549"/>
                  <a:pt x="97155" y="582549"/>
                </a:cubicBezTo>
                <a:lnTo>
                  <a:pt x="3841496" y="582549"/>
                </a:lnTo>
                <a:cubicBezTo>
                  <a:pt x="3895090" y="582549"/>
                  <a:pt x="3938651" y="539115"/>
                  <a:pt x="3938651" y="485394"/>
                </a:cubicBezTo>
                <a:close/>
              </a:path>
            </a:pathLst>
          </a:custGeom>
          <a:solidFill>
            <a:srgbClr val="0E5393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7" name="text 1"/>
          <p:cNvSpPr txBox="1"/>
          <p:nvPr/>
        </p:nvSpPr>
        <p:spPr>
          <a:xfrm>
            <a:off x="4641850" y="3187377"/>
            <a:ext cx="3144130" cy="49244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600" spc="10" dirty="0">
                <a:solidFill>
                  <a:srgbClr val="FFFFFF"/>
                </a:solidFill>
                <a:latin typeface="Verdana"/>
                <a:cs typeface="Verdana"/>
              </a:rPr>
              <a:t>Undeclared peanuts in ground</a:t>
            </a:r>
            <a:endParaRPr sz="1600">
              <a:solidFill>
                <a:prstClr val="black"/>
              </a:solidFill>
              <a:latin typeface="Verdana"/>
              <a:cs typeface="Verdana"/>
            </a:endParaRPr>
          </a:p>
          <a:p>
            <a:r>
              <a:rPr sz="1600" spc="10" dirty="0">
                <a:solidFill>
                  <a:srgbClr val="FFFFFF"/>
                </a:solidFill>
                <a:latin typeface="Verdana"/>
                <a:cs typeface="Verdana"/>
              </a:rPr>
              <a:t>roasted hazelnuts</a:t>
            </a:r>
            <a:endParaRPr sz="1600">
              <a:solidFill>
                <a:prstClr val="black"/>
              </a:solidFill>
              <a:latin typeface="Verdana"/>
              <a:cs typeface="Verdana"/>
            </a:endParaRPr>
          </a:p>
        </p:txBody>
      </p:sp>
      <p:pic>
        <p:nvPicPr>
          <p:cNvPr id="182" name="Image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4944" y="3749040"/>
            <a:ext cx="3854196" cy="697991"/>
          </a:xfrm>
          <a:prstGeom prst="rect">
            <a:avLst/>
          </a:prstGeom>
        </p:spPr>
      </p:pic>
      <p:pic>
        <p:nvPicPr>
          <p:cNvPr id="183" name="Image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4944" y="3872486"/>
            <a:ext cx="3137916" cy="512063"/>
          </a:xfrm>
          <a:prstGeom prst="rect">
            <a:avLst/>
          </a:prstGeom>
        </p:spPr>
      </p:pic>
      <p:sp>
        <p:nvSpPr>
          <p:cNvPr id="879" name="object 879"/>
          <p:cNvSpPr/>
          <p:nvPr/>
        </p:nvSpPr>
        <p:spPr>
          <a:xfrm>
            <a:off x="4548307" y="3768731"/>
            <a:ext cx="3768725" cy="612775"/>
          </a:xfrm>
          <a:custGeom>
            <a:avLst/>
            <a:gdLst/>
            <a:ahLst/>
            <a:cxnLst/>
            <a:rect l="l" t="t" r="r" b="b"/>
            <a:pathLst>
              <a:path w="3768725" h="612775">
                <a:moveTo>
                  <a:pt x="3768725" y="102108"/>
                </a:moveTo>
                <a:cubicBezTo>
                  <a:pt x="3768725" y="45720"/>
                  <a:pt x="3722878" y="0"/>
                  <a:pt x="3666490" y="0"/>
                </a:cubicBezTo>
                <a:lnTo>
                  <a:pt x="102108" y="0"/>
                </a:lnTo>
                <a:cubicBezTo>
                  <a:pt x="45720" y="0"/>
                  <a:pt x="0" y="45720"/>
                  <a:pt x="0" y="102108"/>
                </a:cubicBezTo>
                <a:lnTo>
                  <a:pt x="0" y="510667"/>
                </a:lnTo>
                <a:cubicBezTo>
                  <a:pt x="0" y="567055"/>
                  <a:pt x="45720" y="612775"/>
                  <a:pt x="102108" y="612775"/>
                </a:cubicBezTo>
                <a:lnTo>
                  <a:pt x="3666490" y="612775"/>
                </a:lnTo>
                <a:cubicBezTo>
                  <a:pt x="3722878" y="612775"/>
                  <a:pt x="3768725" y="567055"/>
                  <a:pt x="3768725" y="510667"/>
                </a:cubicBezTo>
                <a:close/>
              </a:path>
            </a:pathLst>
          </a:custGeom>
          <a:solidFill>
            <a:srgbClr val="C00000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" name="text 1"/>
          <p:cNvSpPr txBox="1"/>
          <p:nvPr/>
        </p:nvSpPr>
        <p:spPr>
          <a:xfrm>
            <a:off x="4670492" y="3951536"/>
            <a:ext cx="2800767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600" spc="10" dirty="0">
                <a:solidFill>
                  <a:srgbClr val="FFFFFF"/>
                </a:solidFill>
                <a:latin typeface="Verdana"/>
                <a:cs typeface="Verdana"/>
              </a:rPr>
              <a:t>22% and 15% substitution</a:t>
            </a:r>
            <a:endParaRPr sz="1600">
              <a:solidFill>
                <a:prstClr val="black"/>
              </a:solidFill>
              <a:latin typeface="Verdana"/>
              <a:cs typeface="Verdana"/>
            </a:endParaRPr>
          </a:p>
        </p:txBody>
      </p:sp>
      <p:pic>
        <p:nvPicPr>
          <p:cNvPr id="184" name="Image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5800" y="4437888"/>
            <a:ext cx="3675888" cy="629412"/>
          </a:xfrm>
          <a:prstGeom prst="rect">
            <a:avLst/>
          </a:prstGeom>
        </p:spPr>
      </p:pic>
      <p:pic>
        <p:nvPicPr>
          <p:cNvPr id="185" name="Image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2752" y="4527804"/>
            <a:ext cx="1748028" cy="512064"/>
          </a:xfrm>
          <a:prstGeom prst="rect">
            <a:avLst/>
          </a:prstGeom>
        </p:spPr>
      </p:pic>
      <p:sp>
        <p:nvSpPr>
          <p:cNvPr id="880" name="object 880"/>
          <p:cNvSpPr/>
          <p:nvPr/>
        </p:nvSpPr>
        <p:spPr>
          <a:xfrm>
            <a:off x="4538782" y="4457812"/>
            <a:ext cx="3590925" cy="544449"/>
          </a:xfrm>
          <a:custGeom>
            <a:avLst/>
            <a:gdLst/>
            <a:ahLst/>
            <a:cxnLst/>
            <a:rect l="l" t="t" r="r" b="b"/>
            <a:pathLst>
              <a:path w="3590925" h="544449">
                <a:moveTo>
                  <a:pt x="3590925" y="90805"/>
                </a:moveTo>
                <a:cubicBezTo>
                  <a:pt x="3590925" y="40640"/>
                  <a:pt x="3550285" y="0"/>
                  <a:pt x="3500120" y="0"/>
                </a:cubicBezTo>
                <a:lnTo>
                  <a:pt x="90678" y="0"/>
                </a:lnTo>
                <a:cubicBezTo>
                  <a:pt x="40513" y="0"/>
                  <a:pt x="0" y="40640"/>
                  <a:pt x="0" y="90805"/>
                </a:cubicBezTo>
                <a:lnTo>
                  <a:pt x="0" y="453771"/>
                </a:lnTo>
                <a:cubicBezTo>
                  <a:pt x="0" y="503936"/>
                  <a:pt x="40513" y="544449"/>
                  <a:pt x="90678" y="544449"/>
                </a:cubicBezTo>
                <a:lnTo>
                  <a:pt x="3500120" y="544449"/>
                </a:lnTo>
                <a:cubicBezTo>
                  <a:pt x="3550285" y="544449"/>
                  <a:pt x="3590925" y="503936"/>
                  <a:pt x="3590925" y="453771"/>
                </a:cubicBezTo>
                <a:close/>
              </a:path>
            </a:pathLst>
          </a:custGeom>
          <a:solidFill>
            <a:srgbClr val="00AF50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9" name="text 1"/>
          <p:cNvSpPr txBox="1"/>
          <p:nvPr/>
        </p:nvSpPr>
        <p:spPr>
          <a:xfrm>
            <a:off x="4657344" y="4606709"/>
            <a:ext cx="1376724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600" spc="10" dirty="0">
                <a:solidFill>
                  <a:srgbClr val="FFFFFF"/>
                </a:solidFill>
                <a:latin typeface="Verdana"/>
                <a:cs typeface="Verdana"/>
              </a:rPr>
              <a:t>400$ per Ton</a:t>
            </a:r>
            <a:endParaRPr sz="1600">
              <a:solidFill>
                <a:prstClr val="black"/>
              </a:solidFill>
              <a:latin typeface="Verdana"/>
              <a:cs typeface="Verdana"/>
            </a:endParaRPr>
          </a:p>
        </p:txBody>
      </p:sp>
      <p:pic>
        <p:nvPicPr>
          <p:cNvPr id="186" name="Image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4088" y="5090160"/>
            <a:ext cx="3467100" cy="763524"/>
          </a:xfrm>
          <a:prstGeom prst="rect">
            <a:avLst/>
          </a:prstGeom>
        </p:spPr>
      </p:pic>
      <p:pic>
        <p:nvPicPr>
          <p:cNvPr id="187" name="Image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0852" y="5056632"/>
            <a:ext cx="2877312" cy="885444"/>
          </a:xfrm>
          <a:prstGeom prst="rect">
            <a:avLst/>
          </a:prstGeom>
        </p:spPr>
      </p:pic>
      <p:sp>
        <p:nvSpPr>
          <p:cNvPr id="881" name="object 881"/>
          <p:cNvSpPr/>
          <p:nvPr/>
        </p:nvSpPr>
        <p:spPr>
          <a:xfrm>
            <a:off x="4556125" y="5110099"/>
            <a:ext cx="3383026" cy="677926"/>
          </a:xfrm>
          <a:custGeom>
            <a:avLst/>
            <a:gdLst/>
            <a:ahLst/>
            <a:cxnLst/>
            <a:rect l="l" t="t" r="r" b="b"/>
            <a:pathLst>
              <a:path w="3383026" h="677926">
                <a:moveTo>
                  <a:pt x="3383026" y="113030"/>
                </a:moveTo>
                <a:cubicBezTo>
                  <a:pt x="3383026" y="50673"/>
                  <a:pt x="3332353" y="0"/>
                  <a:pt x="3269996" y="0"/>
                </a:cubicBezTo>
                <a:lnTo>
                  <a:pt x="113030" y="0"/>
                </a:lnTo>
                <a:cubicBezTo>
                  <a:pt x="50546" y="0"/>
                  <a:pt x="0" y="50673"/>
                  <a:pt x="0" y="113030"/>
                </a:cubicBezTo>
                <a:lnTo>
                  <a:pt x="0" y="564947"/>
                </a:lnTo>
                <a:cubicBezTo>
                  <a:pt x="0" y="627342"/>
                  <a:pt x="50546" y="677926"/>
                  <a:pt x="113030" y="677926"/>
                </a:cubicBezTo>
                <a:lnTo>
                  <a:pt x="3269996" y="677926"/>
                </a:lnTo>
                <a:cubicBezTo>
                  <a:pt x="3332353" y="677926"/>
                  <a:pt x="3383026" y="627342"/>
                  <a:pt x="3383026" y="564947"/>
                </a:cubicBezTo>
                <a:close/>
              </a:path>
            </a:pathLst>
          </a:custGeom>
          <a:solidFill>
            <a:srgbClr val="ED7C31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0" name="text 1"/>
          <p:cNvSpPr txBox="1"/>
          <p:nvPr/>
        </p:nvSpPr>
        <p:spPr>
          <a:xfrm>
            <a:off x="4681474" y="5128049"/>
            <a:ext cx="2656112" cy="41703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310" spc="10" dirty="0">
                <a:solidFill>
                  <a:srgbClr val="FFFFFF"/>
                </a:solidFill>
                <a:latin typeface="Verdana"/>
                <a:cs typeface="Verdana"/>
              </a:rPr>
              <a:t>Customer  wants  to  buy  only</a:t>
            </a:r>
            <a:endParaRPr sz="1300">
              <a:solidFill>
                <a:prstClr val="black"/>
              </a:solidFill>
              <a:latin typeface="Verdana"/>
              <a:cs typeface="Verdana"/>
            </a:endParaRPr>
          </a:p>
          <a:p>
            <a:r>
              <a:rPr sz="1400" spc="10" dirty="0">
                <a:solidFill>
                  <a:srgbClr val="FFFFFF"/>
                </a:solidFill>
                <a:latin typeface="Verdana"/>
                <a:cs typeface="Verdana"/>
              </a:rPr>
              <a:t>hazelnuts.  </a:t>
            </a:r>
            <a:r>
              <a:rPr sz="1400" b="1" spc="10" dirty="0">
                <a:solidFill>
                  <a:srgbClr val="FFFFFF"/>
                </a:solidFill>
                <a:latin typeface="Arial"/>
                <a:cs typeface="Arial"/>
              </a:rPr>
              <a:t>Unexpected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82" name="object 882"/>
          <p:cNvSpPr/>
          <p:nvPr/>
        </p:nvSpPr>
        <p:spPr>
          <a:xfrm>
            <a:off x="5662168" y="5537454"/>
            <a:ext cx="1181100" cy="9144"/>
          </a:xfrm>
          <a:custGeom>
            <a:avLst/>
            <a:gdLst/>
            <a:ahLst/>
            <a:cxnLst/>
            <a:rect l="l" t="t" r="r" b="b"/>
            <a:pathLst>
              <a:path w="1181100" h="9144">
                <a:moveTo>
                  <a:pt x="0" y="0"/>
                </a:moveTo>
                <a:lnTo>
                  <a:pt x="590550" y="0"/>
                </a:lnTo>
                <a:lnTo>
                  <a:pt x="1181100" y="0"/>
                </a:lnTo>
                <a:lnTo>
                  <a:pt x="1181100" y="9144"/>
                </a:lnTo>
                <a:lnTo>
                  <a:pt x="590550" y="9144"/>
                </a:lnTo>
                <a:lnTo>
                  <a:pt x="0" y="914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1" name="text 1"/>
          <p:cNvSpPr txBox="1"/>
          <p:nvPr/>
        </p:nvSpPr>
        <p:spPr>
          <a:xfrm>
            <a:off x="4681530" y="5572481"/>
            <a:ext cx="1814279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400" b="1" spc="10" dirty="0">
                <a:solidFill>
                  <a:srgbClr val="FFFFFF"/>
                </a:solidFill>
                <a:latin typeface="Arial"/>
                <a:cs typeface="Arial"/>
              </a:rPr>
              <a:t>allergenes  (peanuts)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883" name="object 883"/>
          <p:cNvSpPr/>
          <p:nvPr/>
        </p:nvSpPr>
        <p:spPr>
          <a:xfrm>
            <a:off x="4680712" y="5750839"/>
            <a:ext cx="1040892" cy="9144"/>
          </a:xfrm>
          <a:custGeom>
            <a:avLst/>
            <a:gdLst/>
            <a:ahLst/>
            <a:cxnLst/>
            <a:rect l="l" t="t" r="r" b="b"/>
            <a:pathLst>
              <a:path w="1040892" h="9144">
                <a:moveTo>
                  <a:pt x="0" y="0"/>
                </a:moveTo>
                <a:lnTo>
                  <a:pt x="520446" y="0"/>
                </a:lnTo>
                <a:lnTo>
                  <a:pt x="1040892" y="0"/>
                </a:lnTo>
                <a:lnTo>
                  <a:pt x="1040892" y="9144"/>
                </a:lnTo>
                <a:lnTo>
                  <a:pt x="520446" y="9144"/>
                </a:lnTo>
                <a:lnTo>
                  <a:pt x="0" y="9144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12" name="text 1"/>
          <p:cNvSpPr txBox="1"/>
          <p:nvPr/>
        </p:nvSpPr>
        <p:spPr>
          <a:xfrm>
            <a:off x="851916" y="1799514"/>
            <a:ext cx="286617" cy="61555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4000" b="1" spc="10" dirty="0">
                <a:solidFill>
                  <a:srgbClr val="0E5393"/>
                </a:solidFill>
                <a:latin typeface="Arial"/>
                <a:cs typeface="Arial"/>
              </a:rPr>
              <a:t>3</a:t>
            </a:r>
            <a:endParaRPr sz="4000"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188" name="Image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580" y="1551432"/>
            <a:ext cx="1150620" cy="1066800"/>
          </a:xfrm>
          <a:prstGeom prst="rect">
            <a:avLst/>
          </a:prstGeom>
        </p:spPr>
      </p:pic>
      <p:sp>
        <p:nvSpPr>
          <p:cNvPr id="884" name="object 884"/>
          <p:cNvSpPr/>
          <p:nvPr/>
        </p:nvSpPr>
        <p:spPr>
          <a:xfrm>
            <a:off x="496943" y="1576451"/>
            <a:ext cx="1055687" cy="971550"/>
          </a:xfrm>
          <a:custGeom>
            <a:avLst/>
            <a:gdLst/>
            <a:ahLst/>
            <a:cxnLst/>
            <a:rect l="l" t="t" r="r" b="b"/>
            <a:pathLst>
              <a:path w="1055687" h="971550">
                <a:moveTo>
                  <a:pt x="0" y="485775"/>
                </a:moveTo>
                <a:cubicBezTo>
                  <a:pt x="0" y="217424"/>
                  <a:pt x="236322" y="0"/>
                  <a:pt x="527850" y="0"/>
                </a:cubicBezTo>
                <a:cubicBezTo>
                  <a:pt x="819341" y="0"/>
                  <a:pt x="1055688" y="217424"/>
                  <a:pt x="1055688" y="485775"/>
                </a:cubicBezTo>
                <a:cubicBezTo>
                  <a:pt x="1055688" y="753999"/>
                  <a:pt x="819341" y="971550"/>
                  <a:pt x="527850" y="971550"/>
                </a:cubicBezTo>
                <a:cubicBezTo>
                  <a:pt x="236322" y="971550"/>
                  <a:pt x="0" y="753999"/>
                  <a:pt x="0" y="485775"/>
                </a:cubicBezTo>
                <a:close/>
                <a:moveTo>
                  <a:pt x="44056" y="485775"/>
                </a:moveTo>
                <a:cubicBezTo>
                  <a:pt x="44056" y="729615"/>
                  <a:pt x="260655" y="927481"/>
                  <a:pt x="527837" y="927481"/>
                </a:cubicBezTo>
                <a:cubicBezTo>
                  <a:pt x="795084" y="927481"/>
                  <a:pt x="1011619" y="729615"/>
                  <a:pt x="1011619" y="485775"/>
                </a:cubicBezTo>
                <a:cubicBezTo>
                  <a:pt x="1011619" y="241808"/>
                  <a:pt x="795084" y="43942"/>
                  <a:pt x="527837" y="43942"/>
                </a:cubicBezTo>
                <a:cubicBezTo>
                  <a:pt x="260655" y="43942"/>
                  <a:pt x="44056" y="241808"/>
                  <a:pt x="44056" y="485775"/>
                </a:cubicBezTo>
                <a:close/>
              </a:path>
            </a:pathLst>
          </a:custGeom>
          <a:solidFill>
            <a:srgbClr val="123076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85" name="object 885"/>
          <p:cNvSpPr/>
          <p:nvPr/>
        </p:nvSpPr>
        <p:spPr>
          <a:xfrm>
            <a:off x="492181" y="2057464"/>
            <a:ext cx="9525" cy="9525"/>
          </a:xfrm>
          <a:custGeom>
            <a:avLst/>
            <a:gdLst/>
            <a:ahLst/>
            <a:cxnLst/>
            <a:rect l="l" t="t" r="r" b="b"/>
            <a:pathLst>
              <a:path w="9525" h="9525">
                <a:moveTo>
                  <a:pt x="4762" y="4763"/>
                </a:move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86" name="object 886"/>
          <p:cNvSpPr/>
          <p:nvPr/>
        </p:nvSpPr>
        <p:spPr>
          <a:xfrm>
            <a:off x="492125" y="1571689"/>
            <a:ext cx="1065212" cy="981075"/>
          </a:xfrm>
          <a:custGeom>
            <a:avLst/>
            <a:gdLst/>
            <a:ahLst/>
            <a:cxnLst/>
            <a:rect l="l" t="t" r="r" b="b"/>
            <a:pathLst>
              <a:path w="1065212" h="981075">
                <a:moveTo>
                  <a:pt x="4762" y="490538"/>
                </a:moveTo>
                <a:cubicBezTo>
                  <a:pt x="4762" y="222187"/>
                  <a:pt x="241084" y="4763"/>
                  <a:pt x="532612" y="4763"/>
                </a:cubicBezTo>
                <a:cubicBezTo>
                  <a:pt x="824103" y="4763"/>
                  <a:pt x="1060450" y="222187"/>
                  <a:pt x="1060450" y="490538"/>
                </a:cubicBezTo>
                <a:cubicBezTo>
                  <a:pt x="1060450" y="758762"/>
                  <a:pt x="824103" y="976313"/>
                  <a:pt x="532612" y="976313"/>
                </a:cubicBezTo>
                <a:cubicBezTo>
                  <a:pt x="241084" y="976313"/>
                  <a:pt x="4762" y="758762"/>
                  <a:pt x="4762" y="490538"/>
                </a:cubicBez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87" name="object 887"/>
          <p:cNvSpPr/>
          <p:nvPr/>
        </p:nvSpPr>
        <p:spPr>
          <a:xfrm>
            <a:off x="492126" y="2057464"/>
            <a:ext cx="53581" cy="9525"/>
          </a:xfrm>
          <a:custGeom>
            <a:avLst/>
            <a:gdLst/>
            <a:ahLst/>
            <a:cxnLst/>
            <a:rect l="l" t="t" r="r" b="b"/>
            <a:pathLst>
              <a:path w="53581" h="9525">
                <a:moveTo>
                  <a:pt x="4762" y="4763"/>
                </a:moveTo>
                <a:moveTo>
                  <a:pt x="4762" y="4763"/>
                </a:moveTo>
                <a:moveTo>
                  <a:pt x="48818" y="4763"/>
                </a:move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88" name="object 888"/>
          <p:cNvSpPr/>
          <p:nvPr/>
        </p:nvSpPr>
        <p:spPr>
          <a:xfrm>
            <a:off x="536237" y="1615630"/>
            <a:ext cx="977087" cy="893064"/>
          </a:xfrm>
          <a:custGeom>
            <a:avLst/>
            <a:gdLst/>
            <a:ahLst/>
            <a:cxnLst/>
            <a:rect l="l" t="t" r="r" b="b"/>
            <a:pathLst>
              <a:path w="977087" h="893064">
                <a:moveTo>
                  <a:pt x="4762" y="446596"/>
                </a:moveTo>
                <a:cubicBezTo>
                  <a:pt x="4762" y="690436"/>
                  <a:pt x="221361" y="888302"/>
                  <a:pt x="488543" y="888302"/>
                </a:cubicBezTo>
                <a:cubicBezTo>
                  <a:pt x="755790" y="888302"/>
                  <a:pt x="972325" y="690436"/>
                  <a:pt x="972325" y="446596"/>
                </a:cubicBezTo>
                <a:cubicBezTo>
                  <a:pt x="972325" y="202629"/>
                  <a:pt x="755790" y="4763"/>
                  <a:pt x="488543" y="4763"/>
                </a:cubicBezTo>
                <a:cubicBezTo>
                  <a:pt x="221361" y="4763"/>
                  <a:pt x="4762" y="202629"/>
                  <a:pt x="4762" y="446596"/>
                </a:cubicBez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89" name="object 889"/>
          <p:cNvSpPr/>
          <p:nvPr/>
        </p:nvSpPr>
        <p:spPr>
          <a:xfrm>
            <a:off x="492126" y="2057464"/>
            <a:ext cx="53581" cy="9525"/>
          </a:xfrm>
          <a:custGeom>
            <a:avLst/>
            <a:gdLst/>
            <a:ahLst/>
            <a:cxnLst/>
            <a:rect l="l" t="t" r="r" b="b"/>
            <a:pathLst>
              <a:path w="53581" h="9525">
                <a:moveTo>
                  <a:pt x="48818" y="4763"/>
                </a:moveTo>
                <a:moveTo>
                  <a:pt x="4762" y="4763"/>
                </a:move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9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90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"/>
            <a:ext cx="9144000" cy="1103249"/>
          </a:xfrm>
          <a:prstGeom prst="rect">
            <a:avLst/>
          </a:prstGeom>
        </p:spPr>
      </p:pic>
      <p:pic>
        <p:nvPicPr>
          <p:cNvPr id="191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1757" y="6401004"/>
            <a:ext cx="678215" cy="457097"/>
          </a:xfrm>
          <a:prstGeom prst="rect">
            <a:avLst/>
          </a:prstGeom>
        </p:spPr>
      </p:pic>
      <p:pic>
        <p:nvPicPr>
          <p:cNvPr id="192" name="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300" y="335211"/>
            <a:ext cx="1537740" cy="1077300"/>
          </a:xfrm>
          <a:prstGeom prst="rect">
            <a:avLst/>
          </a:prstGeom>
        </p:spPr>
      </p:pic>
      <p:pic>
        <p:nvPicPr>
          <p:cNvPr id="193" name="Image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343" y="5937362"/>
            <a:ext cx="630237" cy="630237"/>
          </a:xfrm>
          <a:prstGeom prst="rect">
            <a:avLst/>
          </a:prstGeom>
        </p:spPr>
      </p:pic>
      <p:pic>
        <p:nvPicPr>
          <p:cNvPr id="194" name="Image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40499"/>
            <a:ext cx="1619313" cy="1212849"/>
          </a:xfrm>
          <a:prstGeom prst="rect">
            <a:avLst/>
          </a:prstGeom>
        </p:spPr>
      </p:pic>
      <p:sp>
        <p:nvSpPr>
          <p:cNvPr id="2" name="text 1"/>
          <p:cNvSpPr txBox="1"/>
          <p:nvPr/>
        </p:nvSpPr>
        <p:spPr>
          <a:xfrm>
            <a:off x="2997081" y="1641901"/>
            <a:ext cx="3006529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2400" b="1" spc="10" dirty="0">
                <a:solidFill>
                  <a:srgbClr val="0E5393"/>
                </a:solidFill>
                <a:latin typeface="Arial"/>
                <a:cs typeface="Arial"/>
              </a:rPr>
              <a:t>EU  COORDINATION</a:t>
            </a:r>
            <a:endParaRPr sz="2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" name="text 1"/>
          <p:cNvSpPr txBox="1"/>
          <p:nvPr/>
        </p:nvSpPr>
        <p:spPr>
          <a:xfrm>
            <a:off x="1306068" y="1662880"/>
            <a:ext cx="286617" cy="61555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4000" b="1" spc="10" dirty="0">
                <a:solidFill>
                  <a:srgbClr val="0E5393"/>
                </a:solidFill>
                <a:latin typeface="Arial"/>
                <a:cs typeface="Arial"/>
              </a:rPr>
              <a:t>4</a:t>
            </a:r>
            <a:endParaRPr sz="4000"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195" name="Image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732" y="1415796"/>
            <a:ext cx="1152144" cy="1066800"/>
          </a:xfrm>
          <a:prstGeom prst="rect">
            <a:avLst/>
          </a:prstGeom>
        </p:spPr>
      </p:pic>
      <p:sp>
        <p:nvSpPr>
          <p:cNvPr id="890" name="object 890"/>
          <p:cNvSpPr/>
          <p:nvPr/>
        </p:nvSpPr>
        <p:spPr>
          <a:xfrm>
            <a:off x="950912" y="1439926"/>
            <a:ext cx="1057338" cy="971550"/>
          </a:xfrm>
          <a:custGeom>
            <a:avLst/>
            <a:gdLst/>
            <a:ahLst/>
            <a:cxnLst/>
            <a:rect l="l" t="t" r="r" b="b"/>
            <a:pathLst>
              <a:path w="1057338" h="971550">
                <a:moveTo>
                  <a:pt x="0" y="485775"/>
                </a:moveTo>
                <a:cubicBezTo>
                  <a:pt x="0" y="217424"/>
                  <a:pt x="236677" y="0"/>
                  <a:pt x="528638" y="0"/>
                </a:cubicBezTo>
                <a:cubicBezTo>
                  <a:pt x="820611" y="0"/>
                  <a:pt x="1057339" y="217424"/>
                  <a:pt x="1057339" y="485775"/>
                </a:cubicBezTo>
                <a:cubicBezTo>
                  <a:pt x="1057339" y="753999"/>
                  <a:pt x="820611" y="971550"/>
                  <a:pt x="528638" y="971550"/>
                </a:cubicBezTo>
                <a:cubicBezTo>
                  <a:pt x="236677" y="971550"/>
                  <a:pt x="0" y="753999"/>
                  <a:pt x="0" y="485775"/>
                </a:cubicBezTo>
                <a:close/>
                <a:moveTo>
                  <a:pt x="44056" y="485775"/>
                </a:moveTo>
                <a:cubicBezTo>
                  <a:pt x="44056" y="729615"/>
                  <a:pt x="261010" y="927481"/>
                  <a:pt x="528638" y="927481"/>
                </a:cubicBezTo>
                <a:cubicBezTo>
                  <a:pt x="796227" y="927481"/>
                  <a:pt x="1013270" y="729615"/>
                  <a:pt x="1013270" y="485775"/>
                </a:cubicBezTo>
                <a:cubicBezTo>
                  <a:pt x="1013270" y="241808"/>
                  <a:pt x="796227" y="43942"/>
                  <a:pt x="528638" y="43942"/>
                </a:cubicBezTo>
                <a:cubicBezTo>
                  <a:pt x="261010" y="43942"/>
                  <a:pt x="44056" y="241808"/>
                  <a:pt x="44056" y="485775"/>
                </a:cubicBezTo>
                <a:close/>
              </a:path>
            </a:pathLst>
          </a:custGeom>
          <a:solidFill>
            <a:srgbClr val="123076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91" name="object 891"/>
          <p:cNvSpPr/>
          <p:nvPr/>
        </p:nvSpPr>
        <p:spPr>
          <a:xfrm>
            <a:off x="946206" y="1920942"/>
            <a:ext cx="9525" cy="9525"/>
          </a:xfrm>
          <a:custGeom>
            <a:avLst/>
            <a:gdLst/>
            <a:ahLst/>
            <a:cxnLst/>
            <a:rect l="l" t="t" r="r" b="b"/>
            <a:pathLst>
              <a:path w="9525" h="9525">
                <a:moveTo>
                  <a:pt x="4762" y="4763"/>
                </a:move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92" name="object 892"/>
          <p:cNvSpPr/>
          <p:nvPr/>
        </p:nvSpPr>
        <p:spPr>
          <a:xfrm>
            <a:off x="946150" y="1435167"/>
            <a:ext cx="1066863" cy="981075"/>
          </a:xfrm>
          <a:custGeom>
            <a:avLst/>
            <a:gdLst/>
            <a:ahLst/>
            <a:cxnLst/>
            <a:rect l="l" t="t" r="r" b="b"/>
            <a:pathLst>
              <a:path w="1066863" h="981075">
                <a:moveTo>
                  <a:pt x="4762" y="490538"/>
                </a:moveTo>
                <a:cubicBezTo>
                  <a:pt x="4762" y="222187"/>
                  <a:pt x="241439" y="4763"/>
                  <a:pt x="533400" y="4763"/>
                </a:cubicBezTo>
                <a:cubicBezTo>
                  <a:pt x="825373" y="4763"/>
                  <a:pt x="1062101" y="222187"/>
                  <a:pt x="1062101" y="490538"/>
                </a:cubicBezTo>
                <a:cubicBezTo>
                  <a:pt x="1062101" y="758762"/>
                  <a:pt x="825373" y="976313"/>
                  <a:pt x="533400" y="976313"/>
                </a:cubicBezTo>
                <a:cubicBezTo>
                  <a:pt x="241439" y="976313"/>
                  <a:pt x="4762" y="758762"/>
                  <a:pt x="4762" y="490538"/>
                </a:cubicBez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93" name="object 893"/>
          <p:cNvSpPr/>
          <p:nvPr/>
        </p:nvSpPr>
        <p:spPr>
          <a:xfrm>
            <a:off x="946150" y="1920942"/>
            <a:ext cx="53581" cy="9525"/>
          </a:xfrm>
          <a:custGeom>
            <a:avLst/>
            <a:gdLst/>
            <a:ahLst/>
            <a:cxnLst/>
            <a:rect l="l" t="t" r="r" b="b"/>
            <a:pathLst>
              <a:path w="53581" h="9525">
                <a:moveTo>
                  <a:pt x="4762" y="4763"/>
                </a:moveTo>
                <a:moveTo>
                  <a:pt x="4762" y="4763"/>
                </a:moveTo>
                <a:moveTo>
                  <a:pt x="48818" y="4763"/>
                </a:move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94" name="object 894"/>
          <p:cNvSpPr/>
          <p:nvPr/>
        </p:nvSpPr>
        <p:spPr>
          <a:xfrm>
            <a:off x="990206" y="1479105"/>
            <a:ext cx="978738" cy="893064"/>
          </a:xfrm>
          <a:custGeom>
            <a:avLst/>
            <a:gdLst/>
            <a:ahLst/>
            <a:cxnLst/>
            <a:rect l="l" t="t" r="r" b="b"/>
            <a:pathLst>
              <a:path w="978738" h="893064">
                <a:moveTo>
                  <a:pt x="4762" y="446596"/>
                </a:moveTo>
                <a:cubicBezTo>
                  <a:pt x="4762" y="690436"/>
                  <a:pt x="221716" y="888302"/>
                  <a:pt x="489344" y="888302"/>
                </a:cubicBezTo>
                <a:cubicBezTo>
                  <a:pt x="756933" y="888302"/>
                  <a:pt x="973976" y="690436"/>
                  <a:pt x="973976" y="446596"/>
                </a:cubicBezTo>
                <a:cubicBezTo>
                  <a:pt x="973976" y="202629"/>
                  <a:pt x="756933" y="4763"/>
                  <a:pt x="489344" y="4763"/>
                </a:cubicBezTo>
                <a:cubicBezTo>
                  <a:pt x="221716" y="4763"/>
                  <a:pt x="4762" y="202629"/>
                  <a:pt x="4762" y="446596"/>
                </a:cubicBez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95" name="object 895"/>
          <p:cNvSpPr/>
          <p:nvPr/>
        </p:nvSpPr>
        <p:spPr>
          <a:xfrm>
            <a:off x="946150" y="1920942"/>
            <a:ext cx="53581" cy="9525"/>
          </a:xfrm>
          <a:custGeom>
            <a:avLst/>
            <a:gdLst/>
            <a:ahLst/>
            <a:cxnLst/>
            <a:rect l="l" t="t" r="r" b="b"/>
            <a:pathLst>
              <a:path w="53581" h="9525">
                <a:moveTo>
                  <a:pt x="48818" y="4763"/>
                </a:moveTo>
                <a:moveTo>
                  <a:pt x="4762" y="4763"/>
                </a:move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pic>
        <p:nvPicPr>
          <p:cNvPr id="196" name="Image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190" y="3438469"/>
            <a:ext cx="1660525" cy="1150937"/>
          </a:xfrm>
          <a:prstGeom prst="rect">
            <a:avLst/>
          </a:prstGeom>
        </p:spPr>
      </p:pic>
      <p:pic>
        <p:nvPicPr>
          <p:cNvPr id="197" name="Image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91740" y="4636008"/>
            <a:ext cx="3886200" cy="1882140"/>
          </a:xfrm>
          <a:prstGeom prst="rect">
            <a:avLst/>
          </a:prstGeom>
        </p:spPr>
      </p:pic>
      <p:pic>
        <p:nvPicPr>
          <p:cNvPr id="198" name="Image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8880" y="4594860"/>
            <a:ext cx="3534156" cy="1606296"/>
          </a:xfrm>
          <a:prstGeom prst="rect">
            <a:avLst/>
          </a:prstGeom>
        </p:spPr>
      </p:pic>
      <p:pic>
        <p:nvPicPr>
          <p:cNvPr id="199" name="Image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1145" y="4662424"/>
            <a:ext cx="3788410" cy="1780794"/>
          </a:xfrm>
          <a:prstGeom prst="rect">
            <a:avLst/>
          </a:prstGeom>
        </p:spPr>
      </p:pic>
      <p:pic>
        <p:nvPicPr>
          <p:cNvPr id="200" name="Image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6380" y="4657773"/>
            <a:ext cx="3797935" cy="1790319"/>
          </a:xfrm>
          <a:prstGeom prst="rect">
            <a:avLst/>
          </a:prstGeom>
        </p:spPr>
      </p:pic>
      <p:pic>
        <p:nvPicPr>
          <p:cNvPr id="201" name="Image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60983" y="4728337"/>
            <a:ext cx="3002534" cy="1047458"/>
          </a:xfrm>
          <a:prstGeom prst="rect">
            <a:avLst/>
          </a:prstGeom>
        </p:spPr>
      </p:pic>
      <p:pic>
        <p:nvPicPr>
          <p:cNvPr id="202" name="Image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5864" y="4902708"/>
            <a:ext cx="3071241" cy="1064590"/>
          </a:xfrm>
          <a:prstGeom prst="rect">
            <a:avLst/>
          </a:prstGeom>
        </p:spPr>
      </p:pic>
      <p:pic>
        <p:nvPicPr>
          <p:cNvPr id="203" name="Image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5118" y="5080508"/>
            <a:ext cx="1128141" cy="434594"/>
          </a:xfrm>
          <a:prstGeom prst="rect">
            <a:avLst/>
          </a:prstGeom>
        </p:spPr>
      </p:pic>
      <p:pic>
        <p:nvPicPr>
          <p:cNvPr id="204" name="Image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1955" y="3711052"/>
            <a:ext cx="3985259" cy="1188719"/>
          </a:xfrm>
          <a:prstGeom prst="rect">
            <a:avLst/>
          </a:prstGeom>
        </p:spPr>
      </p:pic>
      <p:pic>
        <p:nvPicPr>
          <p:cNvPr id="205" name="Image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4996" y="4030980"/>
            <a:ext cx="3608832" cy="592836"/>
          </a:xfrm>
          <a:prstGeom prst="rect">
            <a:avLst/>
          </a:prstGeom>
        </p:spPr>
      </p:pic>
      <p:sp>
        <p:nvSpPr>
          <p:cNvPr id="896" name="object 896"/>
          <p:cNvSpPr/>
          <p:nvPr/>
        </p:nvSpPr>
        <p:spPr>
          <a:xfrm>
            <a:off x="2679756" y="3741801"/>
            <a:ext cx="3887851" cy="1081024"/>
          </a:xfrm>
          <a:custGeom>
            <a:avLst/>
            <a:gdLst/>
            <a:ahLst/>
            <a:cxnLst/>
            <a:rect l="l" t="t" r="r" b="b"/>
            <a:pathLst>
              <a:path w="3887851" h="1081024">
                <a:moveTo>
                  <a:pt x="0" y="270256"/>
                </a:moveTo>
                <a:lnTo>
                  <a:pt x="3347212" y="270256"/>
                </a:lnTo>
                <a:lnTo>
                  <a:pt x="3347212" y="0"/>
                </a:lnTo>
                <a:lnTo>
                  <a:pt x="3887851" y="540512"/>
                </a:lnTo>
                <a:lnTo>
                  <a:pt x="3347212" y="1081024"/>
                </a:lnTo>
                <a:lnTo>
                  <a:pt x="3347212" y="810768"/>
                </a:lnTo>
                <a:lnTo>
                  <a:pt x="0" y="810768"/>
                </a:lnTo>
                <a:close/>
              </a:path>
            </a:pathLst>
          </a:custGeom>
          <a:solidFill>
            <a:srgbClr val="123076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97" name="object 897"/>
          <p:cNvSpPr/>
          <p:nvPr/>
        </p:nvSpPr>
        <p:spPr>
          <a:xfrm>
            <a:off x="2674993" y="3737042"/>
            <a:ext cx="3356737" cy="279781"/>
          </a:xfrm>
          <a:custGeom>
            <a:avLst/>
            <a:gdLst/>
            <a:ahLst/>
            <a:cxnLst/>
            <a:rect l="l" t="t" r="r" b="b"/>
            <a:pathLst>
              <a:path w="3356737" h="279781">
                <a:moveTo>
                  <a:pt x="4763" y="275019"/>
                </a:moveTo>
                <a:lnTo>
                  <a:pt x="3351975" y="275019"/>
                </a:lnTo>
                <a:lnTo>
                  <a:pt x="3351975" y="4763"/>
                </a:ln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98" name="object 898"/>
          <p:cNvSpPr/>
          <p:nvPr/>
        </p:nvSpPr>
        <p:spPr>
          <a:xfrm>
            <a:off x="6022152" y="3737150"/>
            <a:ext cx="550164" cy="1090549"/>
          </a:xfrm>
          <a:custGeom>
            <a:avLst/>
            <a:gdLst/>
            <a:ahLst/>
            <a:cxnLst/>
            <a:rect l="l" t="t" r="r" b="b"/>
            <a:pathLst>
              <a:path w="550164" h="1090549">
                <a:moveTo>
                  <a:pt x="4763" y="4763"/>
                </a:moveTo>
                <a:lnTo>
                  <a:pt x="545402" y="545275"/>
                </a:lnTo>
                <a:lnTo>
                  <a:pt x="4763" y="1085787"/>
                </a:ln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899" name="object 899"/>
          <p:cNvSpPr/>
          <p:nvPr/>
        </p:nvSpPr>
        <p:spPr>
          <a:xfrm>
            <a:off x="2674993" y="4007406"/>
            <a:ext cx="3356737" cy="820293"/>
          </a:xfrm>
          <a:custGeom>
            <a:avLst/>
            <a:gdLst/>
            <a:ahLst/>
            <a:cxnLst/>
            <a:rect l="l" t="t" r="r" b="b"/>
            <a:pathLst>
              <a:path w="3356737" h="820293">
                <a:moveTo>
                  <a:pt x="3351975" y="815531"/>
                </a:moveTo>
                <a:lnTo>
                  <a:pt x="3351975" y="545275"/>
                </a:lnTo>
                <a:lnTo>
                  <a:pt x="4763" y="545275"/>
                </a:lnTo>
                <a:moveTo>
                  <a:pt x="4763" y="4763"/>
                </a:moveTo>
              </a:path>
            </a:pathLst>
          </a:custGeom>
          <a:ln w="9525">
            <a:solidFill>
              <a:srgbClr val="123076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text 1"/>
          <p:cNvSpPr txBox="1"/>
          <p:nvPr/>
        </p:nvSpPr>
        <p:spPr>
          <a:xfrm>
            <a:off x="2771577" y="4098106"/>
            <a:ext cx="156453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200" spc="10" dirty="0">
                <a:solidFill>
                  <a:srgbClr val="FFFFFF"/>
                </a:solidFill>
                <a:latin typeface="Verdana"/>
                <a:cs typeface="Verdana"/>
              </a:rPr>
              <a:t>1.</a:t>
            </a:r>
            <a:endParaRPr sz="1200">
              <a:solidFill>
                <a:prstClr val="black"/>
              </a:solidFill>
              <a:latin typeface="Verdana"/>
              <a:cs typeface="Verdana"/>
            </a:endParaRPr>
          </a:p>
          <a:p>
            <a:r>
              <a:rPr sz="1200" spc="10" dirty="0">
                <a:solidFill>
                  <a:srgbClr val="FFFFFF"/>
                </a:solidFill>
                <a:latin typeface="Verdana"/>
                <a:cs typeface="Verdana"/>
              </a:rPr>
              <a:t>2.</a:t>
            </a:r>
            <a:endParaRPr sz="1200">
              <a:solidFill>
                <a:prstClr val="black"/>
              </a:solidFill>
              <a:latin typeface="Verdana"/>
              <a:cs typeface="Verdana"/>
            </a:endParaRPr>
          </a:p>
        </p:txBody>
      </p:sp>
      <p:sp>
        <p:nvSpPr>
          <p:cNvPr id="5" name="text 1"/>
          <p:cNvSpPr txBox="1"/>
          <p:nvPr/>
        </p:nvSpPr>
        <p:spPr>
          <a:xfrm>
            <a:off x="3114422" y="4098217"/>
            <a:ext cx="3035446" cy="3600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200" spc="10" dirty="0">
                <a:solidFill>
                  <a:srgbClr val="FFFFFF"/>
                </a:solidFill>
                <a:latin typeface="Verdana"/>
                <a:cs typeface="Verdana"/>
              </a:rPr>
              <a:t>Automatic  alert  from  RASFF</a:t>
            </a:r>
            <a:endParaRPr sz="1200">
              <a:solidFill>
                <a:prstClr val="black"/>
              </a:solidFill>
              <a:latin typeface="Verdana"/>
              <a:cs typeface="Verdana"/>
            </a:endParaRPr>
          </a:p>
          <a:p>
            <a:r>
              <a:rPr sz="1140" spc="10" dirty="0">
                <a:solidFill>
                  <a:srgbClr val="FFFFFF"/>
                </a:solidFill>
                <a:latin typeface="Verdana"/>
                <a:cs typeface="Verdana"/>
              </a:rPr>
              <a:t>Specific  request  for  action/information</a:t>
            </a:r>
            <a:endParaRPr sz="1100">
              <a:solidFill>
                <a:prstClr val="black"/>
              </a:solidFill>
              <a:latin typeface="Verdana"/>
              <a:cs typeface="Verdana"/>
            </a:endParaRPr>
          </a:p>
        </p:txBody>
      </p:sp>
      <p:pic>
        <p:nvPicPr>
          <p:cNvPr id="206" name="Image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4600" y="2365248"/>
            <a:ext cx="3928872" cy="1514856"/>
          </a:xfrm>
          <a:prstGeom prst="rect">
            <a:avLst/>
          </a:prstGeom>
        </p:spPr>
      </p:pic>
      <p:pic>
        <p:nvPicPr>
          <p:cNvPr id="207" name="Image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76500" y="2647188"/>
            <a:ext cx="3352800" cy="1299972"/>
          </a:xfrm>
          <a:prstGeom prst="rect">
            <a:avLst/>
          </a:prstGeom>
        </p:spPr>
      </p:pic>
      <p:pic>
        <p:nvPicPr>
          <p:cNvPr id="208" name="Image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2607" y="2394824"/>
            <a:ext cx="3831971" cy="1414145"/>
          </a:xfrm>
          <a:prstGeom prst="rect">
            <a:avLst/>
          </a:prstGeom>
        </p:spPr>
      </p:pic>
      <p:pic>
        <p:nvPicPr>
          <p:cNvPr id="209" name="Image"/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7843" y="2389949"/>
            <a:ext cx="3841496" cy="1423670"/>
          </a:xfrm>
          <a:prstGeom prst="rect">
            <a:avLst/>
          </a:prstGeom>
        </p:spPr>
      </p:pic>
      <p:pic>
        <p:nvPicPr>
          <p:cNvPr id="210" name="Image"/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97663" y="2852277"/>
            <a:ext cx="2823337" cy="814197"/>
          </a:xfrm>
          <a:prstGeom prst="rect">
            <a:avLst/>
          </a:prstGeom>
        </p:spPr>
      </p:pic>
      <p:pic>
        <p:nvPicPr>
          <p:cNvPr id="211" name="Image"/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2125" y="3822812"/>
            <a:ext cx="1481074" cy="987425"/>
          </a:xfrm>
          <a:prstGeom prst="rect">
            <a:avLst/>
          </a:prstGeom>
        </p:spPr>
      </p:pic>
      <p:sp>
        <p:nvSpPr>
          <p:cNvPr id="900" name="object 900"/>
          <p:cNvSpPr/>
          <p:nvPr/>
        </p:nvSpPr>
        <p:spPr>
          <a:xfrm>
            <a:off x="6832543" y="3813223"/>
            <a:ext cx="1500251" cy="1006475"/>
          </a:xfrm>
          <a:custGeom>
            <a:avLst/>
            <a:gdLst/>
            <a:ahLst/>
            <a:cxnLst/>
            <a:rect l="l" t="t" r="r" b="b"/>
            <a:pathLst>
              <a:path w="1500251" h="1006475">
                <a:moveTo>
                  <a:pt x="4763" y="4763"/>
                </a:moveTo>
                <a:lnTo>
                  <a:pt x="4763" y="1001713"/>
                </a:lnTo>
                <a:lnTo>
                  <a:pt x="1495489" y="1001713"/>
                </a:lnTo>
                <a:lnTo>
                  <a:pt x="1495489" y="4763"/>
                </a:lnTo>
                <a:lnTo>
                  <a:pt x="4763" y="4763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pic>
        <p:nvPicPr>
          <p:cNvPr id="212" name="Image"/>
          <p:cNvPicPr>
            <a:picLocks noChangeAspect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0627" y="2024062"/>
            <a:ext cx="1008062" cy="1008062"/>
          </a:xfrm>
          <a:prstGeom prst="rect">
            <a:avLst/>
          </a:prstGeom>
        </p:spPr>
      </p:pic>
      <p:sp>
        <p:nvSpPr>
          <p:cNvPr id="6" name="text 1"/>
          <p:cNvSpPr txBox="1"/>
          <p:nvPr/>
        </p:nvSpPr>
        <p:spPr>
          <a:xfrm>
            <a:off x="6799199" y="3093936"/>
            <a:ext cx="1348446" cy="43088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128016"/>
            <a:r>
              <a:rPr sz="1400" b="1" spc="10" dirty="0">
                <a:solidFill>
                  <a:srgbClr val="0E5393"/>
                </a:solidFill>
                <a:latin typeface="Arial"/>
                <a:cs typeface="Arial"/>
              </a:rPr>
              <a:t>The  EU  Food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  <a:p>
            <a:r>
              <a:rPr sz="1400" b="1" spc="10" dirty="0">
                <a:solidFill>
                  <a:srgbClr val="0E5393"/>
                </a:solidFill>
                <a:latin typeface="Arial"/>
                <a:cs typeface="Arial"/>
              </a:rPr>
              <a:t>Fraud  Network</a:t>
            </a:r>
            <a:endParaRPr sz="14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" name="text 1"/>
          <p:cNvSpPr txBox="1"/>
          <p:nvPr/>
        </p:nvSpPr>
        <p:spPr>
          <a:xfrm>
            <a:off x="7141210" y="4895477"/>
            <a:ext cx="784830" cy="24622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600" b="1" spc="10" dirty="0">
                <a:solidFill>
                  <a:srgbClr val="0E5393"/>
                </a:solidFill>
                <a:latin typeface="Arial"/>
                <a:cs typeface="Arial"/>
              </a:rPr>
              <a:t>Georgia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213" name="Image"/>
          <p:cNvPicPr>
            <a:picLocks noChangeAspect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5925" y="5505450"/>
            <a:ext cx="1147762" cy="569912"/>
          </a:xfrm>
          <a:prstGeom prst="rect">
            <a:avLst/>
          </a:prstGeom>
        </p:spPr>
      </p:pic>
      <p:pic>
        <p:nvPicPr>
          <p:cNvPr id="214" name="Image"/>
          <p:cNvPicPr>
            <a:picLocks noChangeAspect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6100" y="6075362"/>
            <a:ext cx="1114425" cy="590550"/>
          </a:xfrm>
          <a:prstGeom prst="rect">
            <a:avLst/>
          </a:prstGeom>
        </p:spPr>
      </p:pic>
    </p:spTree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216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"/>
            <a:ext cx="9144000" cy="1103249"/>
          </a:xfrm>
          <a:prstGeom prst="rect">
            <a:avLst/>
          </a:prstGeom>
        </p:spPr>
      </p:pic>
      <p:pic>
        <p:nvPicPr>
          <p:cNvPr id="217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1757" y="6401004"/>
            <a:ext cx="678215" cy="457097"/>
          </a:xfrm>
          <a:prstGeom prst="rect">
            <a:avLst/>
          </a:prstGeom>
        </p:spPr>
      </p:pic>
      <p:pic>
        <p:nvPicPr>
          <p:cNvPr id="218" name="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300" y="335211"/>
            <a:ext cx="1537740" cy="1077300"/>
          </a:xfrm>
          <a:prstGeom prst="rect">
            <a:avLst/>
          </a:prstGeom>
        </p:spPr>
      </p:pic>
      <p:pic>
        <p:nvPicPr>
          <p:cNvPr id="219" name="Image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343" y="5937362"/>
            <a:ext cx="630237" cy="630237"/>
          </a:xfrm>
          <a:prstGeom prst="rect">
            <a:avLst/>
          </a:prstGeom>
        </p:spPr>
      </p:pic>
      <p:pic>
        <p:nvPicPr>
          <p:cNvPr id="220" name="Image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40499"/>
            <a:ext cx="1619313" cy="1212849"/>
          </a:xfrm>
          <a:prstGeom prst="rect">
            <a:avLst/>
          </a:prstGeom>
        </p:spPr>
      </p:pic>
      <p:sp>
        <p:nvSpPr>
          <p:cNvPr id="2" name="text 1"/>
          <p:cNvSpPr txBox="1"/>
          <p:nvPr/>
        </p:nvSpPr>
        <p:spPr>
          <a:xfrm>
            <a:off x="480731" y="1557699"/>
            <a:ext cx="7909409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2400" b="1" spc="10" dirty="0">
                <a:solidFill>
                  <a:srgbClr val="0E5393"/>
                </a:solidFill>
                <a:latin typeface="Arial"/>
                <a:cs typeface="Arial"/>
              </a:rPr>
              <a:t>RESULTS  OF  EU  COORDINATION  after  2  MONTHS</a:t>
            </a:r>
            <a:endParaRPr sz="2400"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221" name="Image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7039" y="2545080"/>
            <a:ext cx="7072883" cy="1714500"/>
          </a:xfrm>
          <a:prstGeom prst="rect">
            <a:avLst/>
          </a:prstGeom>
        </p:spPr>
      </p:pic>
      <p:pic>
        <p:nvPicPr>
          <p:cNvPr id="222" name="Image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951" y="2689859"/>
            <a:ext cx="6713219" cy="1487424"/>
          </a:xfrm>
          <a:prstGeom prst="rect">
            <a:avLst/>
          </a:prstGeom>
        </p:spPr>
      </p:pic>
      <p:sp>
        <p:nvSpPr>
          <p:cNvPr id="901" name="object 901"/>
          <p:cNvSpPr/>
          <p:nvPr/>
        </p:nvSpPr>
        <p:spPr>
          <a:xfrm>
            <a:off x="679506" y="2565512"/>
            <a:ext cx="6988175" cy="1628775"/>
          </a:xfrm>
          <a:custGeom>
            <a:avLst/>
            <a:gdLst/>
            <a:ahLst/>
            <a:cxnLst/>
            <a:rect l="l" t="t" r="r" b="b"/>
            <a:pathLst>
              <a:path w="6988175" h="1628775">
                <a:moveTo>
                  <a:pt x="0" y="271526"/>
                </a:moveTo>
                <a:cubicBezTo>
                  <a:pt x="0" y="121539"/>
                  <a:pt x="121539" y="0"/>
                  <a:pt x="271462" y="0"/>
                </a:cubicBezTo>
                <a:lnTo>
                  <a:pt x="6716649" y="0"/>
                </a:lnTo>
                <a:cubicBezTo>
                  <a:pt x="6866636" y="0"/>
                  <a:pt x="6988175" y="121539"/>
                  <a:pt x="6988175" y="271526"/>
                </a:cubicBezTo>
                <a:lnTo>
                  <a:pt x="6988175" y="1357249"/>
                </a:lnTo>
                <a:cubicBezTo>
                  <a:pt x="6988175" y="1507236"/>
                  <a:pt x="6866636" y="1628775"/>
                  <a:pt x="6716649" y="1628775"/>
                </a:cubicBezTo>
                <a:lnTo>
                  <a:pt x="271462" y="1628775"/>
                </a:lnTo>
                <a:cubicBezTo>
                  <a:pt x="121539" y="1628775"/>
                  <a:pt x="0" y="1507236"/>
                  <a:pt x="0" y="1357249"/>
                </a:cubicBezTo>
                <a:close/>
              </a:path>
            </a:pathLst>
          </a:custGeom>
          <a:solidFill>
            <a:srgbClr val="006FC0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3" name="text 1"/>
          <p:cNvSpPr txBox="1"/>
          <p:nvPr/>
        </p:nvSpPr>
        <p:spPr>
          <a:xfrm>
            <a:off x="850703" y="2788562"/>
            <a:ext cx="6432467" cy="123110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318516"/>
            <a:r>
              <a:rPr sz="1600" b="1" spc="10" dirty="0">
                <a:solidFill>
                  <a:srgbClr val="FFFFFF"/>
                </a:solidFill>
                <a:latin typeface="Arial"/>
                <a:cs typeface="Arial"/>
              </a:rPr>
              <a:t>GEORGIAN  AUTHORITIES  REACTION/COOPERATION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  <a:p>
            <a:r>
              <a:rPr sz="1600" spc="10" dirty="0">
                <a:solidFill>
                  <a:srgbClr val="FFFFFF"/>
                </a:solidFill>
                <a:latin typeface="Arial"/>
                <a:cs typeface="Arial"/>
              </a:rPr>
              <a:t>•    </a:t>
            </a:r>
            <a:r>
              <a:rPr sz="1600" spc="10" dirty="0">
                <a:solidFill>
                  <a:srgbClr val="FFFFFF"/>
                </a:solidFill>
                <a:latin typeface="Verdana"/>
                <a:cs typeface="Verdana"/>
              </a:rPr>
              <a:t>Urgent adoption of </a:t>
            </a:r>
            <a:r>
              <a:rPr sz="1600" b="1" spc="10" dirty="0">
                <a:solidFill>
                  <a:srgbClr val="FFFFFF"/>
                </a:solidFill>
                <a:latin typeface="Arial"/>
                <a:cs typeface="Arial"/>
              </a:rPr>
              <a:t>Government  Decree  </a:t>
            </a:r>
            <a:r>
              <a:rPr sz="1600" spc="10" dirty="0">
                <a:solidFill>
                  <a:srgbClr val="FFFFFF"/>
                </a:solidFill>
                <a:latin typeface="Verdana"/>
                <a:cs typeface="Verdana"/>
              </a:rPr>
              <a:t>185, technical</a:t>
            </a:r>
            <a:endParaRPr sz="1600">
              <a:solidFill>
                <a:prstClr val="black"/>
              </a:solidFill>
              <a:latin typeface="Verdana"/>
              <a:cs typeface="Verdana"/>
            </a:endParaRPr>
          </a:p>
          <a:p>
            <a:pPr marL="286511"/>
            <a:r>
              <a:rPr sz="1600" spc="10" dirty="0">
                <a:solidFill>
                  <a:srgbClr val="FFFFFF"/>
                </a:solidFill>
                <a:latin typeface="Verdana"/>
                <a:cs typeface="Verdana"/>
              </a:rPr>
              <a:t>regulation on export for hazelnuts (controls on every</a:t>
            </a:r>
            <a:endParaRPr sz="1600">
              <a:solidFill>
                <a:prstClr val="black"/>
              </a:solidFill>
              <a:latin typeface="Verdana"/>
              <a:cs typeface="Verdana"/>
            </a:endParaRPr>
          </a:p>
          <a:p>
            <a:pPr marL="286511"/>
            <a:r>
              <a:rPr sz="1600" spc="10" dirty="0">
                <a:solidFill>
                  <a:srgbClr val="FFFFFF"/>
                </a:solidFill>
                <a:latin typeface="Verdana"/>
                <a:cs typeface="Verdana"/>
              </a:rPr>
              <a:t>consignment  and  0.05%  tolerance  on  foreign  matters)</a:t>
            </a:r>
            <a:endParaRPr sz="1600">
              <a:solidFill>
                <a:prstClr val="black"/>
              </a:solidFill>
              <a:latin typeface="Verdana"/>
              <a:cs typeface="Verdana"/>
            </a:endParaRPr>
          </a:p>
          <a:p>
            <a:r>
              <a:rPr sz="1600" spc="10" dirty="0">
                <a:solidFill>
                  <a:srgbClr val="FFFFFF"/>
                </a:solidFill>
                <a:latin typeface="Arial"/>
                <a:cs typeface="Arial"/>
              </a:rPr>
              <a:t>•    </a:t>
            </a:r>
            <a:r>
              <a:rPr sz="1600" spc="10" dirty="0">
                <a:solidFill>
                  <a:srgbClr val="FFFFFF"/>
                </a:solidFill>
                <a:latin typeface="Verdana"/>
                <a:cs typeface="Verdana"/>
              </a:rPr>
              <a:t>Ongoing </a:t>
            </a:r>
            <a:r>
              <a:rPr sz="1600" b="1" spc="10" dirty="0">
                <a:solidFill>
                  <a:srgbClr val="FFFFFF"/>
                </a:solidFill>
                <a:latin typeface="Arial"/>
                <a:cs typeface="Arial"/>
              </a:rPr>
              <a:t>investigation</a:t>
            </a:r>
            <a:r>
              <a:rPr sz="1600" spc="10" dirty="0">
                <a:solidFill>
                  <a:srgbClr val="FFFFFF"/>
                </a:solidFill>
                <a:latin typeface="Verdana"/>
                <a:cs typeface="Verdana"/>
              </a:rPr>
              <a:t> in 2 suspected establishments</a:t>
            </a:r>
            <a:endParaRPr sz="1600">
              <a:solidFill>
                <a:prstClr val="black"/>
              </a:solidFill>
              <a:latin typeface="Verdana"/>
              <a:cs typeface="Verdana"/>
            </a:endParaRPr>
          </a:p>
        </p:txBody>
      </p:sp>
      <p:pic>
        <p:nvPicPr>
          <p:cNvPr id="223" name="Image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8632" y="4395216"/>
            <a:ext cx="6278880" cy="1310640"/>
          </a:xfrm>
          <a:prstGeom prst="rect">
            <a:avLst/>
          </a:prstGeom>
        </p:spPr>
      </p:pic>
      <p:pic>
        <p:nvPicPr>
          <p:cNvPr id="224" name="Image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0260" y="4459224"/>
            <a:ext cx="6207252" cy="1243584"/>
          </a:xfrm>
          <a:prstGeom prst="rect">
            <a:avLst/>
          </a:prstGeom>
        </p:spPr>
      </p:pic>
      <p:sp>
        <p:nvSpPr>
          <p:cNvPr id="902" name="object 902"/>
          <p:cNvSpPr/>
          <p:nvPr/>
        </p:nvSpPr>
        <p:spPr>
          <a:xfrm>
            <a:off x="2051106" y="4414886"/>
            <a:ext cx="6194425" cy="1225613"/>
          </a:xfrm>
          <a:custGeom>
            <a:avLst/>
            <a:gdLst/>
            <a:ahLst/>
            <a:cxnLst/>
            <a:rect l="l" t="t" r="r" b="b"/>
            <a:pathLst>
              <a:path w="6194425" h="1225613">
                <a:moveTo>
                  <a:pt x="0" y="204343"/>
                </a:moveTo>
                <a:cubicBezTo>
                  <a:pt x="0" y="91567"/>
                  <a:pt x="91440" y="0"/>
                  <a:pt x="204216" y="0"/>
                </a:cubicBezTo>
                <a:lnTo>
                  <a:pt x="5990209" y="0"/>
                </a:lnTo>
                <a:cubicBezTo>
                  <a:pt x="6102985" y="0"/>
                  <a:pt x="6194425" y="91567"/>
                  <a:pt x="6194425" y="204343"/>
                </a:cubicBezTo>
                <a:lnTo>
                  <a:pt x="6194425" y="1021334"/>
                </a:lnTo>
                <a:cubicBezTo>
                  <a:pt x="6194425" y="1134110"/>
                  <a:pt x="6102985" y="1225613"/>
                  <a:pt x="5990209" y="1225613"/>
                </a:cubicBezTo>
                <a:lnTo>
                  <a:pt x="204216" y="1225613"/>
                </a:lnTo>
                <a:cubicBezTo>
                  <a:pt x="91440" y="1225613"/>
                  <a:pt x="0" y="1134110"/>
                  <a:pt x="0" y="1021334"/>
                </a:cubicBezTo>
                <a:close/>
              </a:path>
            </a:pathLst>
          </a:custGeom>
          <a:solidFill>
            <a:srgbClr val="ED7C31"/>
          </a:solidFill>
        </p:spPr>
        <p:txBody>
          <a:bodyPr wrap="square" lIns="0" tIns="0" rIns="0" bIns="0" rtlCol="0">
            <a:noAutofit/>
          </a:bodyPr>
          <a:lstStyle/>
          <a:p>
            <a:endParaRPr smtClean="0">
              <a:solidFill>
                <a:prstClr val="black"/>
              </a:solidFill>
            </a:endParaRPr>
          </a:p>
        </p:txBody>
      </p:sp>
      <p:sp>
        <p:nvSpPr>
          <p:cNvPr id="4" name="text 1"/>
          <p:cNvSpPr txBox="1"/>
          <p:nvPr/>
        </p:nvSpPr>
        <p:spPr>
          <a:xfrm>
            <a:off x="2245542" y="4558778"/>
            <a:ext cx="5606343" cy="984885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1289558"/>
            <a:r>
              <a:rPr sz="1600" b="1" spc="10" dirty="0">
                <a:solidFill>
                  <a:srgbClr val="FFFFFF"/>
                </a:solidFill>
                <a:latin typeface="Arial"/>
                <a:cs typeface="Arial"/>
              </a:rPr>
              <a:t>RAISED  AWARENESS  IN  MS:</a:t>
            </a:r>
            <a:endParaRPr sz="1600">
              <a:solidFill>
                <a:prstClr val="black"/>
              </a:solidFill>
              <a:latin typeface="Arial"/>
              <a:cs typeface="Arial"/>
            </a:endParaRPr>
          </a:p>
          <a:p>
            <a:r>
              <a:rPr sz="1600" b="1" spc="10" dirty="0">
                <a:solidFill>
                  <a:srgbClr val="FFFFFF"/>
                </a:solidFill>
                <a:latin typeface="Arial"/>
                <a:cs typeface="Arial"/>
              </a:rPr>
              <a:t>Strengthened  controls</a:t>
            </a:r>
            <a:r>
              <a:rPr sz="1600" spc="10" dirty="0">
                <a:solidFill>
                  <a:srgbClr val="FFFFFF"/>
                </a:solidFill>
                <a:latin typeface="Verdana"/>
                <a:cs typeface="Verdana"/>
              </a:rPr>
              <a:t> on EU flour Hazelnuts markets.</a:t>
            </a:r>
            <a:endParaRPr sz="1600">
              <a:solidFill>
                <a:prstClr val="black"/>
              </a:solidFill>
              <a:latin typeface="Verdana"/>
              <a:cs typeface="Verdana"/>
            </a:endParaRPr>
          </a:p>
          <a:p>
            <a:r>
              <a:rPr sz="1600" spc="10" dirty="0">
                <a:solidFill>
                  <a:srgbClr val="FFFFFF"/>
                </a:solidFill>
                <a:latin typeface="Verdana"/>
                <a:cs typeface="Verdana"/>
              </a:rPr>
              <a:t>Similar types of </a:t>
            </a:r>
            <a:r>
              <a:rPr sz="1600" b="1" spc="10" dirty="0">
                <a:solidFill>
                  <a:srgbClr val="FFFFFF"/>
                </a:solidFill>
                <a:latin typeface="Arial"/>
                <a:cs typeface="Arial"/>
              </a:rPr>
              <a:t>contamination</a:t>
            </a:r>
            <a:r>
              <a:rPr sz="1600" spc="10" dirty="0">
                <a:solidFill>
                  <a:srgbClr val="FFFFFF"/>
                </a:solidFill>
                <a:latin typeface="Verdana"/>
                <a:cs typeface="Verdana"/>
              </a:rPr>
              <a:t> are being </a:t>
            </a:r>
            <a:r>
              <a:rPr sz="1600" b="1" spc="10" dirty="0">
                <a:solidFill>
                  <a:srgbClr val="FFFFFF"/>
                </a:solidFill>
                <a:latin typeface="Arial"/>
                <a:cs typeface="Arial"/>
              </a:rPr>
              <a:t>detected</a:t>
            </a:r>
            <a:endParaRPr sz="1600">
              <a:solidFill>
                <a:prstClr val="black"/>
              </a:solidFill>
              <a:latin typeface="Verdana"/>
              <a:cs typeface="Verdana"/>
            </a:endParaRPr>
          </a:p>
          <a:p>
            <a:pPr marL="705866"/>
            <a:r>
              <a:rPr sz="1600" spc="10" dirty="0">
                <a:solidFill>
                  <a:srgbClr val="FFFFFF"/>
                </a:solidFill>
                <a:latin typeface="Verdana"/>
                <a:cs typeface="Verdana"/>
              </a:rPr>
              <a:t>(e.g. contamination in hazelnut cream)</a:t>
            </a:r>
            <a:endParaRPr sz="1600">
              <a:solidFill>
                <a:prstClr val="black"/>
              </a:solidFill>
              <a:latin typeface="Verdana"/>
              <a:cs typeface="Verdana"/>
            </a:endParaRPr>
          </a:p>
        </p:txBody>
      </p:sp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226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"/>
            <a:ext cx="9144000" cy="1103249"/>
          </a:xfrm>
          <a:prstGeom prst="rect">
            <a:avLst/>
          </a:prstGeom>
        </p:spPr>
      </p:pic>
      <p:pic>
        <p:nvPicPr>
          <p:cNvPr id="227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1757" y="6401004"/>
            <a:ext cx="678215" cy="457097"/>
          </a:xfrm>
          <a:prstGeom prst="rect">
            <a:avLst/>
          </a:prstGeom>
        </p:spPr>
      </p:pic>
      <p:pic>
        <p:nvPicPr>
          <p:cNvPr id="228" name="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300" y="335211"/>
            <a:ext cx="1537740" cy="1077300"/>
          </a:xfrm>
          <a:prstGeom prst="rect">
            <a:avLst/>
          </a:prstGeom>
        </p:spPr>
      </p:pic>
      <p:pic>
        <p:nvPicPr>
          <p:cNvPr id="229" name="Image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44573" y="-152400"/>
            <a:ext cx="10817225" cy="7181850"/>
          </a:xfrm>
          <a:prstGeom prst="rect">
            <a:avLst/>
          </a:prstGeom>
        </p:spPr>
      </p:pic>
      <p:pic>
        <p:nvPicPr>
          <p:cNvPr id="230" name="Image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760013">
            <a:off x="6753284" y="9544"/>
            <a:ext cx="2616258" cy="1800227"/>
          </a:xfrm>
          <a:prstGeom prst="rect">
            <a:avLst/>
          </a:prstGeom>
        </p:spPr>
      </p:pic>
      <p:pic>
        <p:nvPicPr>
          <p:cNvPr id="231" name="Image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528621">
            <a:off x="225426" y="5175324"/>
            <a:ext cx="2616210" cy="1741525"/>
          </a:xfrm>
          <a:prstGeom prst="rect">
            <a:avLst/>
          </a:prstGeom>
        </p:spPr>
      </p:pic>
      <p:sp>
        <p:nvSpPr>
          <p:cNvPr id="2" name="text 1"/>
          <p:cNvSpPr txBox="1"/>
          <p:nvPr/>
        </p:nvSpPr>
        <p:spPr>
          <a:xfrm>
            <a:off x="520293" y="1551521"/>
            <a:ext cx="3830664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2000" b="1" spc="10" dirty="0">
                <a:solidFill>
                  <a:srgbClr val="FFD523"/>
                </a:solidFill>
                <a:latin typeface="Arial"/>
                <a:cs typeface="Arial"/>
              </a:rPr>
              <a:t>Bright  and  Appetizing  Olives!</a:t>
            </a:r>
            <a:endParaRPr sz="20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" name="text 1"/>
          <p:cNvSpPr txBox="1"/>
          <p:nvPr/>
        </p:nvSpPr>
        <p:spPr>
          <a:xfrm>
            <a:off x="1656843" y="2257279"/>
            <a:ext cx="947054" cy="116955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7600" spc="10" dirty="0">
                <a:solidFill>
                  <a:srgbClr val="FFD523"/>
                </a:solidFill>
                <a:latin typeface="MS PGothic"/>
                <a:cs typeface="MS PGothic"/>
              </a:rPr>
              <a:t>�</a:t>
            </a:r>
            <a:endParaRPr sz="7600">
              <a:solidFill>
                <a:prstClr val="black"/>
              </a:solidFill>
              <a:latin typeface="MS PGothic"/>
              <a:cs typeface="MS PGothic"/>
            </a:endParaRPr>
          </a:p>
        </p:txBody>
      </p:sp>
      <p:sp>
        <p:nvSpPr>
          <p:cNvPr id="4" name="text 1"/>
          <p:cNvSpPr txBox="1"/>
          <p:nvPr/>
        </p:nvSpPr>
        <p:spPr>
          <a:xfrm>
            <a:off x="6099739" y="6127979"/>
            <a:ext cx="2954335" cy="49244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3200" b="1" spc="10" dirty="0">
                <a:solidFill>
                  <a:srgbClr val="FFD523"/>
                </a:solidFill>
                <a:latin typeface="Arial"/>
                <a:cs typeface="Arial"/>
              </a:rPr>
              <a:t>But  Juicy  ???</a:t>
            </a:r>
            <a:endParaRPr sz="32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5" name="text 1"/>
          <p:cNvSpPr txBox="1"/>
          <p:nvPr/>
        </p:nvSpPr>
        <p:spPr>
          <a:xfrm>
            <a:off x="-521509" y="85982"/>
            <a:ext cx="5754139" cy="55399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3600" b="1" spc="10" dirty="0">
                <a:solidFill>
                  <a:srgbClr val="FF0000"/>
                </a:solidFill>
                <a:latin typeface="Arial"/>
                <a:cs typeface="Arial"/>
              </a:rPr>
              <a:t>        Informed  consumers</a:t>
            </a:r>
            <a:endParaRPr sz="3600"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232" name="Image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45732" y="5162557"/>
            <a:ext cx="898323" cy="88306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3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234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"/>
            <a:ext cx="9144000" cy="1103249"/>
          </a:xfrm>
          <a:prstGeom prst="rect">
            <a:avLst/>
          </a:prstGeom>
        </p:spPr>
      </p:pic>
      <p:pic>
        <p:nvPicPr>
          <p:cNvPr id="235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11757" y="6401004"/>
            <a:ext cx="678215" cy="457097"/>
          </a:xfrm>
          <a:prstGeom prst="rect">
            <a:avLst/>
          </a:prstGeom>
        </p:spPr>
      </p:pic>
      <p:pic>
        <p:nvPicPr>
          <p:cNvPr id="236" name="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4300" y="335211"/>
            <a:ext cx="1537740" cy="1077300"/>
          </a:xfrm>
          <a:prstGeom prst="rect">
            <a:avLst/>
          </a:prstGeom>
        </p:spPr>
      </p:pic>
      <p:pic>
        <p:nvPicPr>
          <p:cNvPr id="237" name="Image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09928" y="4119372"/>
            <a:ext cx="6803136" cy="2738628"/>
          </a:xfrm>
          <a:prstGeom prst="rect">
            <a:avLst/>
          </a:prstGeom>
        </p:spPr>
      </p:pic>
      <p:pic>
        <p:nvPicPr>
          <p:cNvPr id="238" name="Image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3832" y="4133962"/>
            <a:ext cx="6696075" cy="2879725"/>
          </a:xfrm>
          <a:prstGeom prst="rect">
            <a:avLst/>
          </a:prstGeom>
        </p:spPr>
      </p:pic>
      <p:pic>
        <p:nvPicPr>
          <p:cNvPr id="239" name="Image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2588" y="390144"/>
            <a:ext cx="5201412" cy="5608320"/>
          </a:xfrm>
          <a:prstGeom prst="rect">
            <a:avLst/>
          </a:prstGeom>
        </p:spPr>
      </p:pic>
      <p:pic>
        <p:nvPicPr>
          <p:cNvPr id="240" name="Image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739494">
            <a:off x="4451318" y="1514510"/>
            <a:ext cx="5427662" cy="3282977"/>
          </a:xfrm>
          <a:prstGeom prst="rect">
            <a:avLst/>
          </a:prstGeom>
        </p:spPr>
      </p:pic>
      <p:pic>
        <p:nvPicPr>
          <p:cNvPr id="241" name="Image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55320"/>
            <a:ext cx="4768596" cy="5608320"/>
          </a:xfrm>
          <a:prstGeom prst="rect">
            <a:avLst/>
          </a:prstGeom>
        </p:spPr>
      </p:pic>
      <p:pic>
        <p:nvPicPr>
          <p:cNvPr id="242" name="Image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-1617743">
            <a:off x="-315991" y="1447959"/>
            <a:ext cx="4373631" cy="3948107"/>
          </a:xfrm>
          <a:prstGeom prst="rect">
            <a:avLst/>
          </a:prstGeom>
        </p:spPr>
      </p:pic>
      <p:sp>
        <p:nvSpPr>
          <p:cNvPr id="2" name="text 1"/>
          <p:cNvSpPr txBox="1"/>
          <p:nvPr/>
        </p:nvSpPr>
        <p:spPr>
          <a:xfrm>
            <a:off x="342290" y="121034"/>
            <a:ext cx="8094524" cy="55399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3600" b="1" spc="10" dirty="0">
                <a:solidFill>
                  <a:srgbClr val="0E5393"/>
                </a:solidFill>
                <a:latin typeface="Arial"/>
                <a:cs typeface="Arial"/>
              </a:rPr>
              <a:t>BE  VIGILANT  and  REPORT  BACK!</a:t>
            </a:r>
            <a:endParaRPr sz="3600">
              <a:solidFill>
                <a:prstClr val="black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3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244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3599" y="6020429"/>
            <a:ext cx="2303729" cy="625017"/>
          </a:xfrm>
          <a:prstGeom prst="rect">
            <a:avLst/>
          </a:prstGeom>
        </p:spPr>
      </p:pic>
      <p:pic>
        <p:nvPicPr>
          <p:cNvPr id="245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457" y="5257863"/>
            <a:ext cx="2411349" cy="1592198"/>
          </a:xfrm>
          <a:prstGeom prst="rect">
            <a:avLst/>
          </a:prstGeom>
        </p:spPr>
      </p:pic>
      <p:pic>
        <p:nvPicPr>
          <p:cNvPr id="246" name="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92837"/>
            <a:ext cx="2365375" cy="1565275"/>
          </a:xfrm>
          <a:prstGeom prst="rect">
            <a:avLst/>
          </a:prstGeom>
        </p:spPr>
      </p:pic>
      <p:sp>
        <p:nvSpPr>
          <p:cNvPr id="2" name="text 1"/>
          <p:cNvSpPr txBox="1"/>
          <p:nvPr/>
        </p:nvSpPr>
        <p:spPr>
          <a:xfrm>
            <a:off x="1497839" y="2694416"/>
            <a:ext cx="5819542" cy="461665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3000" b="1" spc="10" dirty="0">
                <a:solidFill>
                  <a:srgbClr val="0E5393"/>
                </a:solidFill>
                <a:latin typeface="Arial"/>
                <a:cs typeface="Arial"/>
              </a:rPr>
              <a:t>Thank  you  for  your  attention!</a:t>
            </a:r>
            <a:endParaRPr sz="300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3" name="text 1"/>
          <p:cNvSpPr txBox="1"/>
          <p:nvPr/>
        </p:nvSpPr>
        <p:spPr>
          <a:xfrm>
            <a:off x="1000658" y="5232063"/>
            <a:ext cx="7198124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2400" b="1" spc="10" dirty="0">
                <a:solidFill>
                  <a:srgbClr val="0E5393"/>
                </a:solidFill>
                <a:latin typeface="Arial"/>
                <a:cs typeface="Arial"/>
              </a:rPr>
              <a:t>FOOD  IN  THE  EU  HAS  NEVER  BEEN  SAFER!</a:t>
            </a:r>
            <a:endParaRPr sz="2400">
              <a:solidFill>
                <a:prstClr val="black"/>
              </a:solidFill>
              <a:latin typeface="Arial"/>
              <a:cs typeface="Arial"/>
            </a:endParaRPr>
          </a:p>
        </p:txBody>
      </p:sp>
      <p:pic>
        <p:nvPicPr>
          <p:cNvPr id="247" name="Image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951" y="3103626"/>
            <a:ext cx="1835150" cy="1931924"/>
          </a:xfrm>
          <a:prstGeom prst="rect">
            <a:avLst/>
          </a:prstGeom>
        </p:spPr>
      </p:pic>
      <p:pic>
        <p:nvPicPr>
          <p:cNvPr id="248" name="Image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16301" y="3451337"/>
            <a:ext cx="2751074" cy="1584325"/>
          </a:xfrm>
          <a:prstGeom prst="rect">
            <a:avLst/>
          </a:prstGeom>
        </p:spPr>
      </p:pic>
      <p:pic>
        <p:nvPicPr>
          <p:cNvPr id="249" name="Image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3178" y="-126"/>
            <a:ext cx="1538224" cy="2078101"/>
          </a:xfrm>
          <a:prstGeom prst="rect">
            <a:avLst/>
          </a:prstGeom>
        </p:spPr>
      </p:pic>
      <p:pic>
        <p:nvPicPr>
          <p:cNvPr id="250" name="Image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4507" y="3425810"/>
            <a:ext cx="1630299" cy="1589151"/>
          </a:xfrm>
          <a:prstGeom prst="rect">
            <a:avLst/>
          </a:prstGeom>
        </p:spPr>
      </p:pic>
      <p:pic>
        <p:nvPicPr>
          <p:cNvPr id="251" name="Image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561848"/>
            <a:ext cx="2519362" cy="1992376"/>
          </a:xfrm>
          <a:prstGeom prst="rect">
            <a:avLst/>
          </a:prstGeom>
        </p:spPr>
      </p:pic>
      <p:pic>
        <p:nvPicPr>
          <p:cNvPr id="252" name="Image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3926" y="0"/>
            <a:ext cx="4659249" cy="2621026"/>
          </a:xfrm>
          <a:prstGeom prst="rect">
            <a:avLst/>
          </a:prstGeom>
        </p:spPr>
      </p:pic>
      <p:pic>
        <p:nvPicPr>
          <p:cNvPr id="253" name="Image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5375" y="190612"/>
            <a:ext cx="1692275" cy="1908175"/>
          </a:xfrm>
          <a:prstGeom prst="rect">
            <a:avLst/>
          </a:prstGeom>
        </p:spPr>
      </p:pic>
      <p:sp>
        <p:nvSpPr>
          <p:cNvPr id="4" name="text 1"/>
          <p:cNvSpPr txBox="1"/>
          <p:nvPr/>
        </p:nvSpPr>
        <p:spPr>
          <a:xfrm>
            <a:off x="1541399" y="4684440"/>
            <a:ext cx="3525004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2400" b="1" spc="10" dirty="0">
                <a:solidFill>
                  <a:srgbClr val="0E5393"/>
                </a:solidFill>
                <a:latin typeface="Arial"/>
                <a:cs typeface="Arial"/>
              </a:rPr>
              <a:t>And  DO  NOT  FORGET</a:t>
            </a:r>
            <a:endParaRPr sz="2400">
              <a:solidFill>
                <a:prstClr val="black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155" y="1529568"/>
            <a:ext cx="2294142" cy="32539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27" y="4776770"/>
            <a:ext cx="2075651" cy="1982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9564" y="2564904"/>
            <a:ext cx="2180468" cy="2687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5966" y="5174269"/>
            <a:ext cx="1986086" cy="17071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1758" y="1485232"/>
            <a:ext cx="1876218" cy="29833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1470" y="4636049"/>
            <a:ext cx="2036794" cy="1673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942"/>
            <a:ext cx="2952328" cy="13288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5934" y="4961255"/>
            <a:ext cx="1753868" cy="1724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8" name="Picture 14" descr="C:\Users\A.DAMARIO.lenovo\Desktop\European-Livestock-And-Meat-Trading-Union-UECBV-logo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8" y="3284984"/>
            <a:ext cx="1329129" cy="1000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9" name="Picture 15" descr="C:\Users\A.DAMARIO.lenovo\Desktop\CELCAA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9" y="2563672"/>
            <a:ext cx="2088231" cy="361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C:\Users\A.DAMARIO.lenovo\Desktop\eurocoop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0761" y="1821288"/>
            <a:ext cx="2159967" cy="487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1" name="Picture 17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5675" y="267979"/>
            <a:ext cx="2129921" cy="1386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7346" name="Picture 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9564" y="1479823"/>
            <a:ext cx="1820428" cy="1122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29821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9634" name="Picture 2" descr="C:\Users\A.DAMARIO.lenovo\Desktop\food conference\PDFsam_merge2\PDFsam_merge2_Page_5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0325" y="0"/>
            <a:ext cx="9229432" cy="65253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146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2706" name="Picture 2" descr="C:\Users\A.DAMARIO.lenovo\Desktop\food conference\PDFsam_merge2\PDFsam_merge2_Page_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8599" y="1"/>
            <a:ext cx="9229432" cy="6525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8997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3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0"/>
            <a:ext cx="4572000" cy="6858000"/>
          </a:xfrm>
          <a:prstGeom prst="rect">
            <a:avLst/>
          </a:prstGeom>
        </p:spPr>
      </p:pic>
      <p:pic>
        <p:nvPicPr>
          <p:cNvPr id="4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2001774"/>
          </a:xfrm>
          <a:prstGeom prst="rect">
            <a:avLst/>
          </a:prstGeom>
        </p:spPr>
      </p:pic>
      <p:sp>
        <p:nvSpPr>
          <p:cNvPr id="6" name="text 1"/>
          <p:cNvSpPr txBox="1"/>
          <p:nvPr/>
        </p:nvSpPr>
        <p:spPr>
          <a:xfrm>
            <a:off x="5015230" y="6426636"/>
            <a:ext cx="89383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000" spc="10" dirty="0">
                <a:solidFill>
                  <a:srgbClr val="FFFFFF"/>
                </a:solidFill>
                <a:latin typeface="Verdana"/>
                <a:cs typeface="Verdana"/>
              </a:rPr>
              <a:t>24 June 2016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7" name="text 1"/>
          <p:cNvSpPr txBox="1"/>
          <p:nvPr/>
        </p:nvSpPr>
        <p:spPr>
          <a:xfrm>
            <a:off x="5201667" y="2227526"/>
            <a:ext cx="2979790" cy="104336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980" spc="10" dirty="0">
                <a:solidFill>
                  <a:srgbClr val="FFFFFF"/>
                </a:solidFill>
                <a:latin typeface="Verdana"/>
                <a:cs typeface="Verdana"/>
              </a:rPr>
              <a:t>Food  Fraud  en  Food</a:t>
            </a:r>
            <a:endParaRPr sz="1900">
              <a:latin typeface="Verdana"/>
              <a:cs typeface="Verdana"/>
            </a:endParaRPr>
          </a:p>
          <a:p>
            <a:pPr marL="327660">
              <a:lnSpc>
                <a:spcPct val="100000"/>
              </a:lnSpc>
            </a:pPr>
            <a:r>
              <a:rPr sz="2400" spc="10" dirty="0">
                <a:solidFill>
                  <a:srgbClr val="FFFFFF"/>
                </a:solidFill>
                <a:latin typeface="Verdana"/>
                <a:cs typeface="Verdana"/>
              </a:rPr>
              <a:t>Integrity  in  The</a:t>
            </a:r>
            <a:endParaRPr sz="2400">
              <a:latin typeface="Verdana"/>
              <a:cs typeface="Verdana"/>
            </a:endParaRPr>
          </a:p>
          <a:p>
            <a:pPr marL="600456">
              <a:lnSpc>
                <a:spcPct val="100000"/>
              </a:lnSpc>
            </a:pPr>
            <a:r>
              <a:rPr sz="2400" spc="10" dirty="0">
                <a:solidFill>
                  <a:srgbClr val="FFFFFF"/>
                </a:solidFill>
                <a:latin typeface="Verdana"/>
                <a:cs typeface="Verdana"/>
              </a:rPr>
              <a:t>Netherlands</a:t>
            </a:r>
            <a:endParaRPr sz="2400">
              <a:latin typeface="Verdana"/>
              <a:cs typeface="Verdana"/>
            </a:endParaRPr>
          </a:p>
        </p:txBody>
      </p:sp>
      <p:sp>
        <p:nvSpPr>
          <p:cNvPr id="8" name="text 1"/>
          <p:cNvSpPr txBox="1"/>
          <p:nvPr/>
        </p:nvSpPr>
        <p:spPr>
          <a:xfrm>
            <a:off x="5015233" y="3802042"/>
            <a:ext cx="3942105" cy="812530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740" spc="10" dirty="0">
                <a:solidFill>
                  <a:srgbClr val="FFFFFF"/>
                </a:solidFill>
                <a:latin typeface="Verdana"/>
                <a:cs typeface="Verdana"/>
              </a:rPr>
              <a:t>Dr  Harry  Paul,  inspector-general</a:t>
            </a:r>
            <a:endParaRPr sz="1700">
              <a:latin typeface="Verdana"/>
              <a:cs typeface="Verdana"/>
            </a:endParaRPr>
          </a:p>
          <a:p>
            <a:pPr marL="0">
              <a:lnSpc>
                <a:spcPct val="100000"/>
              </a:lnSpc>
            </a:pPr>
            <a:r>
              <a:rPr sz="1740" spc="10" dirty="0">
                <a:solidFill>
                  <a:srgbClr val="FFFFFF"/>
                </a:solidFill>
                <a:latin typeface="Verdana"/>
                <a:cs typeface="Verdana"/>
              </a:rPr>
              <a:t>Netherlands  Food  and  Consumer</a:t>
            </a:r>
            <a:endParaRPr sz="1700">
              <a:latin typeface="Verdana"/>
              <a:cs typeface="Verdana"/>
            </a:endParaRPr>
          </a:p>
          <a:p>
            <a:pPr marL="0">
              <a:lnSpc>
                <a:spcPct val="100000"/>
              </a:lnSpc>
            </a:pPr>
            <a:r>
              <a:rPr sz="1800" spc="10" dirty="0">
                <a:solidFill>
                  <a:srgbClr val="FFFFFF"/>
                </a:solidFill>
                <a:latin typeface="Verdana"/>
                <a:cs typeface="Verdana"/>
              </a:rPr>
              <a:t>Product  Safety  Authority</a:t>
            </a:r>
            <a:endParaRPr sz="1800">
              <a:latin typeface="Verdana"/>
              <a:cs typeface="Verdana"/>
            </a:endParaRPr>
          </a:p>
        </p:txBody>
      </p:sp>
      <p:pic>
        <p:nvPicPr>
          <p:cNvPr id="5" name="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881" y="2492439"/>
            <a:ext cx="4189349" cy="3154299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"/>
            <a:ext cx="9144000" cy="1071562"/>
          </a:xfrm>
          <a:prstGeom prst="rect">
            <a:avLst/>
          </a:prstGeom>
        </p:spPr>
      </p:pic>
      <p:pic>
        <p:nvPicPr>
          <p:cNvPr id="8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18250"/>
            <a:ext cx="9144000" cy="539750"/>
          </a:xfrm>
          <a:prstGeom prst="rect">
            <a:avLst/>
          </a:prstGeom>
        </p:spPr>
      </p:pic>
      <p:pic>
        <p:nvPicPr>
          <p:cNvPr id="9" name="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9750" y="4"/>
            <a:ext cx="431800" cy="860425"/>
          </a:xfrm>
          <a:prstGeom prst="rect">
            <a:avLst/>
          </a:prstGeom>
        </p:spPr>
      </p:pic>
      <p:sp>
        <p:nvSpPr>
          <p:cNvPr id="2" name="text 1"/>
          <p:cNvSpPr txBox="1"/>
          <p:nvPr/>
        </p:nvSpPr>
        <p:spPr>
          <a:xfrm>
            <a:off x="458115" y="1316431"/>
            <a:ext cx="7674152" cy="372410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2420" spc="10" dirty="0">
                <a:solidFill>
                  <a:srgbClr val="D10039"/>
                </a:solidFill>
                <a:latin typeface="Verdana"/>
                <a:cs typeface="Verdana"/>
              </a:rPr>
              <a:t>Food  safety  and  integrity  in  The  Netherlands</a:t>
            </a:r>
            <a:endParaRPr sz="2400">
              <a:latin typeface="Verdana"/>
              <a:cs typeface="Verdana"/>
            </a:endParaRPr>
          </a:p>
        </p:txBody>
      </p:sp>
      <p:sp>
        <p:nvSpPr>
          <p:cNvPr id="3" name="text 1"/>
          <p:cNvSpPr txBox="1"/>
          <p:nvPr/>
        </p:nvSpPr>
        <p:spPr>
          <a:xfrm>
            <a:off x="1242365" y="4696959"/>
            <a:ext cx="2488502" cy="109876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800" spc="10" dirty="0">
                <a:latin typeface="Verdana"/>
                <a:cs typeface="Verdana"/>
              </a:rPr>
              <a:t>Ministry  of  Health,  </a:t>
            </a:r>
            <a:endParaRPr sz="1800">
              <a:latin typeface="Verdana"/>
              <a:cs typeface="Verdana"/>
            </a:endParaRPr>
          </a:p>
          <a:p>
            <a:pPr marL="0">
              <a:lnSpc>
                <a:spcPct val="100000"/>
              </a:lnSpc>
            </a:pPr>
            <a:r>
              <a:rPr sz="1740" spc="10" dirty="0">
                <a:latin typeface="Verdana"/>
                <a:cs typeface="Verdana"/>
              </a:rPr>
              <a:t>Welfare  and  Sports:</a:t>
            </a:r>
            <a:endParaRPr sz="1700">
              <a:latin typeface="Verdana"/>
              <a:cs typeface="Verdana"/>
            </a:endParaRPr>
          </a:p>
          <a:p>
            <a:pPr marL="565353">
              <a:lnSpc>
                <a:spcPct val="100000"/>
              </a:lnSpc>
            </a:pPr>
            <a:r>
              <a:rPr sz="1800" spc="10" dirty="0">
                <a:latin typeface="Times New Roman"/>
                <a:cs typeface="Times New Roman"/>
              </a:rPr>
              <a:t>•     </a:t>
            </a:r>
            <a:r>
              <a:rPr sz="1800" spc="10" dirty="0">
                <a:latin typeface="Verdana"/>
                <a:cs typeface="Verdana"/>
              </a:rPr>
              <a:t>Food</a:t>
            </a:r>
            <a:endParaRPr sz="1800">
              <a:latin typeface="Verdana"/>
              <a:cs typeface="Verdana"/>
            </a:endParaRPr>
          </a:p>
          <a:p>
            <a:pPr marL="565353">
              <a:lnSpc>
                <a:spcPct val="100000"/>
              </a:lnSpc>
            </a:pPr>
            <a:r>
              <a:rPr sz="1800" spc="10" dirty="0">
                <a:latin typeface="Times New Roman"/>
                <a:cs typeface="Times New Roman"/>
              </a:rPr>
              <a:t>•     </a:t>
            </a:r>
            <a:r>
              <a:rPr sz="1800" spc="10" dirty="0">
                <a:latin typeface="Verdana"/>
                <a:cs typeface="Verdana"/>
              </a:rPr>
              <a:t>Consumer</a:t>
            </a:r>
            <a:endParaRPr sz="1800">
              <a:latin typeface="Verdana"/>
              <a:cs typeface="Verdana"/>
            </a:endParaRPr>
          </a:p>
        </p:txBody>
      </p:sp>
      <p:sp>
        <p:nvSpPr>
          <p:cNvPr id="4" name="text 1"/>
          <p:cNvSpPr txBox="1"/>
          <p:nvPr/>
        </p:nvSpPr>
        <p:spPr>
          <a:xfrm>
            <a:off x="4568952" y="6585437"/>
            <a:ext cx="89383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000" spc="10" dirty="0">
                <a:solidFill>
                  <a:srgbClr val="FFFFFF"/>
                </a:solidFill>
                <a:latin typeface="Verdana"/>
                <a:cs typeface="Verdana"/>
              </a:rPr>
              <a:t>24 June 2016</a:t>
            </a:r>
            <a:endParaRPr sz="1000">
              <a:latin typeface="Verdana"/>
              <a:cs typeface="Verdana"/>
            </a:endParaRPr>
          </a:p>
        </p:txBody>
      </p:sp>
      <p:pic>
        <p:nvPicPr>
          <p:cNvPr id="10" name="Image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8943" y="2624078"/>
            <a:ext cx="1635125" cy="1920875"/>
          </a:xfrm>
          <a:prstGeom prst="rect">
            <a:avLst/>
          </a:prstGeom>
        </p:spPr>
      </p:pic>
      <p:sp>
        <p:nvSpPr>
          <p:cNvPr id="5" name="text 1"/>
          <p:cNvSpPr txBox="1"/>
          <p:nvPr/>
        </p:nvSpPr>
        <p:spPr>
          <a:xfrm>
            <a:off x="3521385" y="1912283"/>
            <a:ext cx="1487587" cy="3693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2400" spc="10" dirty="0">
                <a:latin typeface="Arial"/>
                <a:cs typeface="Arial"/>
              </a:rPr>
              <a:t>Regulation</a:t>
            </a:r>
            <a:endParaRPr sz="2400">
              <a:latin typeface="Arial"/>
              <a:cs typeface="Arial"/>
            </a:endParaRPr>
          </a:p>
        </p:txBody>
      </p:sp>
      <p:sp>
        <p:nvSpPr>
          <p:cNvPr id="12" name="text 1"/>
          <p:cNvSpPr txBox="1"/>
          <p:nvPr/>
        </p:nvSpPr>
        <p:spPr>
          <a:xfrm>
            <a:off x="5312040" y="4625748"/>
            <a:ext cx="2500043" cy="544765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740" spc="10" dirty="0">
                <a:latin typeface="Verdana"/>
                <a:cs typeface="Verdana"/>
              </a:rPr>
              <a:t>Ministry  of  Economic</a:t>
            </a:r>
            <a:endParaRPr sz="1700">
              <a:latin typeface="Verdana"/>
              <a:cs typeface="Verdana"/>
            </a:endParaRPr>
          </a:p>
          <a:p>
            <a:pPr marL="0">
              <a:lnSpc>
                <a:spcPct val="100000"/>
              </a:lnSpc>
            </a:pPr>
            <a:r>
              <a:rPr sz="1800" spc="10" dirty="0">
                <a:latin typeface="Verdana"/>
                <a:cs typeface="Verdana"/>
              </a:rPr>
              <a:t>Affairs</a:t>
            </a:r>
            <a:endParaRPr sz="1800">
              <a:latin typeface="Verdana"/>
              <a:cs typeface="Verdana"/>
            </a:endParaRPr>
          </a:p>
        </p:txBody>
      </p:sp>
      <p:sp>
        <p:nvSpPr>
          <p:cNvPr id="13" name="text 1"/>
          <p:cNvSpPr txBox="1"/>
          <p:nvPr/>
        </p:nvSpPr>
        <p:spPr>
          <a:xfrm>
            <a:off x="5312084" y="5197310"/>
            <a:ext cx="81433" cy="83099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800" spc="10" dirty="0">
                <a:latin typeface="Arial"/>
                <a:cs typeface="Arial"/>
              </a:rPr>
              <a:t>•</a:t>
            </a:r>
            <a:endParaRPr sz="1800">
              <a:latin typeface="Arial"/>
              <a:cs typeface="Arial"/>
            </a:endParaRPr>
          </a:p>
          <a:p>
            <a:pPr marL="0">
              <a:lnSpc>
                <a:spcPct val="100000"/>
              </a:lnSpc>
            </a:pPr>
            <a:r>
              <a:rPr sz="1800" spc="10" dirty="0">
                <a:latin typeface="Arial"/>
                <a:cs typeface="Arial"/>
              </a:rPr>
              <a:t>•</a:t>
            </a:r>
            <a:endParaRPr sz="1800">
              <a:latin typeface="Arial"/>
              <a:cs typeface="Arial"/>
            </a:endParaRPr>
          </a:p>
          <a:p>
            <a:pPr marL="0">
              <a:lnSpc>
                <a:spcPct val="100000"/>
              </a:lnSpc>
            </a:pPr>
            <a:r>
              <a:rPr sz="1800" spc="10" dirty="0">
                <a:latin typeface="Arial"/>
                <a:cs typeface="Arial"/>
              </a:rPr>
              <a:t>•</a:t>
            </a:r>
            <a:endParaRPr sz="1800">
              <a:latin typeface="Arial"/>
              <a:cs typeface="Arial"/>
            </a:endParaRPr>
          </a:p>
        </p:txBody>
      </p:sp>
      <p:sp>
        <p:nvSpPr>
          <p:cNvPr id="14" name="text 1"/>
          <p:cNvSpPr txBox="1"/>
          <p:nvPr/>
        </p:nvSpPr>
        <p:spPr>
          <a:xfrm>
            <a:off x="5598550" y="5174336"/>
            <a:ext cx="1280479" cy="2769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800" spc="10" dirty="0">
                <a:latin typeface="Verdana"/>
                <a:cs typeface="Verdana"/>
              </a:rPr>
              <a:t>Agriculture</a:t>
            </a:r>
            <a:endParaRPr sz="1800">
              <a:latin typeface="Verdana"/>
              <a:cs typeface="Verdana"/>
            </a:endParaRPr>
          </a:p>
        </p:txBody>
      </p:sp>
      <p:sp>
        <p:nvSpPr>
          <p:cNvPr id="15" name="text 1"/>
          <p:cNvSpPr txBox="1"/>
          <p:nvPr/>
        </p:nvSpPr>
        <p:spPr>
          <a:xfrm>
            <a:off x="5598541" y="5448902"/>
            <a:ext cx="2116926" cy="55399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800" spc="10" dirty="0">
                <a:latin typeface="Verdana"/>
                <a:cs typeface="Verdana"/>
              </a:rPr>
              <a:t>Slaughter  houses</a:t>
            </a:r>
            <a:endParaRPr sz="1800">
              <a:latin typeface="Verdana"/>
              <a:cs typeface="Verdana"/>
            </a:endParaRPr>
          </a:p>
          <a:p>
            <a:pPr marL="0">
              <a:lnSpc>
                <a:spcPct val="100000"/>
              </a:lnSpc>
            </a:pPr>
            <a:r>
              <a:rPr sz="1800" spc="10" dirty="0">
                <a:latin typeface="Verdana"/>
                <a:cs typeface="Verdana"/>
              </a:rPr>
              <a:t>Freeze  houses</a:t>
            </a:r>
            <a:endParaRPr sz="1800">
              <a:latin typeface="Verdana"/>
              <a:cs typeface="Verdana"/>
            </a:endParaRPr>
          </a:p>
        </p:txBody>
      </p:sp>
      <p:pic>
        <p:nvPicPr>
          <p:cNvPr id="11" name="Image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9700" y="2636780"/>
            <a:ext cx="2211324" cy="1660525"/>
          </a:xfrm>
          <a:prstGeom prst="rect">
            <a:avLst/>
          </a:prstGeom>
        </p:spPr>
      </p:pic>
      <p:sp>
        <p:nvSpPr>
          <p:cNvPr id="16" name="text 1"/>
          <p:cNvSpPr txBox="1"/>
          <p:nvPr/>
        </p:nvSpPr>
        <p:spPr>
          <a:xfrm>
            <a:off x="478840" y="6406217"/>
            <a:ext cx="8303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000" spc="10" dirty="0">
                <a:solidFill>
                  <a:srgbClr val="FFFFFF"/>
                </a:solidFill>
                <a:latin typeface="Verdana"/>
                <a:cs typeface="Verdana"/>
              </a:rPr>
              <a:t>2</a:t>
            </a:r>
            <a:endParaRPr sz="100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3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"/>
            <a:ext cx="9144000" cy="1071562"/>
          </a:xfrm>
          <a:prstGeom prst="rect">
            <a:avLst/>
          </a:prstGeom>
        </p:spPr>
      </p:pic>
      <p:pic>
        <p:nvPicPr>
          <p:cNvPr id="14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18250"/>
            <a:ext cx="9144000" cy="539750"/>
          </a:xfrm>
          <a:prstGeom prst="rect">
            <a:avLst/>
          </a:prstGeom>
        </p:spPr>
      </p:pic>
      <p:pic>
        <p:nvPicPr>
          <p:cNvPr id="15" name="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9750" y="4"/>
            <a:ext cx="431800" cy="860425"/>
          </a:xfrm>
          <a:prstGeom prst="rect">
            <a:avLst/>
          </a:prstGeom>
        </p:spPr>
      </p:pic>
      <p:sp>
        <p:nvSpPr>
          <p:cNvPr id="2" name="text 1"/>
          <p:cNvSpPr txBox="1"/>
          <p:nvPr/>
        </p:nvSpPr>
        <p:spPr>
          <a:xfrm>
            <a:off x="458115" y="1316431"/>
            <a:ext cx="7674152" cy="372410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2420" spc="10" dirty="0">
                <a:solidFill>
                  <a:srgbClr val="D10039"/>
                </a:solidFill>
                <a:latin typeface="Verdana"/>
                <a:cs typeface="Verdana"/>
              </a:rPr>
              <a:t>Food  safety  and  integrity  in  The  Netherlands</a:t>
            </a:r>
            <a:endParaRPr sz="2400">
              <a:latin typeface="Verdana"/>
              <a:cs typeface="Verdana"/>
            </a:endParaRPr>
          </a:p>
        </p:txBody>
      </p:sp>
      <p:sp>
        <p:nvSpPr>
          <p:cNvPr id="3" name="text 1"/>
          <p:cNvSpPr txBox="1"/>
          <p:nvPr/>
        </p:nvSpPr>
        <p:spPr>
          <a:xfrm>
            <a:off x="2104390" y="1842178"/>
            <a:ext cx="4867294" cy="26776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740" spc="10" dirty="0">
                <a:latin typeface="Verdana"/>
                <a:cs typeface="Verdana"/>
              </a:rPr>
              <a:t>Surveillance,  Detection  and  Enforcement</a:t>
            </a:r>
            <a:endParaRPr sz="1700">
              <a:latin typeface="Verdana"/>
              <a:cs typeface="Verdana"/>
            </a:endParaRPr>
          </a:p>
        </p:txBody>
      </p:sp>
      <p:sp>
        <p:nvSpPr>
          <p:cNvPr id="4" name="text 1"/>
          <p:cNvSpPr txBox="1"/>
          <p:nvPr/>
        </p:nvSpPr>
        <p:spPr>
          <a:xfrm>
            <a:off x="651969" y="2500656"/>
            <a:ext cx="8270854" cy="80791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650" spc="10" dirty="0">
                <a:latin typeface="Verdana"/>
                <a:cs typeface="Verdana"/>
              </a:rPr>
              <a:t>Netherlands  Food  and  Consumer  Product  Safety  Authority  (NVWA)  </a:t>
            </a:r>
            <a:endParaRPr sz="1600">
              <a:latin typeface="Verdana"/>
              <a:cs typeface="Verdana"/>
            </a:endParaRPr>
          </a:p>
          <a:p>
            <a:pPr marL="195072">
              <a:lnSpc>
                <a:spcPct val="100000"/>
              </a:lnSpc>
            </a:pPr>
            <a:r>
              <a:rPr sz="1800" spc="10" dirty="0">
                <a:latin typeface="Times New Roman"/>
                <a:cs typeface="Times New Roman"/>
              </a:rPr>
              <a:t>•     </a:t>
            </a:r>
            <a:r>
              <a:rPr sz="1800" spc="10" dirty="0">
                <a:latin typeface="Verdana"/>
                <a:cs typeface="Verdana"/>
              </a:rPr>
              <a:t>Surveillance  and  enforcement  (administrative  &amp;  criminal  law)</a:t>
            </a:r>
            <a:endParaRPr sz="1800">
              <a:latin typeface="Verdana"/>
              <a:cs typeface="Verdana"/>
            </a:endParaRPr>
          </a:p>
          <a:p>
            <a:pPr marL="195072">
              <a:lnSpc>
                <a:spcPct val="100000"/>
              </a:lnSpc>
            </a:pPr>
            <a:r>
              <a:rPr sz="1800" spc="10" dirty="0">
                <a:latin typeface="Times New Roman"/>
                <a:cs typeface="Times New Roman"/>
              </a:rPr>
              <a:t>•     </a:t>
            </a:r>
            <a:r>
              <a:rPr sz="1800" spc="10" dirty="0">
                <a:latin typeface="Verdana"/>
                <a:cs typeface="Verdana"/>
              </a:rPr>
              <a:t>NVWA-IOD:  intelligence  and  investigation  (criminal  law)</a:t>
            </a:r>
            <a:endParaRPr sz="1800">
              <a:latin typeface="Verdana"/>
              <a:cs typeface="Verdana"/>
            </a:endParaRPr>
          </a:p>
        </p:txBody>
      </p:sp>
      <p:sp>
        <p:nvSpPr>
          <p:cNvPr id="5" name="text 1"/>
          <p:cNvSpPr txBox="1"/>
          <p:nvPr/>
        </p:nvSpPr>
        <p:spPr>
          <a:xfrm>
            <a:off x="847039" y="3817662"/>
            <a:ext cx="7422160" cy="51244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590" spc="10" dirty="0">
                <a:latin typeface="Verdana"/>
                <a:cs typeface="Verdana"/>
              </a:rPr>
              <a:t>Important:  For  food-,  feed-  and  animal  related  issues  all  these</a:t>
            </a:r>
            <a:endParaRPr sz="1500">
              <a:latin typeface="Verdana"/>
              <a:cs typeface="Verdana"/>
            </a:endParaRPr>
          </a:p>
          <a:p>
            <a:pPr marL="184404">
              <a:lnSpc>
                <a:spcPct val="100000"/>
              </a:lnSpc>
            </a:pPr>
            <a:r>
              <a:rPr sz="1740" spc="10" dirty="0">
                <a:latin typeface="Verdana"/>
                <a:cs typeface="Verdana"/>
              </a:rPr>
              <a:t>activities  are  in  one  organisation:  NVWA  (and  NVWA-IOD).</a:t>
            </a:r>
            <a:endParaRPr sz="1700">
              <a:latin typeface="Verdana"/>
              <a:cs typeface="Verdana"/>
            </a:endParaRPr>
          </a:p>
        </p:txBody>
      </p:sp>
      <p:sp>
        <p:nvSpPr>
          <p:cNvPr id="6" name="text 1"/>
          <p:cNvSpPr txBox="1"/>
          <p:nvPr/>
        </p:nvSpPr>
        <p:spPr>
          <a:xfrm>
            <a:off x="847039" y="4750716"/>
            <a:ext cx="7347652" cy="52168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590" spc="10" dirty="0">
                <a:latin typeface="Verdana"/>
                <a:cs typeface="Verdana"/>
              </a:rPr>
              <a:t>The  NVWA-IOD  is  working  together  with  the  Public  Prosecutor  in</a:t>
            </a:r>
            <a:endParaRPr sz="1500">
              <a:latin typeface="Verdana"/>
              <a:cs typeface="Verdana"/>
            </a:endParaRPr>
          </a:p>
          <a:p>
            <a:pPr marL="184404">
              <a:lnSpc>
                <a:spcPct val="100000"/>
              </a:lnSpc>
            </a:pPr>
            <a:r>
              <a:rPr sz="1800" spc="10" dirty="0">
                <a:latin typeface="Verdana"/>
                <a:cs typeface="Verdana"/>
              </a:rPr>
              <a:t>food-,  feed-  or  animal  related  issues.  </a:t>
            </a:r>
            <a:endParaRPr sz="1800">
              <a:latin typeface="Verdana"/>
              <a:cs typeface="Verdana"/>
            </a:endParaRPr>
          </a:p>
        </p:txBody>
      </p:sp>
      <p:sp>
        <p:nvSpPr>
          <p:cNvPr id="7" name="text 1"/>
          <p:cNvSpPr txBox="1"/>
          <p:nvPr/>
        </p:nvSpPr>
        <p:spPr>
          <a:xfrm>
            <a:off x="4568952" y="6585437"/>
            <a:ext cx="89383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000" spc="10" dirty="0">
                <a:solidFill>
                  <a:srgbClr val="FFFFFF"/>
                </a:solidFill>
                <a:latin typeface="Verdana"/>
                <a:cs typeface="Verdana"/>
              </a:rPr>
              <a:t>24 June 2016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8" name="text 1"/>
          <p:cNvSpPr txBox="1"/>
          <p:nvPr/>
        </p:nvSpPr>
        <p:spPr>
          <a:xfrm>
            <a:off x="478840" y="6406217"/>
            <a:ext cx="8303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000" spc="10" dirty="0">
                <a:solidFill>
                  <a:srgbClr val="FFFFFF"/>
                </a:solidFill>
                <a:latin typeface="Verdana"/>
                <a:cs typeface="Verdana"/>
              </a:rPr>
              <a:t>3</a:t>
            </a:r>
            <a:endParaRPr sz="10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17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"/>
            <a:ext cx="9144000" cy="1071562"/>
          </a:xfrm>
          <a:prstGeom prst="rect">
            <a:avLst/>
          </a:prstGeom>
        </p:spPr>
      </p:pic>
      <p:pic>
        <p:nvPicPr>
          <p:cNvPr id="18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18250"/>
            <a:ext cx="9144000" cy="539750"/>
          </a:xfrm>
          <a:prstGeom prst="rect">
            <a:avLst/>
          </a:prstGeom>
        </p:spPr>
      </p:pic>
      <p:pic>
        <p:nvPicPr>
          <p:cNvPr id="19" name="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9750" y="4"/>
            <a:ext cx="431800" cy="860425"/>
          </a:xfrm>
          <a:prstGeom prst="rect">
            <a:avLst/>
          </a:prstGeom>
        </p:spPr>
      </p:pic>
      <p:sp>
        <p:nvSpPr>
          <p:cNvPr id="2" name="text 1"/>
          <p:cNvSpPr txBox="1"/>
          <p:nvPr/>
        </p:nvSpPr>
        <p:spPr>
          <a:xfrm>
            <a:off x="321600" y="1889668"/>
            <a:ext cx="2796599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2000" spc="10" dirty="0">
                <a:latin typeface="Verdana"/>
                <a:cs typeface="Verdana"/>
              </a:rPr>
              <a:t>•   </a:t>
            </a:r>
            <a:r>
              <a:rPr sz="2000" b="1" spc="10" dirty="0">
                <a:latin typeface="Arial"/>
                <a:cs typeface="Arial"/>
              </a:rPr>
              <a:t>Horse</a:t>
            </a:r>
            <a:r>
              <a:rPr sz="2000" spc="10" dirty="0">
                <a:latin typeface="Verdana"/>
                <a:cs typeface="Verdana"/>
              </a:rPr>
              <a:t>gate  cases  </a:t>
            </a:r>
            <a:endParaRPr sz="2000">
              <a:latin typeface="Verdana"/>
              <a:cs typeface="Verdana"/>
            </a:endParaRPr>
          </a:p>
        </p:txBody>
      </p:sp>
      <p:sp>
        <p:nvSpPr>
          <p:cNvPr id="3" name="text 1"/>
          <p:cNvSpPr txBox="1"/>
          <p:nvPr/>
        </p:nvSpPr>
        <p:spPr>
          <a:xfrm>
            <a:off x="321613" y="2316749"/>
            <a:ext cx="4046301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2000" spc="10" dirty="0">
                <a:latin typeface="Verdana"/>
                <a:cs typeface="Verdana"/>
              </a:rPr>
              <a:t>•   </a:t>
            </a:r>
            <a:r>
              <a:rPr sz="2000" b="1" spc="10" dirty="0">
                <a:latin typeface="Arial"/>
                <a:cs typeface="Arial"/>
              </a:rPr>
              <a:t>Shellfish  </a:t>
            </a:r>
            <a:r>
              <a:rPr sz="2000" spc="10" dirty="0">
                <a:latin typeface="Verdana"/>
                <a:cs typeface="Verdana"/>
              </a:rPr>
              <a:t>recall/origin  fraud</a:t>
            </a:r>
            <a:endParaRPr sz="2000">
              <a:latin typeface="Verdana"/>
              <a:cs typeface="Verdana"/>
            </a:endParaRPr>
          </a:p>
        </p:txBody>
      </p:sp>
      <p:sp>
        <p:nvSpPr>
          <p:cNvPr id="4" name="text 1"/>
          <p:cNvSpPr txBox="1"/>
          <p:nvPr/>
        </p:nvSpPr>
        <p:spPr>
          <a:xfrm>
            <a:off x="321619" y="2743358"/>
            <a:ext cx="3896259" cy="61093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970" spc="10" dirty="0">
                <a:latin typeface="Verdana"/>
                <a:cs typeface="Verdana"/>
              </a:rPr>
              <a:t>• Illegal  import  </a:t>
            </a:r>
            <a:r>
              <a:rPr sz="1970" b="1" spc="10" dirty="0">
                <a:latin typeface="Arial"/>
                <a:cs typeface="Arial"/>
              </a:rPr>
              <a:t>Chinese  pork</a:t>
            </a:r>
            <a:endParaRPr sz="1900">
              <a:latin typeface="Arial"/>
              <a:cs typeface="Arial"/>
            </a:endParaRPr>
          </a:p>
          <a:p>
            <a:pPr marL="180136">
              <a:lnSpc>
                <a:spcPct val="100000"/>
              </a:lnSpc>
            </a:pPr>
            <a:r>
              <a:rPr sz="2000" b="1" spc="10" dirty="0">
                <a:latin typeface="Arial"/>
                <a:cs typeface="Arial"/>
              </a:rPr>
              <a:t>in  dim  sum</a:t>
            </a:r>
            <a:endParaRPr sz="2000">
              <a:latin typeface="Arial"/>
              <a:cs typeface="Arial"/>
            </a:endParaRPr>
          </a:p>
        </p:txBody>
      </p:sp>
      <p:sp>
        <p:nvSpPr>
          <p:cNvPr id="5" name="text 1"/>
          <p:cNvSpPr txBox="1"/>
          <p:nvPr/>
        </p:nvSpPr>
        <p:spPr>
          <a:xfrm>
            <a:off x="321565" y="3475131"/>
            <a:ext cx="3174715" cy="303160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970" spc="10" dirty="0">
                <a:latin typeface="Verdana"/>
                <a:cs typeface="Verdana"/>
              </a:rPr>
              <a:t>• Free  range  </a:t>
            </a:r>
            <a:r>
              <a:rPr sz="1970" b="1" spc="10" dirty="0">
                <a:latin typeface="Arial"/>
                <a:cs typeface="Arial"/>
              </a:rPr>
              <a:t>egg</a:t>
            </a:r>
            <a:r>
              <a:rPr sz="1970" spc="10" dirty="0">
                <a:latin typeface="Verdana"/>
                <a:cs typeface="Verdana"/>
              </a:rPr>
              <a:t>  fraud</a:t>
            </a:r>
            <a:endParaRPr sz="1900">
              <a:latin typeface="Verdana"/>
              <a:cs typeface="Verdana"/>
            </a:endParaRPr>
          </a:p>
        </p:txBody>
      </p:sp>
      <p:sp>
        <p:nvSpPr>
          <p:cNvPr id="6" name="text 1"/>
          <p:cNvSpPr txBox="1"/>
          <p:nvPr/>
        </p:nvSpPr>
        <p:spPr>
          <a:xfrm>
            <a:off x="321564" y="3901856"/>
            <a:ext cx="2852832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2000" spc="10" dirty="0">
                <a:latin typeface="Verdana"/>
                <a:cs typeface="Verdana"/>
              </a:rPr>
              <a:t>• (Perishable)  </a:t>
            </a:r>
            <a:r>
              <a:rPr sz="2000" b="1" spc="10" dirty="0">
                <a:latin typeface="Arial"/>
                <a:cs typeface="Arial"/>
              </a:rPr>
              <a:t>cheese</a:t>
            </a:r>
            <a:endParaRPr sz="2000">
              <a:latin typeface="Arial"/>
              <a:cs typeface="Arial"/>
            </a:endParaRPr>
          </a:p>
        </p:txBody>
      </p:sp>
      <p:sp>
        <p:nvSpPr>
          <p:cNvPr id="7" name="text 1"/>
          <p:cNvSpPr txBox="1"/>
          <p:nvPr/>
        </p:nvSpPr>
        <p:spPr>
          <a:xfrm>
            <a:off x="321576" y="4328683"/>
            <a:ext cx="3190617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2000" spc="10" dirty="0">
                <a:latin typeface="Verdana"/>
                <a:cs typeface="Verdana"/>
              </a:rPr>
              <a:t>•   </a:t>
            </a:r>
            <a:r>
              <a:rPr sz="2000" b="1" spc="10" dirty="0">
                <a:latin typeface="Arial"/>
                <a:cs typeface="Arial"/>
              </a:rPr>
              <a:t>Antibiotics  </a:t>
            </a:r>
            <a:r>
              <a:rPr sz="2000" spc="10" dirty="0">
                <a:latin typeface="Verdana"/>
                <a:cs typeface="Verdana"/>
              </a:rPr>
              <a:t>in  </a:t>
            </a:r>
            <a:r>
              <a:rPr sz="2000" b="1" spc="10" dirty="0">
                <a:latin typeface="Arial"/>
                <a:cs typeface="Arial"/>
              </a:rPr>
              <a:t>poultry</a:t>
            </a:r>
            <a:endParaRPr sz="2000">
              <a:latin typeface="Verdana"/>
              <a:cs typeface="Verdana"/>
            </a:endParaRPr>
          </a:p>
        </p:txBody>
      </p:sp>
      <p:sp>
        <p:nvSpPr>
          <p:cNvPr id="8" name="text 1"/>
          <p:cNvSpPr txBox="1"/>
          <p:nvPr/>
        </p:nvSpPr>
        <p:spPr>
          <a:xfrm>
            <a:off x="321564" y="4755784"/>
            <a:ext cx="2374048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2000" spc="10" dirty="0">
                <a:latin typeface="Verdana"/>
                <a:cs typeface="Verdana"/>
              </a:rPr>
              <a:t>• Illegal  </a:t>
            </a:r>
            <a:r>
              <a:rPr sz="2000" b="1" spc="10" dirty="0">
                <a:latin typeface="Arial"/>
                <a:cs typeface="Arial"/>
              </a:rPr>
              <a:t>slaughter</a:t>
            </a:r>
            <a:endParaRPr sz="2000">
              <a:latin typeface="Arial"/>
              <a:cs typeface="Arial"/>
            </a:endParaRPr>
          </a:p>
        </p:txBody>
      </p:sp>
      <p:sp>
        <p:nvSpPr>
          <p:cNvPr id="9" name="text 1"/>
          <p:cNvSpPr txBox="1"/>
          <p:nvPr/>
        </p:nvSpPr>
        <p:spPr>
          <a:xfrm>
            <a:off x="321565" y="5182502"/>
            <a:ext cx="3615092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2000" spc="10" dirty="0">
                <a:latin typeface="Verdana"/>
                <a:cs typeface="Verdana"/>
              </a:rPr>
              <a:t>• Fraud  with  </a:t>
            </a:r>
            <a:r>
              <a:rPr sz="2000" b="1" spc="10" dirty="0">
                <a:latin typeface="Arial"/>
                <a:cs typeface="Arial"/>
              </a:rPr>
              <a:t>fish  species</a:t>
            </a:r>
            <a:r>
              <a:rPr sz="2000" spc="10" dirty="0">
                <a:latin typeface="Verdana"/>
                <a:cs typeface="Verdana"/>
              </a:rPr>
              <a:t>  </a:t>
            </a:r>
            <a:endParaRPr sz="2000">
              <a:latin typeface="Verdana"/>
              <a:cs typeface="Verdana"/>
            </a:endParaRPr>
          </a:p>
        </p:txBody>
      </p:sp>
      <p:sp>
        <p:nvSpPr>
          <p:cNvPr id="10" name="text 1"/>
          <p:cNvSpPr txBox="1"/>
          <p:nvPr/>
        </p:nvSpPr>
        <p:spPr>
          <a:xfrm>
            <a:off x="321573" y="5609197"/>
            <a:ext cx="3272691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2000" spc="10" dirty="0">
                <a:latin typeface="Verdana"/>
                <a:cs typeface="Verdana"/>
              </a:rPr>
              <a:t>• Counterfeit  </a:t>
            </a:r>
            <a:r>
              <a:rPr sz="2000" b="1" spc="10" dirty="0">
                <a:latin typeface="Arial"/>
                <a:cs typeface="Arial"/>
              </a:rPr>
              <a:t>pesticides  </a:t>
            </a:r>
            <a:endParaRPr sz="2000">
              <a:latin typeface="Arial"/>
              <a:cs typeface="Arial"/>
            </a:endParaRPr>
          </a:p>
        </p:txBody>
      </p:sp>
      <p:sp>
        <p:nvSpPr>
          <p:cNvPr id="11" name="text 1"/>
          <p:cNvSpPr txBox="1"/>
          <p:nvPr/>
        </p:nvSpPr>
        <p:spPr>
          <a:xfrm>
            <a:off x="321564" y="6036223"/>
            <a:ext cx="3647152" cy="3077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2000" spc="10" dirty="0">
                <a:latin typeface="Verdana"/>
                <a:cs typeface="Verdana"/>
              </a:rPr>
              <a:t>• Illegal  </a:t>
            </a:r>
            <a:r>
              <a:rPr sz="2000" b="1" spc="10" dirty="0">
                <a:latin typeface="Arial"/>
                <a:cs typeface="Arial"/>
              </a:rPr>
              <a:t>growth  hormones</a:t>
            </a:r>
            <a:r>
              <a:rPr sz="2000" spc="10" dirty="0">
                <a:latin typeface="Verdana"/>
                <a:cs typeface="Verdana"/>
              </a:rPr>
              <a:t>  </a:t>
            </a:r>
            <a:endParaRPr sz="2000">
              <a:latin typeface="Arial"/>
              <a:cs typeface="Arial"/>
            </a:endParaRPr>
          </a:p>
        </p:txBody>
      </p:sp>
      <p:sp>
        <p:nvSpPr>
          <p:cNvPr id="12" name="text 1"/>
          <p:cNvSpPr txBox="1"/>
          <p:nvPr/>
        </p:nvSpPr>
        <p:spPr>
          <a:xfrm>
            <a:off x="478840" y="6406217"/>
            <a:ext cx="8303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000" spc="10" dirty="0">
                <a:solidFill>
                  <a:srgbClr val="FFFFFF"/>
                </a:solidFill>
                <a:latin typeface="Verdana"/>
                <a:cs typeface="Verdana"/>
              </a:rPr>
              <a:t>4</a:t>
            </a:r>
            <a:endParaRPr sz="1000">
              <a:latin typeface="Arial"/>
              <a:cs typeface="Arial"/>
            </a:endParaRPr>
          </a:p>
        </p:txBody>
      </p:sp>
      <p:sp>
        <p:nvSpPr>
          <p:cNvPr id="13" name="text 1"/>
          <p:cNvSpPr txBox="1"/>
          <p:nvPr/>
        </p:nvSpPr>
        <p:spPr>
          <a:xfrm>
            <a:off x="347172" y="1176910"/>
            <a:ext cx="6452407" cy="372410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2420" spc="10" dirty="0">
                <a:solidFill>
                  <a:srgbClr val="D10039"/>
                </a:solidFill>
                <a:latin typeface="Verdana"/>
                <a:cs typeface="Verdana"/>
              </a:rPr>
              <a:t>Our  investigations:  food  and  non-food</a:t>
            </a:r>
            <a:endParaRPr sz="2400">
              <a:latin typeface="Verdana"/>
              <a:cs typeface="Verdana"/>
            </a:endParaRPr>
          </a:p>
        </p:txBody>
      </p:sp>
      <p:sp>
        <p:nvSpPr>
          <p:cNvPr id="14" name="object 1"/>
          <p:cNvSpPr/>
          <p:nvPr/>
        </p:nvSpPr>
        <p:spPr>
          <a:xfrm>
            <a:off x="5734113" y="1828848"/>
            <a:ext cx="3198748" cy="2454275"/>
          </a:xfrm>
          <a:custGeom>
            <a:avLst/>
            <a:gdLst/>
            <a:ahLst/>
            <a:cxnLst/>
            <a:rect l="l" t="t" r="r" b="b"/>
            <a:pathLst>
              <a:path w="3198748" h="2454275">
                <a:moveTo>
                  <a:pt x="4763" y="4763"/>
                </a:moveTo>
                <a:lnTo>
                  <a:pt x="4763" y="2449513"/>
                </a:lnTo>
                <a:lnTo>
                  <a:pt x="3193987" y="2449513"/>
                </a:lnTo>
                <a:lnTo>
                  <a:pt x="3193987" y="4763"/>
                </a:lnTo>
                <a:lnTo>
                  <a:pt x="4763" y="4763"/>
                </a:lnTo>
                <a:close/>
              </a:path>
            </a:pathLst>
          </a:custGeom>
          <a:ln w="952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text 1"/>
          <p:cNvSpPr txBox="1"/>
          <p:nvPr/>
        </p:nvSpPr>
        <p:spPr>
          <a:xfrm>
            <a:off x="5831138" y="1877312"/>
            <a:ext cx="2543645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400" spc="10" dirty="0">
                <a:latin typeface="Verdana"/>
                <a:cs typeface="Verdana"/>
              </a:rPr>
              <a:t>•</a:t>
            </a:r>
            <a:r>
              <a:rPr sz="1400" b="1" spc="10" dirty="0">
                <a:latin typeface="Arial"/>
                <a:cs typeface="Arial"/>
              </a:rPr>
              <a:t>Illegal  transport  of  manure</a:t>
            </a:r>
            <a:endParaRPr sz="1400">
              <a:latin typeface="Arial"/>
              <a:cs typeface="Arial"/>
            </a:endParaRPr>
          </a:p>
        </p:txBody>
      </p:sp>
      <p:sp>
        <p:nvSpPr>
          <p:cNvPr id="22" name="text 1"/>
          <p:cNvSpPr txBox="1"/>
          <p:nvPr/>
        </p:nvSpPr>
        <p:spPr>
          <a:xfrm>
            <a:off x="5831079" y="2176270"/>
            <a:ext cx="2192588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400" spc="10" dirty="0">
                <a:latin typeface="Verdana"/>
                <a:cs typeface="Verdana"/>
              </a:rPr>
              <a:t>•</a:t>
            </a:r>
            <a:r>
              <a:rPr sz="1400" b="1" spc="10" dirty="0">
                <a:latin typeface="Arial"/>
                <a:cs typeface="Arial"/>
              </a:rPr>
              <a:t>Bone  meal  (BSE  risk)  </a:t>
            </a:r>
            <a:endParaRPr sz="1400">
              <a:latin typeface="Arial"/>
              <a:cs typeface="Arial"/>
            </a:endParaRPr>
          </a:p>
        </p:txBody>
      </p:sp>
      <p:sp>
        <p:nvSpPr>
          <p:cNvPr id="23" name="text 1"/>
          <p:cNvSpPr txBox="1"/>
          <p:nvPr/>
        </p:nvSpPr>
        <p:spPr>
          <a:xfrm>
            <a:off x="5831078" y="2475085"/>
            <a:ext cx="2611292" cy="43088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400" spc="10" dirty="0">
                <a:latin typeface="Verdana"/>
                <a:cs typeface="Verdana"/>
              </a:rPr>
              <a:t>•</a:t>
            </a:r>
            <a:r>
              <a:rPr sz="1400" b="1" spc="10" dirty="0">
                <a:latin typeface="Arial"/>
                <a:cs typeface="Arial"/>
              </a:rPr>
              <a:t>Blood  sample  fraud  (export</a:t>
            </a:r>
            <a:endParaRPr sz="1400">
              <a:latin typeface="Arial"/>
              <a:cs typeface="Arial"/>
            </a:endParaRPr>
          </a:p>
          <a:p>
            <a:pPr marL="0">
              <a:lnSpc>
                <a:spcPct val="100000"/>
              </a:lnSpc>
            </a:pPr>
            <a:r>
              <a:rPr sz="1400" b="1" spc="10" dirty="0">
                <a:latin typeface="Arial"/>
                <a:cs typeface="Arial"/>
              </a:rPr>
              <a:t>certification  fraud)</a:t>
            </a:r>
            <a:endParaRPr sz="1400">
              <a:latin typeface="Arial"/>
              <a:cs typeface="Arial"/>
            </a:endParaRPr>
          </a:p>
        </p:txBody>
      </p:sp>
      <p:sp>
        <p:nvSpPr>
          <p:cNvPr id="24" name="text 1"/>
          <p:cNvSpPr txBox="1"/>
          <p:nvPr/>
        </p:nvSpPr>
        <p:spPr>
          <a:xfrm>
            <a:off x="5831087" y="2987149"/>
            <a:ext cx="2241319" cy="43088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400" spc="10" dirty="0">
                <a:latin typeface="Verdana"/>
                <a:cs typeface="Verdana"/>
              </a:rPr>
              <a:t>•</a:t>
            </a:r>
            <a:r>
              <a:rPr sz="1400" b="1" spc="10" dirty="0">
                <a:latin typeface="Arial"/>
                <a:cs typeface="Arial"/>
              </a:rPr>
              <a:t>Falsified  certificates  for</a:t>
            </a:r>
            <a:endParaRPr sz="1400">
              <a:latin typeface="Arial"/>
              <a:cs typeface="Arial"/>
            </a:endParaRPr>
          </a:p>
          <a:p>
            <a:pPr marL="0">
              <a:lnSpc>
                <a:spcPct val="100000"/>
              </a:lnSpc>
            </a:pPr>
            <a:r>
              <a:rPr sz="1400" b="1" spc="10" dirty="0">
                <a:latin typeface="Arial"/>
                <a:cs typeface="Arial"/>
              </a:rPr>
              <a:t>fairground  attractions</a:t>
            </a:r>
            <a:endParaRPr sz="1400">
              <a:latin typeface="Arial"/>
              <a:cs typeface="Arial"/>
            </a:endParaRPr>
          </a:p>
        </p:txBody>
      </p:sp>
      <p:sp>
        <p:nvSpPr>
          <p:cNvPr id="25" name="text 1"/>
          <p:cNvSpPr txBox="1"/>
          <p:nvPr/>
        </p:nvSpPr>
        <p:spPr>
          <a:xfrm>
            <a:off x="5831144" y="3499178"/>
            <a:ext cx="2421817" cy="43088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400" spc="10" dirty="0">
                <a:latin typeface="Verdana"/>
                <a:cs typeface="Verdana"/>
              </a:rPr>
              <a:t>•</a:t>
            </a:r>
            <a:r>
              <a:rPr sz="1400" b="1" spc="10" dirty="0">
                <a:latin typeface="Arial"/>
                <a:cs typeface="Arial"/>
              </a:rPr>
              <a:t>Illegal  dog  trade  (internet</a:t>
            </a:r>
            <a:endParaRPr sz="1400">
              <a:latin typeface="Arial"/>
              <a:cs typeface="Arial"/>
            </a:endParaRPr>
          </a:p>
          <a:p>
            <a:pPr marL="0">
              <a:lnSpc>
                <a:spcPct val="100000"/>
              </a:lnSpc>
            </a:pPr>
            <a:r>
              <a:rPr sz="1400" b="1" spc="10" dirty="0">
                <a:latin typeface="Arial"/>
                <a:cs typeface="Arial"/>
              </a:rPr>
              <a:t>investigation)</a:t>
            </a:r>
            <a:endParaRPr sz="1400">
              <a:latin typeface="Arial"/>
              <a:cs typeface="Arial"/>
            </a:endParaRPr>
          </a:p>
        </p:txBody>
      </p:sp>
      <p:sp>
        <p:nvSpPr>
          <p:cNvPr id="26" name="text 1"/>
          <p:cNvSpPr txBox="1"/>
          <p:nvPr/>
        </p:nvSpPr>
        <p:spPr>
          <a:xfrm>
            <a:off x="5831088" y="4011547"/>
            <a:ext cx="1620957" cy="21544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400" spc="10" dirty="0">
                <a:latin typeface="Verdana"/>
                <a:cs typeface="Verdana"/>
              </a:rPr>
              <a:t>•</a:t>
            </a:r>
            <a:r>
              <a:rPr sz="1400" b="1" spc="10" dirty="0">
                <a:latin typeface="Arial"/>
                <a:cs typeface="Arial"/>
              </a:rPr>
              <a:t>Fish  quota  fraud</a:t>
            </a:r>
            <a:endParaRPr sz="1400">
              <a:latin typeface="Arial"/>
              <a:cs typeface="Arial"/>
            </a:endParaRPr>
          </a:p>
        </p:txBody>
      </p:sp>
      <p:pic>
        <p:nvPicPr>
          <p:cNvPr id="20" name="Image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8928" y="4402249"/>
            <a:ext cx="2474849" cy="1857375"/>
          </a:xfrm>
          <a:prstGeom prst="rect">
            <a:avLst/>
          </a:prstGeom>
        </p:spPr>
      </p:pic>
      <p:pic>
        <p:nvPicPr>
          <p:cNvPr id="21" name="Image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36982" y="1727200"/>
            <a:ext cx="650875" cy="520700"/>
          </a:xfrm>
          <a:prstGeom prst="rect">
            <a:avLst/>
          </a:prstGeom>
        </p:spPr>
      </p:pic>
      <p:sp>
        <p:nvSpPr>
          <p:cNvPr id="27" name="text 1"/>
          <p:cNvSpPr txBox="1"/>
          <p:nvPr/>
        </p:nvSpPr>
        <p:spPr>
          <a:xfrm>
            <a:off x="4568952" y="6585437"/>
            <a:ext cx="89383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000" spc="10" dirty="0">
                <a:solidFill>
                  <a:srgbClr val="FFFFFF"/>
                </a:solidFill>
                <a:latin typeface="Verdana"/>
                <a:cs typeface="Verdana"/>
              </a:rPr>
              <a:t>24 June 2016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28" name="text 1"/>
          <p:cNvSpPr txBox="1"/>
          <p:nvPr/>
        </p:nvSpPr>
        <p:spPr>
          <a:xfrm>
            <a:off x="478840" y="6406217"/>
            <a:ext cx="8303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000" spc="10" dirty="0">
                <a:solidFill>
                  <a:srgbClr val="FFFFFF"/>
                </a:solidFill>
                <a:latin typeface="Verdana"/>
                <a:cs typeface="Verdana"/>
              </a:rPr>
              <a:t>4</a:t>
            </a:r>
            <a:endParaRPr sz="10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23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"/>
            <a:ext cx="9144000" cy="1071562"/>
          </a:xfrm>
          <a:prstGeom prst="rect">
            <a:avLst/>
          </a:prstGeom>
        </p:spPr>
      </p:pic>
      <p:pic>
        <p:nvPicPr>
          <p:cNvPr id="24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18250"/>
            <a:ext cx="9144000" cy="539750"/>
          </a:xfrm>
          <a:prstGeom prst="rect">
            <a:avLst/>
          </a:prstGeom>
        </p:spPr>
      </p:pic>
      <p:pic>
        <p:nvPicPr>
          <p:cNvPr id="25" name="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9750" y="4"/>
            <a:ext cx="431800" cy="860425"/>
          </a:xfrm>
          <a:prstGeom prst="rect">
            <a:avLst/>
          </a:prstGeom>
        </p:spPr>
      </p:pic>
      <p:sp>
        <p:nvSpPr>
          <p:cNvPr id="20" name="text 1"/>
          <p:cNvSpPr txBox="1"/>
          <p:nvPr/>
        </p:nvSpPr>
        <p:spPr>
          <a:xfrm>
            <a:off x="458122" y="1316431"/>
            <a:ext cx="4438907" cy="372410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2420" spc="10" dirty="0">
                <a:solidFill>
                  <a:srgbClr val="D10039"/>
                </a:solidFill>
                <a:latin typeface="Verdana"/>
                <a:cs typeface="Verdana"/>
              </a:rPr>
              <a:t>Food  safety  vs  food  fraud</a:t>
            </a:r>
            <a:endParaRPr sz="2400">
              <a:latin typeface="Verdana"/>
              <a:cs typeface="Verdana"/>
            </a:endParaRPr>
          </a:p>
        </p:txBody>
      </p:sp>
      <p:sp>
        <p:nvSpPr>
          <p:cNvPr id="2" name="object 2"/>
          <p:cNvSpPr/>
          <p:nvPr/>
        </p:nvSpPr>
        <p:spPr>
          <a:xfrm>
            <a:off x="4653026" y="1922529"/>
            <a:ext cx="12700" cy="3794061"/>
          </a:xfrm>
          <a:custGeom>
            <a:avLst/>
            <a:gdLst/>
            <a:ahLst/>
            <a:cxnLst/>
            <a:rect l="l" t="t" r="r" b="b"/>
            <a:pathLst>
              <a:path w="12700" h="3794061">
                <a:moveTo>
                  <a:pt x="6350" y="6350"/>
                </a:moveTo>
                <a:lnTo>
                  <a:pt x="6350" y="3787711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949325" y="3813175"/>
            <a:ext cx="7419975" cy="12700"/>
          </a:xfrm>
          <a:custGeom>
            <a:avLst/>
            <a:gdLst/>
            <a:ahLst/>
            <a:cxnLst/>
            <a:rect l="l" t="t" r="r" b="b"/>
            <a:pathLst>
              <a:path w="7419975" h="12700">
                <a:moveTo>
                  <a:pt x="6350" y="6350"/>
                </a:moveTo>
                <a:lnTo>
                  <a:pt x="7413625" y="6350"/>
                </a:lnTo>
              </a:path>
            </a:pathLst>
          </a:custGeom>
          <a:ln w="12700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955675" y="1914588"/>
            <a:ext cx="28575" cy="3809936"/>
          </a:xfrm>
          <a:custGeom>
            <a:avLst/>
            <a:gdLst/>
            <a:ahLst/>
            <a:cxnLst/>
            <a:rect l="l" t="t" r="r" b="b"/>
            <a:pathLst>
              <a:path w="28575" h="3809936">
                <a:moveTo>
                  <a:pt x="14287" y="14288"/>
                </a:moveTo>
                <a:lnTo>
                  <a:pt x="14287" y="3795649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8334438" y="1914588"/>
            <a:ext cx="28575" cy="3809936"/>
          </a:xfrm>
          <a:custGeom>
            <a:avLst/>
            <a:gdLst/>
            <a:ahLst/>
            <a:cxnLst/>
            <a:rect l="l" t="t" r="r" b="b"/>
            <a:pathLst>
              <a:path w="28575" h="3809936">
                <a:moveTo>
                  <a:pt x="14288" y="14288"/>
                </a:moveTo>
                <a:lnTo>
                  <a:pt x="14288" y="3795649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941387" y="1928813"/>
            <a:ext cx="7435850" cy="28575"/>
          </a:xfrm>
          <a:custGeom>
            <a:avLst/>
            <a:gdLst/>
            <a:ahLst/>
            <a:cxnLst/>
            <a:rect l="l" t="t" r="r" b="b"/>
            <a:pathLst>
              <a:path w="7435850" h="28575">
                <a:moveTo>
                  <a:pt x="14288" y="14288"/>
                </a:moveTo>
                <a:lnTo>
                  <a:pt x="7421563" y="14288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7" name="object 7"/>
          <p:cNvSpPr/>
          <p:nvPr/>
        </p:nvSpPr>
        <p:spPr>
          <a:xfrm>
            <a:off x="941387" y="5681774"/>
            <a:ext cx="7435850" cy="28575"/>
          </a:xfrm>
          <a:custGeom>
            <a:avLst/>
            <a:gdLst/>
            <a:ahLst/>
            <a:cxnLst/>
            <a:rect l="l" t="t" r="r" b="b"/>
            <a:pathLst>
              <a:path w="7435850" h="28575">
                <a:moveTo>
                  <a:pt x="14288" y="14288"/>
                </a:moveTo>
                <a:lnTo>
                  <a:pt x="7421563" y="14288"/>
                </a:lnTo>
              </a:path>
            </a:pathLst>
          </a:custGeom>
          <a:ln w="28575">
            <a:solidFill>
              <a:srgbClr val="00000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1" name="text 1"/>
          <p:cNvSpPr txBox="1"/>
          <p:nvPr/>
        </p:nvSpPr>
        <p:spPr>
          <a:xfrm rot="-5400000">
            <a:off x="-479355" y="3445582"/>
            <a:ext cx="1980670" cy="400110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2600" b="1" spc="10" dirty="0">
                <a:latin typeface="Arial"/>
                <a:cs typeface="Arial"/>
              </a:rPr>
              <a:t>Food  safety</a:t>
            </a:r>
            <a:endParaRPr sz="2600">
              <a:latin typeface="Arial"/>
              <a:cs typeface="Arial"/>
            </a:endParaRPr>
          </a:p>
        </p:txBody>
      </p:sp>
      <p:sp>
        <p:nvSpPr>
          <p:cNvPr id="26" name="text 1"/>
          <p:cNvSpPr txBox="1"/>
          <p:nvPr/>
        </p:nvSpPr>
        <p:spPr>
          <a:xfrm>
            <a:off x="3608578" y="5856999"/>
            <a:ext cx="1940916" cy="400110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2600" b="1" spc="10" dirty="0">
                <a:latin typeface="Arial"/>
                <a:cs typeface="Arial"/>
              </a:rPr>
              <a:t>Food  Fraud</a:t>
            </a:r>
            <a:endParaRPr sz="2600">
              <a:latin typeface="Arial"/>
              <a:cs typeface="Arial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1908175" y="5786437"/>
            <a:ext cx="5526024" cy="76200"/>
          </a:xfrm>
          <a:custGeom>
            <a:avLst/>
            <a:gdLst/>
            <a:ahLst/>
            <a:cxnLst/>
            <a:rect l="l" t="t" r="r" b="b"/>
            <a:pathLst>
              <a:path w="5526024" h="76200">
                <a:moveTo>
                  <a:pt x="0" y="26988"/>
                </a:moveTo>
                <a:lnTo>
                  <a:pt x="5462651" y="26988"/>
                </a:lnTo>
                <a:lnTo>
                  <a:pt x="5462651" y="49213"/>
                </a:lnTo>
                <a:lnTo>
                  <a:pt x="0" y="49213"/>
                </a:lnTo>
                <a:close/>
                <a:moveTo>
                  <a:pt x="5449824" y="0"/>
                </a:moveTo>
                <a:lnTo>
                  <a:pt x="5526024" y="38100"/>
                </a:lnTo>
                <a:lnTo>
                  <a:pt x="5449824" y="76200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752970" y="2503424"/>
            <a:ext cx="76200" cy="2960878"/>
          </a:xfrm>
          <a:custGeom>
            <a:avLst/>
            <a:gdLst/>
            <a:ahLst/>
            <a:cxnLst/>
            <a:rect l="l" t="t" r="r" b="b"/>
            <a:pathLst>
              <a:path w="76200" h="2960878">
                <a:moveTo>
                  <a:pt x="45542" y="2960878"/>
                </a:moveTo>
                <a:lnTo>
                  <a:pt x="26898" y="63627"/>
                </a:lnTo>
                <a:lnTo>
                  <a:pt x="49123" y="63500"/>
                </a:lnTo>
                <a:lnTo>
                  <a:pt x="67767" y="2960624"/>
                </a:lnTo>
                <a:close/>
                <a:moveTo>
                  <a:pt x="0" y="76454"/>
                </a:moveTo>
                <a:lnTo>
                  <a:pt x="37605" y="0"/>
                </a:lnTo>
                <a:lnTo>
                  <a:pt x="76200" y="76073"/>
                </a:lnTo>
                <a:close/>
              </a:path>
            </a:pathLst>
          </a:custGeom>
          <a:solidFill>
            <a:srgbClr val="FF0000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1928877" y="2225787"/>
            <a:ext cx="536575" cy="557149"/>
          </a:xfrm>
          <a:custGeom>
            <a:avLst/>
            <a:gdLst/>
            <a:ahLst/>
            <a:cxnLst/>
            <a:rect l="l" t="t" r="r" b="b"/>
            <a:pathLst>
              <a:path w="536575" h="557149">
                <a:moveTo>
                  <a:pt x="0" y="278638"/>
                </a:moveTo>
                <a:lnTo>
                  <a:pt x="78613" y="197104"/>
                </a:lnTo>
                <a:lnTo>
                  <a:pt x="78486" y="81661"/>
                </a:lnTo>
                <a:lnTo>
                  <a:pt x="189738" y="81661"/>
                </a:lnTo>
                <a:lnTo>
                  <a:pt x="268224" y="0"/>
                </a:lnTo>
                <a:lnTo>
                  <a:pt x="346710" y="81661"/>
                </a:lnTo>
                <a:lnTo>
                  <a:pt x="457962" y="81661"/>
                </a:lnTo>
                <a:lnTo>
                  <a:pt x="457835" y="197104"/>
                </a:lnTo>
                <a:lnTo>
                  <a:pt x="536575" y="278638"/>
                </a:lnTo>
                <a:lnTo>
                  <a:pt x="457835" y="360172"/>
                </a:lnTo>
                <a:lnTo>
                  <a:pt x="457962" y="475615"/>
                </a:lnTo>
                <a:lnTo>
                  <a:pt x="346710" y="475488"/>
                </a:lnTo>
                <a:lnTo>
                  <a:pt x="268224" y="557149"/>
                </a:lnTo>
                <a:lnTo>
                  <a:pt x="189738" y="475488"/>
                </a:lnTo>
                <a:lnTo>
                  <a:pt x="78486" y="475615"/>
                </a:lnTo>
                <a:lnTo>
                  <a:pt x="78613" y="360172"/>
                </a:lnTo>
                <a:close/>
              </a:path>
            </a:pathLst>
          </a:custGeom>
          <a:solidFill>
            <a:srgbClr val="007BC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1924113" y="2220912"/>
            <a:ext cx="546100" cy="566674"/>
          </a:xfrm>
          <a:custGeom>
            <a:avLst/>
            <a:gdLst/>
            <a:ahLst/>
            <a:cxnLst/>
            <a:rect l="l" t="t" r="r" b="b"/>
            <a:pathLst>
              <a:path w="546100" h="566674">
                <a:moveTo>
                  <a:pt x="4763" y="283401"/>
                </a:moveTo>
                <a:lnTo>
                  <a:pt x="83376" y="201867"/>
                </a:lnTo>
                <a:lnTo>
                  <a:pt x="83249" y="86424"/>
                </a:lnTo>
                <a:lnTo>
                  <a:pt x="194501" y="86424"/>
                </a:lnTo>
                <a:lnTo>
                  <a:pt x="272987" y="4763"/>
                </a:lnTo>
                <a:lnTo>
                  <a:pt x="351473" y="86424"/>
                </a:lnTo>
                <a:lnTo>
                  <a:pt x="462725" y="86424"/>
                </a:lnTo>
                <a:lnTo>
                  <a:pt x="462598" y="201867"/>
                </a:lnTo>
                <a:lnTo>
                  <a:pt x="541338" y="283401"/>
                </a:lnTo>
                <a:lnTo>
                  <a:pt x="462598" y="364935"/>
                </a:lnTo>
                <a:lnTo>
                  <a:pt x="462725" y="480378"/>
                </a:lnTo>
                <a:lnTo>
                  <a:pt x="351473" y="480251"/>
                </a:lnTo>
                <a:lnTo>
                  <a:pt x="272987" y="561912"/>
                </a:lnTo>
                <a:lnTo>
                  <a:pt x="194501" y="480251"/>
                </a:lnTo>
                <a:lnTo>
                  <a:pt x="83249" y="480378"/>
                </a:lnTo>
                <a:lnTo>
                  <a:pt x="83376" y="364935"/>
                </a:lnTo>
                <a:close/>
              </a:path>
            </a:pathLst>
          </a:custGeom>
          <a:ln w="9525">
            <a:solidFill>
              <a:srgbClr val="000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7" name="text 1"/>
          <p:cNvSpPr txBox="1"/>
          <p:nvPr/>
        </p:nvSpPr>
        <p:spPr>
          <a:xfrm>
            <a:off x="2080006" y="2334980"/>
            <a:ext cx="187231" cy="400110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2600" b="1" spc="10" dirty="0">
                <a:latin typeface="Arial"/>
                <a:cs typeface="Arial"/>
              </a:rPr>
              <a:t>1</a:t>
            </a:r>
            <a:endParaRPr sz="2600">
              <a:latin typeface="Arial"/>
              <a:cs typeface="Arial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3416301" y="4826000"/>
            <a:ext cx="536575" cy="557276"/>
          </a:xfrm>
          <a:custGeom>
            <a:avLst/>
            <a:gdLst/>
            <a:ahLst/>
            <a:cxnLst/>
            <a:rect l="l" t="t" r="r" b="b"/>
            <a:pathLst>
              <a:path w="536575" h="557276">
                <a:moveTo>
                  <a:pt x="0" y="278638"/>
                </a:moveTo>
                <a:lnTo>
                  <a:pt x="78613" y="197104"/>
                </a:lnTo>
                <a:lnTo>
                  <a:pt x="78613" y="81661"/>
                </a:lnTo>
                <a:lnTo>
                  <a:pt x="189738" y="81661"/>
                </a:lnTo>
                <a:lnTo>
                  <a:pt x="268351" y="0"/>
                </a:lnTo>
                <a:lnTo>
                  <a:pt x="346837" y="81661"/>
                </a:lnTo>
                <a:lnTo>
                  <a:pt x="457962" y="81661"/>
                </a:lnTo>
                <a:lnTo>
                  <a:pt x="457962" y="197104"/>
                </a:lnTo>
                <a:lnTo>
                  <a:pt x="536575" y="278638"/>
                </a:lnTo>
                <a:lnTo>
                  <a:pt x="457962" y="360172"/>
                </a:lnTo>
                <a:lnTo>
                  <a:pt x="457962" y="475615"/>
                </a:lnTo>
                <a:lnTo>
                  <a:pt x="346837" y="475488"/>
                </a:lnTo>
                <a:lnTo>
                  <a:pt x="268351" y="557276"/>
                </a:lnTo>
                <a:lnTo>
                  <a:pt x="189738" y="475488"/>
                </a:lnTo>
                <a:lnTo>
                  <a:pt x="78613" y="475615"/>
                </a:lnTo>
                <a:lnTo>
                  <a:pt x="78613" y="360172"/>
                </a:lnTo>
                <a:close/>
              </a:path>
            </a:pathLst>
          </a:custGeom>
          <a:solidFill>
            <a:srgbClr val="007BC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3411537" y="4821349"/>
            <a:ext cx="546100" cy="566801"/>
          </a:xfrm>
          <a:custGeom>
            <a:avLst/>
            <a:gdLst/>
            <a:ahLst/>
            <a:cxnLst/>
            <a:rect l="l" t="t" r="r" b="b"/>
            <a:pathLst>
              <a:path w="546100" h="566801">
                <a:moveTo>
                  <a:pt x="4763" y="283401"/>
                </a:moveTo>
                <a:lnTo>
                  <a:pt x="83376" y="201867"/>
                </a:lnTo>
                <a:lnTo>
                  <a:pt x="83376" y="86424"/>
                </a:lnTo>
                <a:lnTo>
                  <a:pt x="194501" y="86424"/>
                </a:lnTo>
                <a:lnTo>
                  <a:pt x="273114" y="4763"/>
                </a:lnTo>
                <a:lnTo>
                  <a:pt x="351600" y="86424"/>
                </a:lnTo>
                <a:lnTo>
                  <a:pt x="462725" y="86424"/>
                </a:lnTo>
                <a:lnTo>
                  <a:pt x="462725" y="201867"/>
                </a:lnTo>
                <a:lnTo>
                  <a:pt x="541338" y="283401"/>
                </a:lnTo>
                <a:lnTo>
                  <a:pt x="462725" y="364935"/>
                </a:lnTo>
                <a:lnTo>
                  <a:pt x="462725" y="480378"/>
                </a:lnTo>
                <a:lnTo>
                  <a:pt x="351600" y="480251"/>
                </a:lnTo>
                <a:lnTo>
                  <a:pt x="273114" y="562039"/>
                </a:lnTo>
                <a:lnTo>
                  <a:pt x="194501" y="480251"/>
                </a:lnTo>
                <a:lnTo>
                  <a:pt x="83376" y="480378"/>
                </a:lnTo>
                <a:lnTo>
                  <a:pt x="83376" y="364935"/>
                </a:lnTo>
                <a:close/>
              </a:path>
            </a:pathLst>
          </a:custGeom>
          <a:ln w="9525">
            <a:solidFill>
              <a:srgbClr val="000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8" name="text 1"/>
          <p:cNvSpPr txBox="1"/>
          <p:nvPr/>
        </p:nvSpPr>
        <p:spPr>
          <a:xfrm>
            <a:off x="3567684" y="4935919"/>
            <a:ext cx="187231" cy="400110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2600" b="1" spc="10" dirty="0">
                <a:latin typeface="Arial"/>
                <a:cs typeface="Arial"/>
              </a:rPr>
              <a:t>4</a:t>
            </a:r>
            <a:endParaRPr sz="2600">
              <a:latin typeface="Arial"/>
              <a:cs typeface="Arial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5305425" y="4189588"/>
            <a:ext cx="596900" cy="638175"/>
          </a:xfrm>
          <a:custGeom>
            <a:avLst/>
            <a:gdLst/>
            <a:ahLst/>
            <a:cxnLst/>
            <a:rect l="l" t="t" r="r" b="b"/>
            <a:pathLst>
              <a:path w="596900" h="638175">
                <a:moveTo>
                  <a:pt x="0" y="319024"/>
                </a:moveTo>
                <a:lnTo>
                  <a:pt x="87503" y="225552"/>
                </a:lnTo>
                <a:lnTo>
                  <a:pt x="87376" y="93345"/>
                </a:lnTo>
                <a:lnTo>
                  <a:pt x="211074" y="93472"/>
                </a:lnTo>
                <a:lnTo>
                  <a:pt x="298450" y="0"/>
                </a:lnTo>
                <a:lnTo>
                  <a:pt x="385826" y="93472"/>
                </a:lnTo>
                <a:lnTo>
                  <a:pt x="509524" y="93345"/>
                </a:lnTo>
                <a:lnTo>
                  <a:pt x="509397" y="225552"/>
                </a:lnTo>
                <a:lnTo>
                  <a:pt x="596900" y="319024"/>
                </a:lnTo>
                <a:lnTo>
                  <a:pt x="509397" y="412496"/>
                </a:lnTo>
                <a:lnTo>
                  <a:pt x="509524" y="544703"/>
                </a:lnTo>
                <a:lnTo>
                  <a:pt x="385826" y="544576"/>
                </a:lnTo>
                <a:lnTo>
                  <a:pt x="298450" y="638175"/>
                </a:lnTo>
                <a:lnTo>
                  <a:pt x="211074" y="544576"/>
                </a:lnTo>
                <a:lnTo>
                  <a:pt x="87376" y="544703"/>
                </a:lnTo>
                <a:lnTo>
                  <a:pt x="87503" y="412496"/>
                </a:lnTo>
                <a:close/>
              </a:path>
            </a:pathLst>
          </a:custGeom>
          <a:solidFill>
            <a:srgbClr val="007BC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5300668" y="4184713"/>
            <a:ext cx="606425" cy="647700"/>
          </a:xfrm>
          <a:custGeom>
            <a:avLst/>
            <a:gdLst/>
            <a:ahLst/>
            <a:cxnLst/>
            <a:rect l="l" t="t" r="r" b="b"/>
            <a:pathLst>
              <a:path w="606425" h="647700">
                <a:moveTo>
                  <a:pt x="4763" y="323787"/>
                </a:moveTo>
                <a:lnTo>
                  <a:pt x="92266" y="230315"/>
                </a:lnTo>
                <a:lnTo>
                  <a:pt x="92139" y="98108"/>
                </a:lnTo>
                <a:lnTo>
                  <a:pt x="215837" y="98235"/>
                </a:lnTo>
                <a:lnTo>
                  <a:pt x="303213" y="4763"/>
                </a:lnTo>
                <a:lnTo>
                  <a:pt x="390589" y="98235"/>
                </a:lnTo>
                <a:lnTo>
                  <a:pt x="514287" y="98108"/>
                </a:lnTo>
                <a:lnTo>
                  <a:pt x="514160" y="230315"/>
                </a:lnTo>
                <a:lnTo>
                  <a:pt x="601663" y="323787"/>
                </a:lnTo>
                <a:lnTo>
                  <a:pt x="514160" y="417259"/>
                </a:lnTo>
                <a:lnTo>
                  <a:pt x="514287" y="549466"/>
                </a:lnTo>
                <a:lnTo>
                  <a:pt x="390589" y="549339"/>
                </a:lnTo>
                <a:lnTo>
                  <a:pt x="303213" y="642938"/>
                </a:lnTo>
                <a:lnTo>
                  <a:pt x="215837" y="549339"/>
                </a:lnTo>
                <a:lnTo>
                  <a:pt x="92139" y="549466"/>
                </a:lnTo>
                <a:lnTo>
                  <a:pt x="92266" y="417259"/>
                </a:lnTo>
                <a:close/>
              </a:path>
            </a:pathLst>
          </a:custGeom>
          <a:ln w="9525">
            <a:solidFill>
              <a:srgbClr val="000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29" name="text 1"/>
          <p:cNvSpPr txBox="1"/>
          <p:nvPr/>
        </p:nvSpPr>
        <p:spPr>
          <a:xfrm>
            <a:off x="5487289" y="4339676"/>
            <a:ext cx="187231" cy="400110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2600" b="1" spc="10" dirty="0">
                <a:latin typeface="Arial"/>
                <a:cs typeface="Arial"/>
              </a:rPr>
              <a:t>3</a:t>
            </a:r>
            <a:endParaRPr sz="2600">
              <a:latin typeface="Arial"/>
              <a:cs typeface="Arial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6156325" y="2379711"/>
            <a:ext cx="874776" cy="815975"/>
          </a:xfrm>
          <a:custGeom>
            <a:avLst/>
            <a:gdLst/>
            <a:ahLst/>
            <a:cxnLst/>
            <a:rect l="l" t="t" r="r" b="b"/>
            <a:pathLst>
              <a:path w="874776" h="815975">
                <a:moveTo>
                  <a:pt x="0" y="408051"/>
                </a:moveTo>
                <a:lnTo>
                  <a:pt x="128270" y="288671"/>
                </a:lnTo>
                <a:lnTo>
                  <a:pt x="128143" y="119507"/>
                </a:lnTo>
                <a:lnTo>
                  <a:pt x="309372" y="119761"/>
                </a:lnTo>
                <a:lnTo>
                  <a:pt x="437388" y="0"/>
                </a:lnTo>
                <a:lnTo>
                  <a:pt x="565404" y="119761"/>
                </a:lnTo>
                <a:lnTo>
                  <a:pt x="746632" y="119507"/>
                </a:lnTo>
                <a:lnTo>
                  <a:pt x="746506" y="288671"/>
                </a:lnTo>
                <a:lnTo>
                  <a:pt x="874776" y="408051"/>
                </a:lnTo>
                <a:lnTo>
                  <a:pt x="746506" y="527431"/>
                </a:lnTo>
                <a:lnTo>
                  <a:pt x="746632" y="696595"/>
                </a:lnTo>
                <a:lnTo>
                  <a:pt x="565404" y="696341"/>
                </a:lnTo>
                <a:lnTo>
                  <a:pt x="437388" y="815975"/>
                </a:lnTo>
                <a:lnTo>
                  <a:pt x="309372" y="696341"/>
                </a:lnTo>
                <a:lnTo>
                  <a:pt x="128143" y="696595"/>
                </a:lnTo>
                <a:lnTo>
                  <a:pt x="128270" y="527431"/>
                </a:lnTo>
                <a:close/>
              </a:path>
            </a:pathLst>
          </a:custGeom>
          <a:solidFill>
            <a:srgbClr val="007BC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7" name="object 17"/>
          <p:cNvSpPr/>
          <p:nvPr/>
        </p:nvSpPr>
        <p:spPr>
          <a:xfrm>
            <a:off x="6151618" y="2374836"/>
            <a:ext cx="884301" cy="825500"/>
          </a:xfrm>
          <a:custGeom>
            <a:avLst/>
            <a:gdLst/>
            <a:ahLst/>
            <a:cxnLst/>
            <a:rect l="l" t="t" r="r" b="b"/>
            <a:pathLst>
              <a:path w="884301" h="825500">
                <a:moveTo>
                  <a:pt x="4763" y="412814"/>
                </a:moveTo>
                <a:lnTo>
                  <a:pt x="133033" y="293434"/>
                </a:lnTo>
                <a:lnTo>
                  <a:pt x="132906" y="124270"/>
                </a:lnTo>
                <a:lnTo>
                  <a:pt x="314135" y="124524"/>
                </a:lnTo>
                <a:lnTo>
                  <a:pt x="442151" y="4763"/>
                </a:lnTo>
                <a:lnTo>
                  <a:pt x="570167" y="124524"/>
                </a:lnTo>
                <a:lnTo>
                  <a:pt x="751395" y="124270"/>
                </a:lnTo>
                <a:lnTo>
                  <a:pt x="751269" y="293434"/>
                </a:lnTo>
                <a:lnTo>
                  <a:pt x="879539" y="412814"/>
                </a:lnTo>
                <a:lnTo>
                  <a:pt x="751269" y="532194"/>
                </a:lnTo>
                <a:lnTo>
                  <a:pt x="751395" y="701358"/>
                </a:lnTo>
                <a:lnTo>
                  <a:pt x="570167" y="701104"/>
                </a:lnTo>
                <a:lnTo>
                  <a:pt x="442151" y="820738"/>
                </a:lnTo>
                <a:lnTo>
                  <a:pt x="314135" y="701104"/>
                </a:lnTo>
                <a:lnTo>
                  <a:pt x="132906" y="701358"/>
                </a:lnTo>
                <a:lnTo>
                  <a:pt x="133033" y="532194"/>
                </a:lnTo>
                <a:close/>
              </a:path>
            </a:pathLst>
          </a:custGeom>
          <a:ln w="9525">
            <a:solidFill>
              <a:srgbClr val="000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0" name="text 1"/>
          <p:cNvSpPr txBox="1"/>
          <p:nvPr/>
        </p:nvSpPr>
        <p:spPr>
          <a:xfrm>
            <a:off x="6476365" y="2618444"/>
            <a:ext cx="187231" cy="400110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2600" b="1" spc="10" dirty="0">
                <a:latin typeface="Arial"/>
                <a:cs typeface="Arial"/>
              </a:rPr>
              <a:t>2</a:t>
            </a:r>
            <a:endParaRPr sz="2600">
              <a:latin typeface="Arial"/>
              <a:cs typeface="Arial"/>
            </a:endParaRPr>
          </a:p>
        </p:txBody>
      </p:sp>
      <p:sp>
        <p:nvSpPr>
          <p:cNvPr id="18" name="object 18"/>
          <p:cNvSpPr/>
          <p:nvPr/>
        </p:nvSpPr>
        <p:spPr>
          <a:xfrm>
            <a:off x="7091426" y="4942063"/>
            <a:ext cx="655574" cy="715899"/>
          </a:xfrm>
          <a:custGeom>
            <a:avLst/>
            <a:gdLst/>
            <a:ahLst/>
            <a:cxnLst/>
            <a:rect l="l" t="t" r="r" b="b"/>
            <a:pathLst>
              <a:path w="655574" h="715899">
                <a:moveTo>
                  <a:pt x="0" y="357886"/>
                </a:moveTo>
                <a:lnTo>
                  <a:pt x="96012" y="253111"/>
                </a:lnTo>
                <a:lnTo>
                  <a:pt x="96012" y="104775"/>
                </a:lnTo>
                <a:lnTo>
                  <a:pt x="231775" y="104902"/>
                </a:lnTo>
                <a:lnTo>
                  <a:pt x="327787" y="0"/>
                </a:lnTo>
                <a:lnTo>
                  <a:pt x="423672" y="104902"/>
                </a:lnTo>
                <a:lnTo>
                  <a:pt x="559562" y="104775"/>
                </a:lnTo>
                <a:lnTo>
                  <a:pt x="559435" y="253111"/>
                </a:lnTo>
                <a:lnTo>
                  <a:pt x="655574" y="357886"/>
                </a:lnTo>
                <a:lnTo>
                  <a:pt x="559435" y="462661"/>
                </a:lnTo>
                <a:lnTo>
                  <a:pt x="559562" y="610997"/>
                </a:lnTo>
                <a:lnTo>
                  <a:pt x="423672" y="610870"/>
                </a:lnTo>
                <a:lnTo>
                  <a:pt x="327787" y="715899"/>
                </a:lnTo>
                <a:lnTo>
                  <a:pt x="231775" y="610870"/>
                </a:lnTo>
                <a:lnTo>
                  <a:pt x="96012" y="610997"/>
                </a:lnTo>
                <a:lnTo>
                  <a:pt x="96012" y="462661"/>
                </a:lnTo>
                <a:close/>
              </a:path>
            </a:pathLst>
          </a:custGeom>
          <a:solidFill>
            <a:srgbClr val="007BC7"/>
          </a:solidFill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19" name="object 19"/>
          <p:cNvSpPr/>
          <p:nvPr/>
        </p:nvSpPr>
        <p:spPr>
          <a:xfrm>
            <a:off x="7086667" y="4937188"/>
            <a:ext cx="665099" cy="725424"/>
          </a:xfrm>
          <a:custGeom>
            <a:avLst/>
            <a:gdLst/>
            <a:ahLst/>
            <a:cxnLst/>
            <a:rect l="l" t="t" r="r" b="b"/>
            <a:pathLst>
              <a:path w="665099" h="725424">
                <a:moveTo>
                  <a:pt x="4763" y="362649"/>
                </a:moveTo>
                <a:lnTo>
                  <a:pt x="100775" y="257874"/>
                </a:lnTo>
                <a:lnTo>
                  <a:pt x="100775" y="109538"/>
                </a:lnTo>
                <a:lnTo>
                  <a:pt x="236538" y="109665"/>
                </a:lnTo>
                <a:lnTo>
                  <a:pt x="332550" y="4763"/>
                </a:lnTo>
                <a:lnTo>
                  <a:pt x="428435" y="109665"/>
                </a:lnTo>
                <a:lnTo>
                  <a:pt x="564325" y="109538"/>
                </a:lnTo>
                <a:lnTo>
                  <a:pt x="564198" y="257874"/>
                </a:lnTo>
                <a:lnTo>
                  <a:pt x="660337" y="362649"/>
                </a:lnTo>
                <a:lnTo>
                  <a:pt x="564198" y="467424"/>
                </a:lnTo>
                <a:lnTo>
                  <a:pt x="564325" y="615760"/>
                </a:lnTo>
                <a:lnTo>
                  <a:pt x="428435" y="615633"/>
                </a:lnTo>
                <a:lnTo>
                  <a:pt x="332550" y="720662"/>
                </a:lnTo>
                <a:lnTo>
                  <a:pt x="236538" y="615633"/>
                </a:lnTo>
                <a:lnTo>
                  <a:pt x="100775" y="615760"/>
                </a:lnTo>
                <a:lnTo>
                  <a:pt x="100775" y="467424"/>
                </a:lnTo>
                <a:close/>
              </a:path>
            </a:pathLst>
          </a:custGeom>
          <a:ln w="9525">
            <a:solidFill>
              <a:srgbClr val="000080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/>
          </a:p>
        </p:txBody>
      </p:sp>
      <p:sp>
        <p:nvSpPr>
          <p:cNvPr id="31" name="text 1"/>
          <p:cNvSpPr txBox="1"/>
          <p:nvPr/>
        </p:nvSpPr>
        <p:spPr>
          <a:xfrm>
            <a:off x="7302119" y="5131266"/>
            <a:ext cx="187231" cy="400110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2600" b="1" spc="10" dirty="0">
                <a:latin typeface="Arial"/>
                <a:cs typeface="Arial"/>
              </a:rPr>
              <a:t>5</a:t>
            </a:r>
            <a:endParaRPr sz="2600">
              <a:latin typeface="Arial"/>
              <a:cs typeface="Arial"/>
            </a:endParaRPr>
          </a:p>
        </p:txBody>
      </p:sp>
      <p:sp>
        <p:nvSpPr>
          <p:cNvPr id="32" name="text 1"/>
          <p:cNvSpPr txBox="1"/>
          <p:nvPr/>
        </p:nvSpPr>
        <p:spPr>
          <a:xfrm>
            <a:off x="4568952" y="6585437"/>
            <a:ext cx="89383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000" spc="10" dirty="0">
                <a:solidFill>
                  <a:srgbClr val="FFFFFF"/>
                </a:solidFill>
                <a:latin typeface="Verdana"/>
                <a:cs typeface="Verdana"/>
              </a:rPr>
              <a:t>24 June 2016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33" name="text 1"/>
          <p:cNvSpPr txBox="1"/>
          <p:nvPr/>
        </p:nvSpPr>
        <p:spPr>
          <a:xfrm>
            <a:off x="478840" y="6406217"/>
            <a:ext cx="8303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000" spc="10" dirty="0">
                <a:solidFill>
                  <a:srgbClr val="FFFFFF"/>
                </a:solidFill>
                <a:latin typeface="Verdana"/>
                <a:cs typeface="Verdana"/>
              </a:rPr>
              <a:t>5</a:t>
            </a:r>
            <a:endParaRPr sz="100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27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"/>
            <a:ext cx="9144000" cy="1071562"/>
          </a:xfrm>
          <a:prstGeom prst="rect">
            <a:avLst/>
          </a:prstGeom>
        </p:spPr>
      </p:pic>
      <p:pic>
        <p:nvPicPr>
          <p:cNvPr id="28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18250"/>
            <a:ext cx="9144000" cy="539750"/>
          </a:xfrm>
          <a:prstGeom prst="rect">
            <a:avLst/>
          </a:prstGeom>
        </p:spPr>
      </p:pic>
      <p:pic>
        <p:nvPicPr>
          <p:cNvPr id="29" name="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9750" y="4"/>
            <a:ext cx="431800" cy="860425"/>
          </a:xfrm>
          <a:prstGeom prst="rect">
            <a:avLst/>
          </a:prstGeom>
        </p:spPr>
      </p:pic>
      <p:sp>
        <p:nvSpPr>
          <p:cNvPr id="2" name="text 1"/>
          <p:cNvSpPr txBox="1"/>
          <p:nvPr/>
        </p:nvSpPr>
        <p:spPr>
          <a:xfrm>
            <a:off x="4568952" y="6585437"/>
            <a:ext cx="89383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000" spc="10" dirty="0">
                <a:solidFill>
                  <a:srgbClr val="FFFFFF"/>
                </a:solidFill>
                <a:latin typeface="Verdana"/>
                <a:cs typeface="Verdana"/>
              </a:rPr>
              <a:t>24 June 2016</a:t>
            </a:r>
            <a:endParaRPr sz="1000">
              <a:latin typeface="Verdana"/>
              <a:cs typeface="Verdana"/>
            </a:endParaRPr>
          </a:p>
        </p:txBody>
      </p:sp>
      <p:pic>
        <p:nvPicPr>
          <p:cNvPr id="30" name="Image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1481" y="1149413"/>
            <a:ext cx="3889375" cy="5183124"/>
          </a:xfrm>
          <a:prstGeom prst="rect">
            <a:avLst/>
          </a:prstGeom>
        </p:spPr>
      </p:pic>
      <p:sp>
        <p:nvSpPr>
          <p:cNvPr id="3" name="text 1"/>
          <p:cNvSpPr txBox="1"/>
          <p:nvPr/>
        </p:nvSpPr>
        <p:spPr>
          <a:xfrm>
            <a:off x="478840" y="6406217"/>
            <a:ext cx="8303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000" spc="10" dirty="0">
                <a:solidFill>
                  <a:srgbClr val="FFFFFF"/>
                </a:solidFill>
                <a:latin typeface="Verdana"/>
                <a:cs typeface="Verdana"/>
              </a:rPr>
              <a:t>6</a:t>
            </a:r>
            <a:endParaRPr sz="10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32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"/>
            <a:ext cx="9144000" cy="1071562"/>
          </a:xfrm>
          <a:prstGeom prst="rect">
            <a:avLst/>
          </a:prstGeom>
        </p:spPr>
      </p:pic>
      <p:pic>
        <p:nvPicPr>
          <p:cNvPr id="33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18250"/>
            <a:ext cx="9144000" cy="539750"/>
          </a:xfrm>
          <a:prstGeom prst="rect">
            <a:avLst/>
          </a:prstGeom>
        </p:spPr>
      </p:pic>
      <p:pic>
        <p:nvPicPr>
          <p:cNvPr id="34" name="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9750" y="4"/>
            <a:ext cx="431800" cy="860425"/>
          </a:xfrm>
          <a:prstGeom prst="rect">
            <a:avLst/>
          </a:prstGeom>
        </p:spPr>
      </p:pic>
      <p:sp>
        <p:nvSpPr>
          <p:cNvPr id="2" name="text 1"/>
          <p:cNvSpPr txBox="1"/>
          <p:nvPr/>
        </p:nvSpPr>
        <p:spPr>
          <a:xfrm>
            <a:off x="4568952" y="6585437"/>
            <a:ext cx="89383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000" spc="10" dirty="0">
                <a:solidFill>
                  <a:srgbClr val="FFFFFF"/>
                </a:solidFill>
                <a:latin typeface="Verdana"/>
                <a:cs typeface="Verdana"/>
              </a:rPr>
              <a:t>24 June 2016</a:t>
            </a:r>
            <a:endParaRPr sz="1000">
              <a:latin typeface="Verdana"/>
              <a:cs typeface="Verdana"/>
            </a:endParaRPr>
          </a:p>
        </p:txBody>
      </p:sp>
      <p:pic>
        <p:nvPicPr>
          <p:cNvPr id="35" name="Image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025" y="1798703"/>
            <a:ext cx="7740650" cy="4354449"/>
          </a:xfrm>
          <a:prstGeom prst="rect">
            <a:avLst/>
          </a:prstGeom>
        </p:spPr>
      </p:pic>
      <p:sp>
        <p:nvSpPr>
          <p:cNvPr id="3" name="text 1"/>
          <p:cNvSpPr txBox="1"/>
          <p:nvPr/>
        </p:nvSpPr>
        <p:spPr>
          <a:xfrm>
            <a:off x="478840" y="6406217"/>
            <a:ext cx="8303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000" spc="10" dirty="0">
                <a:solidFill>
                  <a:srgbClr val="FFFFFF"/>
                </a:solidFill>
                <a:latin typeface="Verdana"/>
                <a:cs typeface="Verdana"/>
              </a:rPr>
              <a:t>7</a:t>
            </a:r>
            <a:endParaRPr sz="10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37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"/>
            <a:ext cx="9144000" cy="1071562"/>
          </a:xfrm>
          <a:prstGeom prst="rect">
            <a:avLst/>
          </a:prstGeom>
        </p:spPr>
      </p:pic>
      <p:pic>
        <p:nvPicPr>
          <p:cNvPr id="38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18250"/>
            <a:ext cx="9144000" cy="539750"/>
          </a:xfrm>
          <a:prstGeom prst="rect">
            <a:avLst/>
          </a:prstGeom>
        </p:spPr>
      </p:pic>
      <p:pic>
        <p:nvPicPr>
          <p:cNvPr id="39" name="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9750" y="4"/>
            <a:ext cx="431800" cy="860425"/>
          </a:xfrm>
          <a:prstGeom prst="rect">
            <a:avLst/>
          </a:prstGeom>
        </p:spPr>
      </p:pic>
      <p:sp>
        <p:nvSpPr>
          <p:cNvPr id="2" name="text 1"/>
          <p:cNvSpPr txBox="1"/>
          <p:nvPr/>
        </p:nvSpPr>
        <p:spPr>
          <a:xfrm>
            <a:off x="4568952" y="6585437"/>
            <a:ext cx="89383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000" spc="10" dirty="0">
                <a:solidFill>
                  <a:srgbClr val="FFFFFF"/>
                </a:solidFill>
                <a:latin typeface="Verdana"/>
                <a:cs typeface="Verdana"/>
              </a:rPr>
              <a:t>24 June 2016</a:t>
            </a:r>
            <a:endParaRPr sz="1000">
              <a:latin typeface="Verdana"/>
              <a:cs typeface="Verdana"/>
            </a:endParaRPr>
          </a:p>
        </p:txBody>
      </p:sp>
      <p:pic>
        <p:nvPicPr>
          <p:cNvPr id="40" name="Image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025" y="1798703"/>
            <a:ext cx="7740650" cy="4354449"/>
          </a:xfrm>
          <a:prstGeom prst="rect">
            <a:avLst/>
          </a:prstGeom>
        </p:spPr>
      </p:pic>
      <p:sp>
        <p:nvSpPr>
          <p:cNvPr id="3" name="text 1"/>
          <p:cNvSpPr txBox="1"/>
          <p:nvPr/>
        </p:nvSpPr>
        <p:spPr>
          <a:xfrm>
            <a:off x="478840" y="6406217"/>
            <a:ext cx="8303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000" spc="10" dirty="0">
                <a:solidFill>
                  <a:srgbClr val="FFFFFF"/>
                </a:solidFill>
                <a:latin typeface="Verdana"/>
                <a:cs typeface="Verdana"/>
              </a:rPr>
              <a:t>8</a:t>
            </a:r>
            <a:endParaRPr sz="10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42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"/>
            <a:ext cx="9144000" cy="1071562"/>
          </a:xfrm>
          <a:prstGeom prst="rect">
            <a:avLst/>
          </a:prstGeom>
        </p:spPr>
      </p:pic>
      <p:pic>
        <p:nvPicPr>
          <p:cNvPr id="43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18250"/>
            <a:ext cx="9144000" cy="539750"/>
          </a:xfrm>
          <a:prstGeom prst="rect">
            <a:avLst/>
          </a:prstGeom>
        </p:spPr>
      </p:pic>
      <p:pic>
        <p:nvPicPr>
          <p:cNvPr id="44" name="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9750" y="4"/>
            <a:ext cx="431800" cy="860425"/>
          </a:xfrm>
          <a:prstGeom prst="rect">
            <a:avLst/>
          </a:prstGeom>
        </p:spPr>
      </p:pic>
      <p:sp>
        <p:nvSpPr>
          <p:cNvPr id="2" name="text 1"/>
          <p:cNvSpPr txBox="1"/>
          <p:nvPr/>
        </p:nvSpPr>
        <p:spPr>
          <a:xfrm>
            <a:off x="4568952" y="6585437"/>
            <a:ext cx="89383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000" spc="10" dirty="0">
                <a:solidFill>
                  <a:srgbClr val="FFFFFF"/>
                </a:solidFill>
                <a:latin typeface="Verdana"/>
                <a:cs typeface="Verdana"/>
              </a:rPr>
              <a:t>24 June 2016</a:t>
            </a:r>
            <a:endParaRPr sz="1000">
              <a:latin typeface="Verdana"/>
              <a:cs typeface="Verdana"/>
            </a:endParaRPr>
          </a:p>
        </p:txBody>
      </p:sp>
      <p:pic>
        <p:nvPicPr>
          <p:cNvPr id="45" name="Image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75007" y="1073216"/>
            <a:ext cx="4352925" cy="5805423"/>
          </a:xfrm>
          <a:prstGeom prst="rect">
            <a:avLst/>
          </a:prstGeom>
        </p:spPr>
      </p:pic>
      <p:sp>
        <p:nvSpPr>
          <p:cNvPr id="3" name="text 1"/>
          <p:cNvSpPr txBox="1"/>
          <p:nvPr/>
        </p:nvSpPr>
        <p:spPr>
          <a:xfrm>
            <a:off x="478840" y="6406217"/>
            <a:ext cx="83036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000" spc="10" dirty="0">
                <a:solidFill>
                  <a:srgbClr val="FFFFFF"/>
                </a:solidFill>
                <a:latin typeface="Verdana"/>
                <a:cs typeface="Verdana"/>
              </a:rPr>
              <a:t>9</a:t>
            </a:r>
            <a:endParaRPr sz="10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0658" name="Picture 2" descr="C:\Users\A.DAMARIO.lenovo\Desktop\food conference\PDFsam_merge2\PDFsam_merge2_Page_6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61" y="1"/>
            <a:ext cx="9229432" cy="6525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51083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47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"/>
            <a:ext cx="9144000" cy="1071562"/>
          </a:xfrm>
          <a:prstGeom prst="rect">
            <a:avLst/>
          </a:prstGeom>
        </p:spPr>
      </p:pic>
      <p:pic>
        <p:nvPicPr>
          <p:cNvPr id="48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18250"/>
            <a:ext cx="9144000" cy="539750"/>
          </a:xfrm>
          <a:prstGeom prst="rect">
            <a:avLst/>
          </a:prstGeom>
        </p:spPr>
      </p:pic>
      <p:pic>
        <p:nvPicPr>
          <p:cNvPr id="49" name="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9750" y="4"/>
            <a:ext cx="431800" cy="860425"/>
          </a:xfrm>
          <a:prstGeom prst="rect">
            <a:avLst/>
          </a:prstGeom>
        </p:spPr>
      </p:pic>
      <p:sp>
        <p:nvSpPr>
          <p:cNvPr id="2" name="text 1"/>
          <p:cNvSpPr txBox="1"/>
          <p:nvPr/>
        </p:nvSpPr>
        <p:spPr>
          <a:xfrm>
            <a:off x="458115" y="1316431"/>
            <a:ext cx="3649204" cy="386260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2510" spc="10" dirty="0">
                <a:solidFill>
                  <a:srgbClr val="D10039"/>
                </a:solidFill>
                <a:latin typeface="Verdana"/>
                <a:cs typeface="Verdana"/>
              </a:rPr>
              <a:t>GENERAL  FOOD  LAW</a:t>
            </a:r>
            <a:endParaRPr sz="2500">
              <a:latin typeface="Verdana"/>
              <a:cs typeface="Verdana"/>
            </a:endParaRPr>
          </a:p>
        </p:txBody>
      </p:sp>
      <p:sp>
        <p:nvSpPr>
          <p:cNvPr id="3" name="text 1"/>
          <p:cNvSpPr txBox="1"/>
          <p:nvPr/>
        </p:nvSpPr>
        <p:spPr>
          <a:xfrm>
            <a:off x="4568952" y="6585437"/>
            <a:ext cx="89383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000" spc="10" dirty="0">
                <a:solidFill>
                  <a:srgbClr val="FFFFFF"/>
                </a:solidFill>
                <a:latin typeface="Verdana"/>
                <a:cs typeface="Verdana"/>
              </a:rPr>
              <a:t>24 June 2016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4" name="text 1"/>
          <p:cNvSpPr txBox="1"/>
          <p:nvPr/>
        </p:nvSpPr>
        <p:spPr>
          <a:xfrm>
            <a:off x="918723" y="2848969"/>
            <a:ext cx="6145593" cy="252530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2340" spc="10" dirty="0">
                <a:latin typeface="Arial"/>
                <a:cs typeface="Arial"/>
              </a:rPr>
              <a:t>Article  17:  “Food  business  operators  at  all</a:t>
            </a:r>
            <a:endParaRPr sz="2300">
              <a:latin typeface="Arial"/>
              <a:cs typeface="Arial"/>
            </a:endParaRPr>
          </a:p>
          <a:p>
            <a:pPr marL="0">
              <a:lnSpc>
                <a:spcPct val="100000"/>
              </a:lnSpc>
            </a:pPr>
            <a:r>
              <a:rPr sz="2400" spc="10" dirty="0">
                <a:latin typeface="Arial"/>
                <a:cs typeface="Arial"/>
              </a:rPr>
              <a:t>stages  of  production,  processing  and</a:t>
            </a:r>
            <a:endParaRPr sz="2400">
              <a:latin typeface="Arial"/>
              <a:cs typeface="Arial"/>
            </a:endParaRPr>
          </a:p>
          <a:p>
            <a:pPr marL="0">
              <a:lnSpc>
                <a:spcPct val="100000"/>
              </a:lnSpc>
            </a:pPr>
            <a:r>
              <a:rPr sz="2340" spc="10" dirty="0">
                <a:latin typeface="Arial"/>
                <a:cs typeface="Arial"/>
              </a:rPr>
              <a:t>distribution  within  the  business  under  their</a:t>
            </a:r>
            <a:endParaRPr sz="2300">
              <a:latin typeface="Arial"/>
              <a:cs typeface="Arial"/>
            </a:endParaRPr>
          </a:p>
          <a:p>
            <a:pPr marL="0">
              <a:lnSpc>
                <a:spcPct val="100000"/>
              </a:lnSpc>
            </a:pPr>
            <a:r>
              <a:rPr sz="2400" spc="10" dirty="0">
                <a:latin typeface="Arial"/>
                <a:cs typeface="Arial"/>
              </a:rPr>
              <a:t>control  shall  ensure  that  foods  or  feeds</a:t>
            </a:r>
            <a:endParaRPr sz="2400">
              <a:latin typeface="Arial"/>
              <a:cs typeface="Arial"/>
            </a:endParaRPr>
          </a:p>
          <a:p>
            <a:pPr marL="0">
              <a:lnSpc>
                <a:spcPct val="100000"/>
              </a:lnSpc>
            </a:pPr>
            <a:r>
              <a:rPr sz="2340" spc="10" dirty="0">
                <a:latin typeface="Arial"/>
                <a:cs typeface="Arial"/>
              </a:rPr>
              <a:t>satisfy  the  requirements  of  food  law  which</a:t>
            </a:r>
            <a:endParaRPr sz="2300">
              <a:latin typeface="Arial"/>
              <a:cs typeface="Arial"/>
            </a:endParaRPr>
          </a:p>
          <a:p>
            <a:pPr marL="0">
              <a:lnSpc>
                <a:spcPct val="100000"/>
              </a:lnSpc>
            </a:pPr>
            <a:r>
              <a:rPr sz="2190" spc="10" dirty="0">
                <a:latin typeface="Arial"/>
                <a:cs typeface="Arial"/>
              </a:rPr>
              <a:t>are  relevant  to  their  activities  and  shall  verify</a:t>
            </a:r>
            <a:endParaRPr sz="2100">
              <a:latin typeface="Arial"/>
              <a:cs typeface="Arial"/>
            </a:endParaRPr>
          </a:p>
          <a:p>
            <a:pPr marL="0">
              <a:lnSpc>
                <a:spcPct val="100000"/>
              </a:lnSpc>
            </a:pPr>
            <a:r>
              <a:rPr sz="2400" spc="10" dirty="0">
                <a:latin typeface="Arial"/>
                <a:cs typeface="Arial"/>
              </a:rPr>
              <a:t>that  such  requirements  are  met”</a:t>
            </a:r>
            <a:endParaRPr sz="2400">
              <a:latin typeface="Arial"/>
              <a:cs typeface="Arial"/>
            </a:endParaRPr>
          </a:p>
        </p:txBody>
      </p:sp>
      <p:sp>
        <p:nvSpPr>
          <p:cNvPr id="5" name="text 1"/>
          <p:cNvSpPr txBox="1"/>
          <p:nvPr/>
        </p:nvSpPr>
        <p:spPr>
          <a:xfrm>
            <a:off x="478906" y="6406217"/>
            <a:ext cx="16607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000" spc="10" dirty="0">
                <a:solidFill>
                  <a:srgbClr val="FFFFFF"/>
                </a:solidFill>
                <a:latin typeface="Verdana"/>
                <a:cs typeface="Verdana"/>
              </a:rPr>
              <a:t>10</a:t>
            </a:r>
            <a:endParaRPr sz="1000">
              <a:latin typeface="Arial"/>
              <a:cs typeface="Arial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51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"/>
            <a:ext cx="9144000" cy="1071562"/>
          </a:xfrm>
          <a:prstGeom prst="rect">
            <a:avLst/>
          </a:prstGeom>
        </p:spPr>
      </p:pic>
      <p:pic>
        <p:nvPicPr>
          <p:cNvPr id="52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18250"/>
            <a:ext cx="9144000" cy="539750"/>
          </a:xfrm>
          <a:prstGeom prst="rect">
            <a:avLst/>
          </a:prstGeom>
        </p:spPr>
      </p:pic>
      <p:pic>
        <p:nvPicPr>
          <p:cNvPr id="53" name="Image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9750" y="4"/>
            <a:ext cx="431800" cy="860425"/>
          </a:xfrm>
          <a:prstGeom prst="rect">
            <a:avLst/>
          </a:prstGeom>
        </p:spPr>
      </p:pic>
      <p:sp>
        <p:nvSpPr>
          <p:cNvPr id="2" name="text 1"/>
          <p:cNvSpPr txBox="1"/>
          <p:nvPr/>
        </p:nvSpPr>
        <p:spPr>
          <a:xfrm>
            <a:off x="458115" y="1316431"/>
            <a:ext cx="3649204" cy="386260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2510" spc="10" dirty="0">
                <a:solidFill>
                  <a:srgbClr val="D10039"/>
                </a:solidFill>
                <a:latin typeface="Verdana"/>
                <a:cs typeface="Verdana"/>
              </a:rPr>
              <a:t>GENERAL  FOOD  LAW</a:t>
            </a:r>
            <a:endParaRPr sz="2500">
              <a:latin typeface="Verdana"/>
              <a:cs typeface="Verdana"/>
            </a:endParaRPr>
          </a:p>
        </p:txBody>
      </p:sp>
      <p:sp>
        <p:nvSpPr>
          <p:cNvPr id="3" name="text 1"/>
          <p:cNvSpPr txBox="1"/>
          <p:nvPr/>
        </p:nvSpPr>
        <p:spPr>
          <a:xfrm>
            <a:off x="4568952" y="6585437"/>
            <a:ext cx="893834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000" spc="10" dirty="0">
                <a:solidFill>
                  <a:srgbClr val="FFFFFF"/>
                </a:solidFill>
                <a:latin typeface="Verdana"/>
                <a:cs typeface="Verdana"/>
              </a:rPr>
              <a:t>24 June 2016</a:t>
            </a:r>
            <a:endParaRPr sz="1000">
              <a:latin typeface="Verdana"/>
              <a:cs typeface="Verdana"/>
            </a:endParaRPr>
          </a:p>
        </p:txBody>
      </p:sp>
      <p:sp>
        <p:nvSpPr>
          <p:cNvPr id="4" name="text 1"/>
          <p:cNvSpPr txBox="1"/>
          <p:nvPr/>
        </p:nvSpPr>
        <p:spPr>
          <a:xfrm>
            <a:off x="918723" y="2848887"/>
            <a:ext cx="6234399" cy="2174441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2400" spc="10" dirty="0">
                <a:latin typeface="Arial"/>
                <a:cs typeface="Arial"/>
              </a:rPr>
              <a:t>Article  19:  Food  business  operators  are</a:t>
            </a:r>
            <a:endParaRPr sz="2400">
              <a:latin typeface="Arial"/>
              <a:cs typeface="Arial"/>
            </a:endParaRPr>
          </a:p>
          <a:p>
            <a:pPr marL="0">
              <a:lnSpc>
                <a:spcPct val="100000"/>
              </a:lnSpc>
            </a:pPr>
            <a:r>
              <a:rPr sz="2190" spc="10" dirty="0">
                <a:latin typeface="Arial"/>
                <a:cs typeface="Arial"/>
              </a:rPr>
              <a:t>responsible  for  withdrawing  food  that  is  not  in</a:t>
            </a:r>
            <a:endParaRPr sz="2100">
              <a:latin typeface="Arial"/>
              <a:cs typeface="Arial"/>
            </a:endParaRPr>
          </a:p>
          <a:p>
            <a:pPr marL="0">
              <a:lnSpc>
                <a:spcPct val="100000"/>
              </a:lnSpc>
            </a:pPr>
            <a:r>
              <a:rPr sz="2400" spc="10" dirty="0">
                <a:latin typeface="Arial"/>
                <a:cs typeface="Arial"/>
              </a:rPr>
              <a:t>compliance  with  the  food  safety</a:t>
            </a:r>
            <a:endParaRPr sz="2400">
              <a:latin typeface="Arial"/>
              <a:cs typeface="Arial"/>
            </a:endParaRPr>
          </a:p>
          <a:p>
            <a:pPr marL="0">
              <a:lnSpc>
                <a:spcPct val="100000"/>
              </a:lnSpc>
            </a:pPr>
            <a:r>
              <a:rPr sz="2340" spc="10" dirty="0">
                <a:latin typeface="Arial"/>
                <a:cs typeface="Arial"/>
              </a:rPr>
              <a:t>requirements,  inform  the  consumers,  inform</a:t>
            </a:r>
            <a:endParaRPr sz="2300">
              <a:latin typeface="Arial"/>
              <a:cs typeface="Arial"/>
            </a:endParaRPr>
          </a:p>
          <a:p>
            <a:pPr marL="0">
              <a:lnSpc>
                <a:spcPct val="100000"/>
              </a:lnSpc>
            </a:pPr>
            <a:r>
              <a:rPr sz="2400" spc="10" dirty="0">
                <a:latin typeface="Arial"/>
                <a:cs typeface="Arial"/>
              </a:rPr>
              <a:t>the  competent  authorities  and  collaborate</a:t>
            </a:r>
            <a:endParaRPr sz="2400">
              <a:latin typeface="Arial"/>
              <a:cs typeface="Arial"/>
            </a:endParaRPr>
          </a:p>
          <a:p>
            <a:pPr marL="0">
              <a:lnSpc>
                <a:spcPct val="100000"/>
              </a:lnSpc>
            </a:pPr>
            <a:r>
              <a:rPr sz="2400" spc="10" dirty="0">
                <a:latin typeface="Arial"/>
                <a:cs typeface="Arial"/>
              </a:rPr>
              <a:t>with  these  authorities</a:t>
            </a:r>
            <a:endParaRPr sz="2400">
              <a:latin typeface="Arial"/>
              <a:cs typeface="Arial"/>
            </a:endParaRPr>
          </a:p>
        </p:txBody>
      </p:sp>
      <p:sp>
        <p:nvSpPr>
          <p:cNvPr id="5" name="text 1"/>
          <p:cNvSpPr txBox="1"/>
          <p:nvPr/>
        </p:nvSpPr>
        <p:spPr>
          <a:xfrm>
            <a:off x="478906" y="6406217"/>
            <a:ext cx="166071" cy="15388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pPr marL="0">
              <a:lnSpc>
                <a:spcPct val="100000"/>
              </a:lnSpc>
            </a:pPr>
            <a:r>
              <a:rPr sz="1000" spc="10" dirty="0">
                <a:solidFill>
                  <a:srgbClr val="FFFFFF"/>
                </a:solidFill>
                <a:latin typeface="Verdana"/>
                <a:cs typeface="Verdana"/>
              </a:rPr>
              <a:t>11</a:t>
            </a:r>
            <a:endParaRPr sz="1000">
              <a:latin typeface="Arial"/>
              <a:cs typeface="Arial"/>
            </a:endParaRPr>
          </a:p>
        </p:txBody>
      </p:sp>
    </p:spTree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www.gutewerbung.net/wp-content/uploads/2014/01/feat_Black-Blaze-Coffee-Pause-Play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96552" y="0"/>
            <a:ext cx="10297294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0647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155" y="1529568"/>
            <a:ext cx="2294142" cy="32539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27" y="4776770"/>
            <a:ext cx="2075651" cy="1982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9564" y="2564904"/>
            <a:ext cx="2180468" cy="2687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5966" y="5174269"/>
            <a:ext cx="1986086" cy="17071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1758" y="1485232"/>
            <a:ext cx="1876218" cy="29833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1470" y="4636049"/>
            <a:ext cx="2036794" cy="1673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942"/>
            <a:ext cx="2952328" cy="13288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5934" y="4961255"/>
            <a:ext cx="1753868" cy="1724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8" name="Picture 14" descr="C:\Users\A.DAMARIO.lenovo\Desktop\European-Livestock-And-Meat-Trading-Union-UECBV-logo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8" y="3284984"/>
            <a:ext cx="1329129" cy="1000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9" name="Picture 15" descr="C:\Users\A.DAMARIO.lenovo\Desktop\CELCAA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9" y="2563672"/>
            <a:ext cx="2088231" cy="361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C:\Users\A.DAMARIO.lenovo\Desktop\eurocoop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0761" y="1821288"/>
            <a:ext cx="2159967" cy="487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1" name="Picture 17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5675" y="267979"/>
            <a:ext cx="2129921" cy="1386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7346" name="Picture 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9564" y="1479823"/>
            <a:ext cx="1820428" cy="1122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81309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3730" name="Picture 2" descr="C:\Users\A.DAMARIO.lenovo\Desktop\food conference\PDFsam_merge2\PDFsam_merge2_Page_9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9855"/>
            <a:ext cx="9215496" cy="6515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86571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92428" y="2211447"/>
            <a:ext cx="3204756" cy="2311879"/>
          </a:xfrm>
        </p:spPr>
        <p:txBody>
          <a:bodyPr/>
          <a:lstStyle/>
          <a:p>
            <a:r>
              <a:rPr lang="en-GB" dirty="0" smtClean="0"/>
              <a:t/>
            </a:r>
            <a:br>
              <a:rPr lang="en-GB" dirty="0" smtClean="0"/>
            </a:br>
            <a:r>
              <a:rPr lang="en-GB" sz="2600" dirty="0" smtClean="0"/>
              <a:t>FOOD CRIME</a:t>
            </a:r>
            <a:br>
              <a:rPr lang="en-GB" sz="2600" dirty="0" smtClean="0"/>
            </a:br>
            <a:r>
              <a:rPr lang="en-GB" sz="2000" dirty="0" smtClean="0"/>
              <a:t>The British Experience</a:t>
            </a:r>
            <a:endParaRPr lang="en-GB" sz="2000" dirty="0"/>
          </a:p>
        </p:txBody>
      </p:sp>
      <p:sp>
        <p:nvSpPr>
          <p:cNvPr id="3" name="TextBox 2"/>
          <p:cNvSpPr txBox="1"/>
          <p:nvPr/>
        </p:nvSpPr>
        <p:spPr>
          <a:xfrm>
            <a:off x="5659875" y="5363339"/>
            <a:ext cx="323193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 smtClean="0">
                <a:solidFill>
                  <a:prstClr val="white"/>
                </a:solidFill>
                <a:latin typeface="Calibri" panose="020F0502020204030204" pitchFamily="34" charset="0"/>
                <a:ea typeface="ＭＳ Ｐゴシック" pitchFamily="34" charset="-128"/>
              </a:rPr>
              <a:t>Andy Morling</a:t>
            </a: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 smtClean="0">
                <a:solidFill>
                  <a:prstClr val="white"/>
                </a:solidFill>
                <a:latin typeface="Calibri" panose="020F0502020204030204" pitchFamily="34" charset="0"/>
                <a:ea typeface="ＭＳ Ｐゴシック" pitchFamily="34" charset="-128"/>
              </a:rPr>
              <a:t>Head of Food Crime</a:t>
            </a: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 smtClean="0">
                <a:solidFill>
                  <a:prstClr val="white"/>
                </a:solidFill>
                <a:latin typeface="Calibri" panose="020F0502020204030204" pitchFamily="34" charset="0"/>
                <a:ea typeface="ＭＳ Ｐゴシック" pitchFamily="34" charset="-128"/>
              </a:rPr>
              <a:t>UK Food Standards Agency</a:t>
            </a: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 smtClean="0">
                <a:solidFill>
                  <a:prstClr val="white"/>
                </a:solidFill>
                <a:latin typeface="Calibri" panose="020F0502020204030204" pitchFamily="34" charset="0"/>
                <a:ea typeface="ＭＳ Ｐゴシック" pitchFamily="34" charset="-128"/>
              </a:rPr>
              <a:t>        </a:t>
            </a:r>
            <a:endParaRPr lang="en-GB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53710" y="6502000"/>
            <a:ext cx="364683" cy="356000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4333" y="723726"/>
            <a:ext cx="477411" cy="477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6039574" y="6472902"/>
            <a:ext cx="24594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b="1" dirty="0">
                <a:solidFill>
                  <a:srgbClr val="156D9F"/>
                </a:solidFill>
                <a:latin typeface="Calibri" panose="020F0502020204030204" pitchFamily="34" charset="0"/>
                <a:ea typeface="ＭＳ Ｐゴシック" pitchFamily="34" charset="-128"/>
              </a:rPr>
              <a:t>@</a:t>
            </a:r>
            <a:r>
              <a:rPr lang="en-GB" b="1" dirty="0" err="1">
                <a:solidFill>
                  <a:srgbClr val="156D9F"/>
                </a:solidFill>
                <a:latin typeface="Calibri" panose="020F0502020204030204" pitchFamily="34" charset="0"/>
                <a:ea typeface="ＭＳ Ｐゴシック" pitchFamily="34" charset="-128"/>
              </a:rPr>
              <a:t>NFCULondon</a:t>
            </a:r>
            <a:endParaRPr lang="en-GB" b="1" dirty="0">
              <a:solidFill>
                <a:srgbClr val="156D9F"/>
              </a:solidFill>
              <a:latin typeface="Calibri" panose="020F0502020204030204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352348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9779" y="2313429"/>
            <a:ext cx="4104774" cy="2132559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01810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35077" y="1427016"/>
            <a:ext cx="7211301" cy="3208159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ct val="0"/>
              </a:spcBef>
            </a:pPr>
            <a:endParaRPr lang="en-GB" sz="2400" b="1" dirty="0" smtClean="0">
              <a:solidFill>
                <a:schemeClr val="tx2"/>
              </a:solidFill>
              <a:latin typeface="+mj-lt"/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endParaRPr lang="en-GB" sz="2400" b="1" dirty="0" smtClean="0">
              <a:solidFill>
                <a:schemeClr val="accent5">
                  <a:lumMod val="75000"/>
                </a:schemeClr>
              </a:solidFill>
              <a:latin typeface="+mj-lt"/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GB" sz="2400" dirty="0" smtClean="0">
                <a:solidFill>
                  <a:srgbClr val="0080B1"/>
                </a:solidFill>
                <a:latin typeface="+mj-lt"/>
              </a:rPr>
              <a:t>The need for national leadership</a:t>
            </a:r>
          </a:p>
          <a:p>
            <a:pPr>
              <a:lnSpc>
                <a:spcPct val="90000"/>
              </a:lnSpc>
              <a:spcBef>
                <a:spcPct val="0"/>
              </a:spcBef>
            </a:pPr>
            <a:endParaRPr lang="en-GB" sz="2400" dirty="0" smtClean="0">
              <a:solidFill>
                <a:srgbClr val="0080B1"/>
              </a:solidFill>
              <a:latin typeface="+mj-lt"/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GB" sz="2400" dirty="0" smtClean="0">
                <a:solidFill>
                  <a:srgbClr val="0080B1"/>
                </a:solidFill>
                <a:latin typeface="+mj-lt"/>
              </a:rPr>
              <a:t>The need for a proactive approach</a:t>
            </a:r>
          </a:p>
          <a:p>
            <a:pPr>
              <a:lnSpc>
                <a:spcPct val="90000"/>
              </a:lnSpc>
              <a:spcBef>
                <a:spcPct val="0"/>
              </a:spcBef>
            </a:pPr>
            <a:endParaRPr lang="en-GB" sz="2400" b="1" dirty="0" smtClean="0">
              <a:solidFill>
                <a:srgbClr val="0080B1"/>
              </a:solidFill>
              <a:latin typeface="+mj-lt"/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GB" sz="2400" dirty="0" smtClean="0">
                <a:solidFill>
                  <a:srgbClr val="0080B1"/>
                </a:solidFill>
                <a:latin typeface="+mj-lt"/>
              </a:rPr>
              <a:t>The need for appropriately severe punishment</a:t>
            </a:r>
          </a:p>
          <a:p>
            <a:pPr>
              <a:lnSpc>
                <a:spcPct val="90000"/>
              </a:lnSpc>
              <a:spcBef>
                <a:spcPct val="0"/>
              </a:spcBef>
            </a:pPr>
            <a:endParaRPr lang="en-GB" sz="2400" dirty="0" smtClean="0">
              <a:solidFill>
                <a:srgbClr val="0080B1"/>
              </a:solidFill>
              <a:latin typeface="+mj-lt"/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en-GB" sz="2400" dirty="0">
                <a:solidFill>
                  <a:srgbClr val="0080B1"/>
                </a:solidFill>
                <a:latin typeface="+mj-lt"/>
              </a:rPr>
              <a:t>Food crime is a new criminal </a:t>
            </a:r>
            <a:r>
              <a:rPr lang="en-GB" sz="2400" dirty="0" smtClean="0">
                <a:solidFill>
                  <a:srgbClr val="0080B1"/>
                </a:solidFill>
                <a:latin typeface="+mj-lt"/>
              </a:rPr>
              <a:t>typology.</a:t>
            </a:r>
            <a:endParaRPr lang="en-GB" sz="2400" dirty="0">
              <a:solidFill>
                <a:srgbClr val="0080B1"/>
              </a:solidFill>
              <a:latin typeface="+mj-lt"/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endParaRPr lang="en-GB" sz="2400" dirty="0" smtClean="0">
              <a:solidFill>
                <a:srgbClr val="0080B1"/>
              </a:solidFill>
              <a:latin typeface="+mj-lt"/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endParaRPr lang="en-GB" sz="2400" b="1" dirty="0" smtClean="0">
              <a:solidFill>
                <a:schemeClr val="tx2"/>
              </a:solidFill>
              <a:latin typeface="+mj-lt"/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endParaRPr lang="en-GB" sz="2400" b="1" dirty="0" smtClean="0">
              <a:solidFill>
                <a:schemeClr val="tx2"/>
              </a:solidFill>
              <a:latin typeface="+mj-lt"/>
            </a:endParaRPr>
          </a:p>
          <a:p>
            <a:pPr>
              <a:lnSpc>
                <a:spcPct val="90000"/>
              </a:lnSpc>
              <a:spcBef>
                <a:spcPct val="0"/>
              </a:spcBef>
            </a:pPr>
            <a:endParaRPr lang="en-GB" sz="2400" b="1" dirty="0" smtClean="0">
              <a:solidFill>
                <a:schemeClr val="tx2"/>
              </a:solidFill>
              <a:latin typeface="+mj-lt"/>
            </a:endParaRPr>
          </a:p>
          <a:p>
            <a:endParaRPr lang="en-GB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35599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8007" y="542660"/>
            <a:ext cx="6369269" cy="4975274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867103" y="4918841"/>
            <a:ext cx="7330966" cy="59909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867103" y="4966250"/>
            <a:ext cx="7220607" cy="551793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dirty="0" smtClean="0">
                <a:solidFill>
                  <a:srgbClr val="0080B1"/>
                </a:solidFill>
              </a:rPr>
              <a:t>June 2012                                                                                                         June 2016           </a:t>
            </a:r>
            <a:endParaRPr lang="en-GB" sz="1400" b="1" dirty="0">
              <a:solidFill>
                <a:srgbClr val="0080B1"/>
              </a:solidFill>
            </a:endParaRPr>
          </a:p>
        </p:txBody>
      </p:sp>
      <p:cxnSp>
        <p:nvCxnSpPr>
          <p:cNvPr id="17" name="Straight Connector 16"/>
          <p:cNvCxnSpPr/>
          <p:nvPr/>
        </p:nvCxnSpPr>
        <p:spPr>
          <a:xfrm flipV="1">
            <a:off x="1411015" y="3153105"/>
            <a:ext cx="6109139" cy="1702674"/>
          </a:xfrm>
          <a:prstGeom prst="line">
            <a:avLst/>
          </a:prstGeom>
          <a:ln w="15875">
            <a:solidFill>
              <a:srgbClr val="7030A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43314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/>
          <p:cNvSpPr txBox="1">
            <a:spLocks/>
          </p:cNvSpPr>
          <p:nvPr/>
        </p:nvSpPr>
        <p:spPr bwMode="auto">
          <a:xfrm>
            <a:off x="1968556" y="2426471"/>
            <a:ext cx="4542604" cy="9106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0" fontAlgn="base" hangingPunct="0">
              <a:lnSpc>
                <a:spcPct val="15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sz="1800" kern="1200">
                <a:solidFill>
                  <a:srgbClr val="505150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182563" indent="-182563" algn="l" defTabSz="457200" rtl="0" eaLnBrk="0" fontAlgn="base" hangingPunct="0">
              <a:lnSpc>
                <a:spcPct val="15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tabLst/>
              <a:defRPr sz="1800" kern="1200">
                <a:solidFill>
                  <a:srgbClr val="505150"/>
                </a:solidFill>
                <a:latin typeface="+mn-lt"/>
                <a:ea typeface="ＭＳ Ｐゴシック" charset="-128"/>
                <a:cs typeface="+mn-cs"/>
              </a:defRPr>
            </a:lvl2pPr>
            <a:lvl3pPr marL="357188" indent="-1746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rgbClr val="505150"/>
                </a:solidFill>
                <a:latin typeface="+mn-lt"/>
                <a:ea typeface="ＭＳ Ｐゴシック" charset="-128"/>
                <a:cs typeface="+mn-cs"/>
              </a:defRPr>
            </a:lvl3pPr>
            <a:lvl4pPr marL="539750" indent="-1825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rgbClr val="505150"/>
                </a:solidFill>
                <a:latin typeface="+mn-lt"/>
                <a:ea typeface="ＭＳ Ｐゴシック" charset="-128"/>
                <a:cs typeface="+mn-cs"/>
              </a:defRPr>
            </a:lvl4pPr>
            <a:lvl5pPr marL="714375" indent="-1746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 kern="1200">
                <a:solidFill>
                  <a:srgbClr val="505150"/>
                </a:solidFill>
                <a:latin typeface="+mn-lt"/>
                <a:ea typeface="ＭＳ Ｐゴシック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 eaLnBrk="1" hangingPunct="1">
              <a:lnSpc>
                <a:spcPct val="100000"/>
              </a:lnSpc>
              <a:spcBef>
                <a:spcPct val="0"/>
              </a:spcBef>
              <a:buFont typeface="Arial" pitchFamily="34" charset="0"/>
              <a:buAutoNum type="arabicPeriod"/>
            </a:pPr>
            <a:r>
              <a:rPr lang="en-GB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cs typeface="+mn-cs"/>
              </a:rPr>
              <a:t>Serious dishonesty that impacts  </a:t>
            </a:r>
          </a:p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GB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cs typeface="+mn-cs"/>
              </a:rPr>
              <a:t>	</a:t>
            </a:r>
            <a:r>
              <a:rPr lang="en-GB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cs typeface="+mn-cs"/>
              </a:rPr>
              <a:t>detrimentally on either the safety or 	the authenticity of food.</a:t>
            </a:r>
            <a:endParaRPr lang="en-GB" sz="2000" dirty="0" smtClean="0">
              <a:solidFill>
                <a:prstClr val="black">
                  <a:lumMod val="75000"/>
                  <a:lumOff val="25000"/>
                </a:prstClr>
              </a:solidFill>
              <a:cs typeface="+mn-cs"/>
            </a:endParaRPr>
          </a:p>
          <a:p>
            <a:r>
              <a:rPr lang="en-GB" dirty="0" smtClean="0"/>
              <a:t>  </a:t>
            </a:r>
            <a:endParaRPr lang="en-GB" dirty="0"/>
          </a:p>
        </p:txBody>
      </p:sp>
      <p:sp>
        <p:nvSpPr>
          <p:cNvPr id="8" name="Rectangle 7"/>
          <p:cNvSpPr/>
          <p:nvPr/>
        </p:nvSpPr>
        <p:spPr>
          <a:xfrm>
            <a:off x="1893321" y="1964806"/>
            <a:ext cx="256294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2400" b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ea typeface="ＭＳ Ｐゴシック" pitchFamily="34" charset="-128"/>
              </a:rPr>
              <a:t>Food </a:t>
            </a:r>
            <a:r>
              <a:rPr lang="en-GB" sz="2400" b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ea typeface="ＭＳ Ｐゴシック" pitchFamily="34" charset="-128"/>
              </a:rPr>
              <a:t>crime </a:t>
            </a:r>
            <a:r>
              <a:rPr lang="en-GB" sz="2400" i="1" dirty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ea typeface="ＭＳ Ｐゴシック" pitchFamily="34" charset="-128"/>
              </a:rPr>
              <a:t>(</a:t>
            </a:r>
            <a:r>
              <a:rPr lang="en-GB" sz="2400" i="1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ea typeface="ＭＳ Ｐゴシック" pitchFamily="34" charset="-128"/>
              </a:rPr>
              <a:t>noun) </a:t>
            </a:r>
            <a:endParaRPr lang="en-GB" sz="2400" i="1" dirty="0">
              <a:solidFill>
                <a:prstClr val="black">
                  <a:lumMod val="75000"/>
                  <a:lumOff val="25000"/>
                </a:prstClr>
              </a:solidFill>
              <a:ea typeface="ＭＳ Ｐゴシック" pitchFamily="34" charset="-128"/>
            </a:endParaRPr>
          </a:p>
        </p:txBody>
      </p:sp>
      <p:sp>
        <p:nvSpPr>
          <p:cNvPr id="10" name="Content Placeholder 2"/>
          <p:cNvSpPr txBox="1">
            <a:spLocks/>
          </p:cNvSpPr>
          <p:nvPr/>
        </p:nvSpPr>
        <p:spPr bwMode="auto">
          <a:xfrm>
            <a:off x="1952789" y="3478911"/>
            <a:ext cx="5772314" cy="13415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457200" rtl="0" eaLnBrk="0" fontAlgn="base" hangingPunct="0">
              <a:lnSpc>
                <a:spcPct val="150000"/>
              </a:lnSpc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  <a:defRPr sz="1800" kern="1200">
                <a:solidFill>
                  <a:srgbClr val="505150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182563" indent="-182563" algn="l" defTabSz="457200" rtl="0" eaLnBrk="0" fontAlgn="base" hangingPunct="0">
              <a:lnSpc>
                <a:spcPct val="150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tabLst/>
              <a:defRPr sz="1800" kern="1200">
                <a:solidFill>
                  <a:srgbClr val="505150"/>
                </a:solidFill>
                <a:latin typeface="+mn-lt"/>
                <a:ea typeface="ＭＳ Ｐゴシック" charset="-128"/>
                <a:cs typeface="+mn-cs"/>
              </a:defRPr>
            </a:lvl2pPr>
            <a:lvl3pPr marL="357188" indent="-1746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1600" kern="1200">
                <a:solidFill>
                  <a:srgbClr val="505150"/>
                </a:solidFill>
                <a:latin typeface="+mn-lt"/>
                <a:ea typeface="ＭＳ Ｐゴシック" charset="-128"/>
                <a:cs typeface="+mn-cs"/>
              </a:defRPr>
            </a:lvl3pPr>
            <a:lvl4pPr marL="539750" indent="-182563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rgbClr val="505150"/>
                </a:solidFill>
                <a:latin typeface="+mn-lt"/>
                <a:ea typeface="ＭＳ Ｐゴシック" charset="-128"/>
                <a:cs typeface="+mn-cs"/>
              </a:defRPr>
            </a:lvl4pPr>
            <a:lvl5pPr marL="714375" indent="-174625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1200" kern="1200">
                <a:solidFill>
                  <a:srgbClr val="505150"/>
                </a:solidFill>
                <a:latin typeface="+mn-lt"/>
                <a:ea typeface="ＭＳ Ｐゴシック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</a:pPr>
            <a:r>
              <a:rPr lang="en-GB" sz="20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Calibri" panose="020F0502020204030204" pitchFamily="34" charset="0"/>
                <a:cs typeface="+mn-cs"/>
              </a:rPr>
              <a:t>2. 	Any meal prepared by Andy Morling.</a:t>
            </a:r>
            <a:endParaRPr lang="en-GB" sz="2000" dirty="0" smtClean="0">
              <a:solidFill>
                <a:prstClr val="black">
                  <a:lumMod val="75000"/>
                  <a:lumOff val="25000"/>
                </a:prstClr>
              </a:solidFill>
              <a:cs typeface="+mn-cs"/>
            </a:endParaRPr>
          </a:p>
          <a:p>
            <a:r>
              <a:rPr lang="en-GB" dirty="0" smtClean="0"/>
              <a:t> 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49391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 descr="C:\Users\A.DAMARIO.lenovo\Desktop\food conference\PDFsam_merge2\PDFsam_merge2_Page_18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2" y="20308"/>
            <a:ext cx="9200710" cy="65050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639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940976224"/>
              </p:ext>
            </p:extLst>
          </p:nvPr>
        </p:nvGraphicFramePr>
        <p:xfrm>
          <a:off x="915660" y="1389462"/>
          <a:ext cx="7505700" cy="381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Up-Down Arrow 2"/>
          <p:cNvSpPr/>
          <p:nvPr/>
        </p:nvSpPr>
        <p:spPr>
          <a:xfrm>
            <a:off x="592383" y="1414464"/>
            <a:ext cx="249382" cy="3794696"/>
          </a:xfrm>
          <a:prstGeom prst="upDownArrow">
            <a:avLst/>
          </a:prstGeom>
          <a:solidFill>
            <a:schemeClr val="accent3">
              <a:alpha val="48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905316" y="4099035"/>
            <a:ext cx="41936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b="1" dirty="0">
                <a:solidFill>
                  <a:prstClr val="white"/>
                </a:solidFill>
                <a:latin typeface="Calibri" panose="020F0502020204030204" pitchFamily="34" charset="0"/>
                <a:ea typeface="ＭＳ Ｐゴシック" pitchFamily="34" charset="-128"/>
              </a:rPr>
              <a:t>REGULATORY NON-COMPLIANC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3941385" y="2761171"/>
            <a:ext cx="26959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b="1" dirty="0">
                <a:solidFill>
                  <a:prstClr val="white"/>
                </a:solidFill>
                <a:latin typeface="Calibri" panose="020F0502020204030204" pitchFamily="34" charset="0"/>
                <a:ea typeface="ＭＳ Ｐゴシック" pitchFamily="34" charset="-128"/>
              </a:rPr>
              <a:t>FOOD FRAUD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941383" y="1955035"/>
            <a:ext cx="190489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b="1" dirty="0">
                <a:solidFill>
                  <a:prstClr val="white"/>
                </a:solidFill>
                <a:latin typeface="Calibri" panose="020F0502020204030204" pitchFamily="34" charset="0"/>
                <a:ea typeface="ＭＳ Ｐゴシック" pitchFamily="34" charset="-128"/>
              </a:rPr>
              <a:t>FOOD CRIME</a:t>
            </a: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413157" y="1477588"/>
            <a:ext cx="1493263" cy="538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1100" b="1" dirty="0" smtClean="0">
                <a:solidFill>
                  <a:prstClr val="white"/>
                </a:solidFill>
                <a:latin typeface="Calibri" panose="020F0502020204030204" pitchFamily="34" charset="0"/>
                <a:ea typeface="ＭＳ Ｐゴシック" pitchFamily="34" charset="-128"/>
              </a:rPr>
              <a:t>OCG</a:t>
            </a:r>
            <a:endParaRPr lang="en-GB" sz="1100" b="1" dirty="0">
              <a:solidFill>
                <a:prstClr val="white"/>
              </a:solidFill>
              <a:latin typeface="Calibri" panose="020F0502020204030204" pitchFamily="34" charset="0"/>
              <a:ea typeface="ＭＳ Ｐゴシック" pitchFamily="34" charset="-128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225510" y="242884"/>
            <a:ext cx="6195848" cy="1150883"/>
          </a:xfrm>
        </p:spPr>
        <p:txBody>
          <a:bodyPr/>
          <a:lstStyle/>
          <a:p>
            <a:r>
              <a:rPr lang="en-GB" dirty="0" smtClean="0"/>
              <a:t>THE FOOD OFFENDING PYRAMI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54181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2" grpId="0"/>
      <p:bldP spid="6" grpId="0"/>
      <p:bldP spid="7" grpId="0"/>
      <p:bldP spid="8" grpId="0"/>
    </p:bld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/>
          <p:nvPr/>
        </p:nvSpPr>
        <p:spPr>
          <a:xfrm>
            <a:off x="204952" y="1348082"/>
            <a:ext cx="2007473" cy="1739463"/>
          </a:xfrm>
          <a:prstGeom prst="ellipse">
            <a:avLst/>
          </a:prstGeom>
          <a:solidFill>
            <a:schemeClr val="accent3">
              <a:alpha val="49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dirty="0" smtClean="0">
                <a:solidFill>
                  <a:prstClr val="white"/>
                </a:solidFill>
              </a:rPr>
              <a:t>PRODUCTION </a:t>
            </a:r>
            <a:endParaRPr lang="en-GB" sz="1400" b="1" dirty="0">
              <a:solidFill>
                <a:prstClr val="white"/>
              </a:solidFill>
            </a:endParaRPr>
          </a:p>
        </p:txBody>
      </p:sp>
      <p:sp>
        <p:nvSpPr>
          <p:cNvPr id="11" name="Oval 10"/>
          <p:cNvSpPr/>
          <p:nvPr/>
        </p:nvSpPr>
        <p:spPr>
          <a:xfrm>
            <a:off x="2333296" y="1348082"/>
            <a:ext cx="2007473" cy="1739463"/>
          </a:xfrm>
          <a:prstGeom prst="ellipse">
            <a:avLst/>
          </a:prstGeom>
          <a:solidFill>
            <a:schemeClr val="accent5">
              <a:lumMod val="60000"/>
              <a:lumOff val="40000"/>
              <a:alpha val="49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dirty="0" smtClean="0">
                <a:solidFill>
                  <a:prstClr val="white"/>
                </a:solidFill>
              </a:rPr>
              <a:t>RETAIL </a:t>
            </a:r>
            <a:endParaRPr lang="en-GB" sz="1400" b="1" dirty="0">
              <a:solidFill>
                <a:prstClr val="white"/>
              </a:solidFill>
            </a:endParaRPr>
          </a:p>
        </p:txBody>
      </p:sp>
      <p:sp>
        <p:nvSpPr>
          <p:cNvPr id="12" name="Oval 11"/>
          <p:cNvSpPr/>
          <p:nvPr/>
        </p:nvSpPr>
        <p:spPr>
          <a:xfrm>
            <a:off x="6700336" y="1348081"/>
            <a:ext cx="2007473" cy="1739463"/>
          </a:xfrm>
          <a:prstGeom prst="ellipse">
            <a:avLst/>
          </a:prstGeom>
          <a:solidFill>
            <a:schemeClr val="accent3">
              <a:lumMod val="60000"/>
              <a:lumOff val="40000"/>
              <a:alpha val="49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dirty="0" smtClean="0">
                <a:solidFill>
                  <a:prstClr val="white"/>
                </a:solidFill>
              </a:rPr>
              <a:t>DISPOSAL</a:t>
            </a:r>
            <a:endParaRPr lang="en-GB" sz="1400" b="1" dirty="0">
              <a:solidFill>
                <a:prstClr val="white"/>
              </a:solidFill>
            </a:endParaRPr>
          </a:p>
        </p:txBody>
      </p:sp>
      <p:sp>
        <p:nvSpPr>
          <p:cNvPr id="13" name="Oval 12"/>
          <p:cNvSpPr/>
          <p:nvPr/>
        </p:nvSpPr>
        <p:spPr>
          <a:xfrm>
            <a:off x="4503676" y="1358588"/>
            <a:ext cx="2007473" cy="1739463"/>
          </a:xfrm>
          <a:prstGeom prst="ellipse">
            <a:avLst/>
          </a:prstGeom>
          <a:solidFill>
            <a:schemeClr val="accent2">
              <a:lumMod val="60000"/>
              <a:lumOff val="40000"/>
              <a:alpha val="49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1400" b="1" dirty="0" smtClean="0">
                <a:solidFill>
                  <a:prstClr val="white"/>
                </a:solidFill>
              </a:rPr>
              <a:t>LOGISTICS </a:t>
            </a:r>
            <a:endParaRPr lang="en-GB" sz="1400" b="1" dirty="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351152" y="3575552"/>
            <a:ext cx="2655510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 smtClean="0">
                <a:solidFill>
                  <a:srgbClr val="0080B1"/>
                </a:solidFill>
                <a:ea typeface="ＭＳ Ｐゴシック" charset="-128"/>
              </a:rPr>
              <a:t>Controlling mind</a:t>
            </a: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GB" sz="2000" b="1" dirty="0">
              <a:solidFill>
                <a:srgbClr val="0080B1"/>
              </a:solidFill>
              <a:ea typeface="ＭＳ Ｐゴシック" charset="-128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 smtClean="0">
                <a:solidFill>
                  <a:srgbClr val="0080B1"/>
                </a:solidFill>
                <a:ea typeface="ＭＳ Ｐゴシック" charset="-128"/>
              </a:rPr>
              <a:t>Insider</a:t>
            </a: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GB" sz="2000" b="1" dirty="0">
              <a:solidFill>
                <a:srgbClr val="0080B1"/>
              </a:solidFill>
              <a:ea typeface="ＭＳ Ｐゴシック" charset="-128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 smtClean="0">
                <a:solidFill>
                  <a:srgbClr val="0080B1"/>
                </a:solidFill>
                <a:ea typeface="ＭＳ Ｐゴシック" charset="-128"/>
              </a:rPr>
              <a:t>Noble cause actor</a:t>
            </a: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GB" sz="2000" b="1" dirty="0">
              <a:solidFill>
                <a:srgbClr val="0080B1"/>
              </a:solidFill>
              <a:ea typeface="ＭＳ Ｐゴシック" charset="-128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 smtClean="0">
                <a:solidFill>
                  <a:srgbClr val="0080B1"/>
                </a:solidFill>
                <a:ea typeface="ＭＳ Ｐゴシック" charset="-128"/>
              </a:rPr>
              <a:t>External actor</a:t>
            </a: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GB" sz="2000" b="1" dirty="0" smtClean="0">
              <a:solidFill>
                <a:srgbClr val="0080B1"/>
              </a:solidFill>
              <a:ea typeface="ＭＳ Ｐゴシック" charset="-128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 smtClean="0">
                <a:solidFill>
                  <a:srgbClr val="0080B1"/>
                </a:solidFill>
                <a:ea typeface="ＭＳ Ｐゴシック" charset="-128"/>
              </a:rPr>
              <a:t>Career criminal.</a:t>
            </a:r>
            <a:r>
              <a:rPr lang="en-GB" sz="2400" b="1" dirty="0">
                <a:solidFill>
                  <a:srgbClr val="0080B1"/>
                </a:solidFill>
                <a:ea typeface="ＭＳ Ｐゴシック" charset="-128"/>
              </a:rPr>
              <a:t/>
            </a:r>
            <a:br>
              <a:rPr lang="en-GB" sz="2400" b="1" dirty="0">
                <a:solidFill>
                  <a:srgbClr val="0080B1"/>
                </a:solidFill>
                <a:ea typeface="ＭＳ Ｐゴシック" charset="-128"/>
              </a:rPr>
            </a:br>
            <a:endParaRPr lang="en-GB" dirty="0">
              <a:solidFill>
                <a:prstClr val="black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11272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4" y="5171202"/>
            <a:ext cx="9182249" cy="18603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prstClr val="white"/>
              </a:solidFill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49" y="448618"/>
            <a:ext cx="9144000" cy="6174365"/>
          </a:xfrm>
        </p:spPr>
      </p:pic>
      <p:sp>
        <p:nvSpPr>
          <p:cNvPr id="5" name="TextBox 4"/>
          <p:cNvSpPr txBox="1"/>
          <p:nvPr/>
        </p:nvSpPr>
        <p:spPr>
          <a:xfrm rot="19773509">
            <a:off x="1615965" y="3878312"/>
            <a:ext cx="19391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2400" b="1" dirty="0" smtClean="0">
                <a:solidFill>
                  <a:prstClr val="white"/>
                </a:solidFill>
                <a:ea typeface="ＭＳ Ｐゴシック" pitchFamily="34" charset="-128"/>
              </a:rPr>
              <a:t>HARM</a:t>
            </a:r>
            <a:endParaRPr lang="en-GB" sz="2400" b="1" dirty="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6" name="TextBox 5"/>
          <p:cNvSpPr txBox="1"/>
          <p:nvPr/>
        </p:nvSpPr>
        <p:spPr>
          <a:xfrm rot="20638785">
            <a:off x="2752773" y="3510454"/>
            <a:ext cx="19391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2400" b="1" dirty="0" smtClean="0">
                <a:solidFill>
                  <a:prstClr val="white"/>
                </a:solidFill>
                <a:ea typeface="ＭＳ Ｐゴシック" pitchFamily="34" charset="-128"/>
              </a:rPr>
              <a:t>HARM</a:t>
            </a:r>
            <a:endParaRPr lang="en-GB" sz="2400" b="1" dirty="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>
          <a:xfrm rot="21438250">
            <a:off x="3995397" y="3451929"/>
            <a:ext cx="19391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2400" b="1" dirty="0" smtClean="0">
                <a:solidFill>
                  <a:prstClr val="white"/>
                </a:solidFill>
                <a:ea typeface="ＭＳ Ｐゴシック" pitchFamily="34" charset="-128"/>
              </a:rPr>
              <a:t>HARM</a:t>
            </a:r>
            <a:endParaRPr lang="en-GB" sz="2400" b="1" dirty="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>
          <a:xfrm rot="1379114">
            <a:off x="4686093" y="810125"/>
            <a:ext cx="193915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2200" b="1" dirty="0" smtClean="0">
                <a:solidFill>
                  <a:prstClr val="white"/>
                </a:solidFill>
                <a:ea typeface="ＭＳ Ｐゴシック" pitchFamily="34" charset="-128"/>
              </a:rPr>
              <a:t>THREAT</a:t>
            </a:r>
            <a:endParaRPr lang="en-GB" sz="2200" b="1" dirty="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9" name="TextBox 8"/>
          <p:cNvSpPr txBox="1"/>
          <p:nvPr/>
        </p:nvSpPr>
        <p:spPr>
          <a:xfrm rot="1726748">
            <a:off x="6563721" y="4236505"/>
            <a:ext cx="193915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2400" b="1" dirty="0" smtClean="0">
                <a:solidFill>
                  <a:prstClr val="white"/>
                </a:solidFill>
                <a:ea typeface="ＭＳ Ｐゴシック" pitchFamily="34" charset="-128"/>
              </a:rPr>
              <a:t>RISK</a:t>
            </a:r>
            <a:endParaRPr lang="en-GB" sz="2400" b="1" dirty="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780289" y="5920788"/>
            <a:ext cx="18753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1600" b="1" dirty="0" smtClean="0">
                <a:solidFill>
                  <a:prstClr val="white"/>
                </a:solidFill>
                <a:ea typeface="ＭＳ Ｐゴシック" pitchFamily="34" charset="-128"/>
              </a:rPr>
              <a:t>NO</a:t>
            </a:r>
          </a:p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1600" b="1" dirty="0" smtClean="0">
                <a:solidFill>
                  <a:prstClr val="white"/>
                </a:solidFill>
                <a:ea typeface="ＭＳ Ｐゴシック" pitchFamily="34" charset="-128"/>
              </a:rPr>
              <a:t>KNOWLEDGE</a:t>
            </a:r>
            <a:endParaRPr lang="en-GB" sz="1600" b="1" dirty="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835627" y="5697761"/>
            <a:ext cx="13400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 smtClean="0">
                <a:solidFill>
                  <a:prstClr val="white"/>
                </a:solidFill>
                <a:ea typeface="ＭＳ Ｐゴシック" pitchFamily="34" charset="-128"/>
              </a:rPr>
              <a:t>VULNER-ABILITY</a:t>
            </a:r>
            <a:endParaRPr lang="en-GB" sz="2000" b="1" dirty="0">
              <a:solidFill>
                <a:prstClr val="white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304409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87776" y="1244409"/>
            <a:ext cx="7294209" cy="4044390"/>
          </a:xfrm>
        </p:spPr>
        <p:txBody>
          <a:bodyPr/>
          <a:lstStyle/>
          <a:p>
            <a:r>
              <a:rPr lang="en-GB" sz="2400" dirty="0">
                <a:solidFill>
                  <a:srgbClr val="156D9F"/>
                </a:solidFill>
              </a:rPr>
              <a:t>Natural </a:t>
            </a:r>
            <a:r>
              <a:rPr lang="en-GB" sz="2400" dirty="0" smtClean="0">
                <a:solidFill>
                  <a:srgbClr val="156D9F"/>
                </a:solidFill>
              </a:rPr>
              <a:t>surveillance – see something, say something</a:t>
            </a:r>
            <a:endParaRPr lang="en-GB" sz="2400" dirty="0">
              <a:solidFill>
                <a:srgbClr val="156D9F"/>
              </a:solidFill>
            </a:endParaRPr>
          </a:p>
          <a:p>
            <a:r>
              <a:rPr lang="en-GB" sz="2400" dirty="0" smtClean="0">
                <a:solidFill>
                  <a:srgbClr val="156D9F"/>
                </a:solidFill>
              </a:rPr>
              <a:t>Multi-sector vigilance</a:t>
            </a:r>
          </a:p>
          <a:p>
            <a:r>
              <a:rPr lang="en-GB" sz="2400" dirty="0" smtClean="0">
                <a:solidFill>
                  <a:srgbClr val="156D9F"/>
                </a:solidFill>
              </a:rPr>
              <a:t>Foregrounding ethics - making </a:t>
            </a:r>
            <a:r>
              <a:rPr lang="en-GB" sz="2400" dirty="0">
                <a:solidFill>
                  <a:srgbClr val="156D9F"/>
                </a:solidFill>
              </a:rPr>
              <a:t>it industry’s problem</a:t>
            </a:r>
          </a:p>
          <a:p>
            <a:r>
              <a:rPr lang="en-GB" sz="2400" dirty="0" smtClean="0">
                <a:solidFill>
                  <a:srgbClr val="156D9F"/>
                </a:solidFill>
              </a:rPr>
              <a:t>Incentivising informers</a:t>
            </a:r>
          </a:p>
          <a:p>
            <a:r>
              <a:rPr lang="en-GB" sz="2400" dirty="0" smtClean="0">
                <a:solidFill>
                  <a:srgbClr val="156D9F"/>
                </a:solidFill>
              </a:rPr>
              <a:t>Detection </a:t>
            </a:r>
            <a:r>
              <a:rPr lang="en-GB" sz="2400" dirty="0">
                <a:solidFill>
                  <a:srgbClr val="156D9F"/>
                </a:solidFill>
              </a:rPr>
              <a:t>algorithms</a:t>
            </a:r>
          </a:p>
          <a:p>
            <a:r>
              <a:rPr lang="en-GB" sz="2400" dirty="0">
                <a:solidFill>
                  <a:srgbClr val="156D9F"/>
                </a:solidFill>
              </a:rPr>
              <a:t>Dedicated </a:t>
            </a:r>
            <a:r>
              <a:rPr lang="en-GB" sz="2400" dirty="0" smtClean="0">
                <a:solidFill>
                  <a:srgbClr val="156D9F"/>
                </a:solidFill>
              </a:rPr>
              <a:t>law enforcement response</a:t>
            </a:r>
            <a:endParaRPr lang="en-GB" sz="2400" dirty="0">
              <a:solidFill>
                <a:srgbClr val="156D9F"/>
              </a:solidFill>
            </a:endParaRPr>
          </a:p>
          <a:p>
            <a:r>
              <a:rPr lang="en-GB" sz="2400" dirty="0">
                <a:solidFill>
                  <a:srgbClr val="156D9F"/>
                </a:solidFill>
              </a:rPr>
              <a:t>Zero </a:t>
            </a:r>
            <a:r>
              <a:rPr lang="en-GB" sz="2400" dirty="0" smtClean="0">
                <a:solidFill>
                  <a:srgbClr val="156D9F"/>
                </a:solidFill>
              </a:rPr>
              <a:t>tolerance.</a:t>
            </a:r>
            <a:endParaRPr lang="en-GB" sz="2400" dirty="0">
              <a:solidFill>
                <a:srgbClr val="156D9F"/>
              </a:solidFill>
            </a:endParaRPr>
          </a:p>
          <a:p>
            <a:pPr algn="ctr"/>
            <a:endParaRPr lang="en-GB" sz="2800" dirty="0">
              <a:solidFill>
                <a:schemeClr val="accent5"/>
              </a:solidFill>
            </a:endParaRPr>
          </a:p>
          <a:p>
            <a:pPr algn="ctr"/>
            <a:endParaRPr lang="en-GB" sz="2800" dirty="0">
              <a:solidFill>
                <a:srgbClr val="156D9F"/>
              </a:solidFill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 bwMode="auto">
          <a:xfrm>
            <a:off x="982038" y="-230789"/>
            <a:ext cx="7505701" cy="955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2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-128"/>
                <a:cs typeface="ＭＳ Ｐゴシック" charset="-128"/>
              </a:defRPr>
            </a:lvl9pPr>
          </a:lstStyle>
          <a:p>
            <a:pPr algn="ctr"/>
            <a:r>
              <a:rPr lang="en-GB" dirty="0" smtClean="0">
                <a:solidFill>
                  <a:srgbClr val="0080B1"/>
                </a:solidFill>
              </a:rPr>
              <a:t>Lessons from history</a:t>
            </a:r>
            <a:endParaRPr lang="en-GB" dirty="0">
              <a:solidFill>
                <a:srgbClr val="0080B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51461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1232966195"/>
              </p:ext>
            </p:extLst>
          </p:nvPr>
        </p:nvGraphicFramePr>
        <p:xfrm>
          <a:off x="1292829" y="988715"/>
          <a:ext cx="6557235" cy="49762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481836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2680" cy="68580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5234153" y="4345187"/>
            <a:ext cx="247518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 smtClean="0">
                <a:solidFill>
                  <a:prstClr val="white"/>
                </a:solidFill>
                <a:latin typeface="Calibri" panose="020F0502020204030204" pitchFamily="34" charset="0"/>
                <a:ea typeface="ＭＳ Ｐゴシック" pitchFamily="34" charset="-128"/>
              </a:rPr>
              <a:t>HUMINT</a:t>
            </a:r>
            <a:endParaRPr lang="en-GB" sz="2000" b="1" dirty="0">
              <a:solidFill>
                <a:prstClr val="white"/>
              </a:solidFill>
              <a:latin typeface="Calibri" panose="020F0502020204030204" pitchFamily="34" charset="0"/>
              <a:ea typeface="ＭＳ Ｐゴシック" pitchFamily="34" charset="-128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673917" y="4081234"/>
            <a:ext cx="24751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 pitchFamily="34" charset="0"/>
                <a:ea typeface="ＭＳ Ｐゴシック" pitchFamily="34" charset="-128"/>
              </a:rPr>
              <a:t>INDUSTRY</a:t>
            </a: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b="1" dirty="0" smtClean="0">
                <a:solidFill>
                  <a:prstClr val="white"/>
                </a:solidFill>
                <a:latin typeface="Calibri" panose="020F0502020204030204" pitchFamily="34" charset="0"/>
                <a:ea typeface="ＭＳ Ｐゴシック" pitchFamily="34" charset="-128"/>
              </a:rPr>
              <a:t>INFORMATION</a:t>
            </a:r>
            <a:endParaRPr lang="en-GB" b="1" dirty="0">
              <a:solidFill>
                <a:prstClr val="white"/>
              </a:solidFill>
              <a:latin typeface="Calibri" panose="020F0502020204030204" pitchFamily="34" charset="0"/>
              <a:ea typeface="ＭＳ Ｐゴシック" pitchFamily="34" charset="-128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916622" y="1797315"/>
            <a:ext cx="247518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 smtClean="0">
                <a:solidFill>
                  <a:prstClr val="white"/>
                </a:solidFill>
                <a:latin typeface="Calibri" panose="020F0502020204030204" pitchFamily="34" charset="0"/>
                <a:ea typeface="ＭＳ Ｐゴシック" pitchFamily="34" charset="-128"/>
              </a:rPr>
              <a:t>OPEN</a:t>
            </a: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 smtClean="0">
                <a:solidFill>
                  <a:prstClr val="white"/>
                </a:solidFill>
                <a:latin typeface="Calibri" panose="020F0502020204030204" pitchFamily="34" charset="0"/>
                <a:ea typeface="ＭＳ Ｐゴシック" pitchFamily="34" charset="-128"/>
              </a:rPr>
              <a:t>SOURCE</a:t>
            </a: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 smtClean="0">
                <a:solidFill>
                  <a:prstClr val="white"/>
                </a:solidFill>
                <a:latin typeface="Calibri" panose="020F0502020204030204" pitchFamily="34" charset="0"/>
                <a:ea typeface="ＭＳ Ｐゴシック" pitchFamily="34" charset="-128"/>
              </a:rPr>
              <a:t>DATA</a:t>
            </a:r>
            <a:endParaRPr lang="en-GB" sz="2000" b="1" dirty="0">
              <a:solidFill>
                <a:prstClr val="white"/>
              </a:solidFill>
              <a:latin typeface="Calibri" panose="020F0502020204030204" pitchFamily="34" charset="0"/>
              <a:ea typeface="ＭＳ Ｐゴシック" pitchFamily="34" charset="-128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960922" y="1693580"/>
            <a:ext cx="147933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 smtClean="0">
                <a:solidFill>
                  <a:prstClr val="white"/>
                </a:solidFill>
                <a:latin typeface="Calibri" panose="020F0502020204030204" pitchFamily="34" charset="0"/>
                <a:ea typeface="ＭＳ Ｐゴシック" pitchFamily="34" charset="-128"/>
              </a:rPr>
              <a:t>CLOSED SOURCE</a:t>
            </a: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2000" b="1" dirty="0" smtClean="0">
                <a:solidFill>
                  <a:prstClr val="white"/>
                </a:solidFill>
                <a:latin typeface="Calibri" panose="020F0502020204030204" pitchFamily="34" charset="0"/>
                <a:ea typeface="ＭＳ Ｐゴシック" pitchFamily="34" charset="-128"/>
              </a:rPr>
              <a:t>DATA</a:t>
            </a:r>
            <a:endParaRPr lang="en-GB" sz="2000" b="1" dirty="0">
              <a:solidFill>
                <a:prstClr val="white"/>
              </a:solidFill>
              <a:latin typeface="Calibri" panose="020F0502020204030204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24165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366" y="18711"/>
            <a:ext cx="6813373" cy="6610368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350579" y="4441428"/>
            <a:ext cx="27904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2400" b="1" dirty="0" smtClean="0">
                <a:solidFill>
                  <a:prstClr val="white"/>
                </a:solidFill>
                <a:ea typeface="ＭＳ Ｐゴシック" pitchFamily="34" charset="-128"/>
              </a:rPr>
              <a:t>MOTIVATION</a:t>
            </a:r>
            <a:endParaRPr lang="en-GB" sz="2400" b="1" dirty="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004239" y="4441430"/>
            <a:ext cx="27904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2400" b="1" dirty="0" smtClean="0">
                <a:solidFill>
                  <a:prstClr val="white"/>
                </a:solidFill>
                <a:ea typeface="ＭＳ Ｐゴシック" pitchFamily="34" charset="-128"/>
              </a:rPr>
              <a:t>OPPORTUNITY</a:t>
            </a:r>
            <a:endParaRPr lang="en-GB" sz="2400" b="1" dirty="0">
              <a:solidFill>
                <a:prstClr val="white"/>
              </a:solidFill>
              <a:ea typeface="ＭＳ Ｐゴシック" pitchFamily="34" charset="-128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711422" y="1692801"/>
            <a:ext cx="17736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2400" b="1" dirty="0" smtClean="0">
                <a:solidFill>
                  <a:prstClr val="white"/>
                </a:solidFill>
                <a:ea typeface="ＭＳ Ｐゴシック" pitchFamily="34" charset="-128"/>
              </a:rPr>
              <a:t>MEANS</a:t>
            </a:r>
            <a:endParaRPr lang="en-GB" sz="2400" b="1" dirty="0">
              <a:solidFill>
                <a:prstClr val="white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5194260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5" grpId="0"/>
    </p:bldLst>
  </p:timing>
</p:sld>
</file>

<file path=ppt/slides/slide7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 flipV="1">
            <a:off x="1008993" y="540501"/>
            <a:ext cx="6731876" cy="5961809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6855" y="4989788"/>
            <a:ext cx="1859137" cy="1045254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5451" y="3326742"/>
            <a:ext cx="1381835" cy="77690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9730" y="2380705"/>
            <a:ext cx="693268" cy="389773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7972" y="994345"/>
            <a:ext cx="357093" cy="200767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1879643" y="6239877"/>
            <a:ext cx="570476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3200" b="1" dirty="0" smtClean="0">
                <a:solidFill>
                  <a:srgbClr val="0080B1"/>
                </a:solidFill>
                <a:ea typeface="ＭＳ Ｐゴシック" pitchFamily="34" charset="-128"/>
              </a:rPr>
              <a:t>Lawful food business operator</a:t>
            </a:r>
            <a:endParaRPr lang="en-US" sz="3200" b="1" dirty="0">
              <a:solidFill>
                <a:srgbClr val="0080B1"/>
              </a:solidFill>
              <a:ea typeface="ＭＳ Ｐゴシック" pitchFamily="34" charset="-128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3117803" y="288372"/>
            <a:ext cx="3441361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3200" b="1" dirty="0" smtClean="0">
                <a:solidFill>
                  <a:srgbClr val="0080B1"/>
                </a:solidFill>
                <a:ea typeface="ＭＳ Ｐゴシック" pitchFamily="34" charset="-128"/>
              </a:rPr>
              <a:t>Food criminal</a:t>
            </a:r>
            <a:endParaRPr lang="en-US" sz="3200" b="1" dirty="0">
              <a:solidFill>
                <a:srgbClr val="0080B1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207512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7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194" y="1749973"/>
            <a:ext cx="3316532" cy="3316532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4146331" y="2875113"/>
            <a:ext cx="249299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sz="3600" b="1" dirty="0" smtClean="0">
                <a:solidFill>
                  <a:srgbClr val="8064A2">
                    <a:lumMod val="50000"/>
                  </a:srgbClr>
                </a:solidFill>
                <a:latin typeface="Arial" pitchFamily="34" charset="0"/>
                <a:ea typeface="ＭＳ Ｐゴシック" pitchFamily="34" charset="-128"/>
              </a:rPr>
              <a:t>Thank you</a:t>
            </a:r>
            <a:endParaRPr lang="en-GB" sz="3600" b="1" dirty="0">
              <a:solidFill>
                <a:srgbClr val="8064A2">
                  <a:lumMod val="50000"/>
                </a:srgbClr>
              </a:solidFill>
              <a:latin typeface="Arial" pitchFamily="34" charset="0"/>
              <a:ea typeface="ＭＳ Ｐゴシック" pitchFamily="34" charset="-128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5972" y="5710162"/>
            <a:ext cx="434780" cy="424428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445876" y="5710162"/>
            <a:ext cx="469812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b="1" dirty="0" smtClean="0">
                <a:solidFill>
                  <a:srgbClr val="8064A2">
                    <a:lumMod val="50000"/>
                  </a:srgbClr>
                </a:solidFill>
                <a:latin typeface="Arial" pitchFamily="34" charset="0"/>
                <a:ea typeface="ＭＳ Ｐゴシック" pitchFamily="34" charset="-128"/>
              </a:rPr>
              <a:t>@</a:t>
            </a:r>
            <a:r>
              <a:rPr lang="en-GB" b="1" dirty="0" err="1" smtClean="0">
                <a:solidFill>
                  <a:srgbClr val="8064A2">
                    <a:lumMod val="50000"/>
                  </a:srgbClr>
                </a:solidFill>
                <a:latin typeface="Arial" pitchFamily="34" charset="0"/>
                <a:ea typeface="ＭＳ Ｐゴシック" pitchFamily="34" charset="-128"/>
              </a:rPr>
              <a:t>NFCULondon</a:t>
            </a:r>
            <a:endParaRPr lang="en-GB" b="1" dirty="0" smtClean="0">
              <a:solidFill>
                <a:srgbClr val="8064A2">
                  <a:lumMod val="50000"/>
                </a:srgbClr>
              </a:solidFill>
              <a:latin typeface="Arial" pitchFamily="34" charset="0"/>
              <a:ea typeface="ＭＳ Ｐゴシック" pitchFamily="34" charset="-128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GB" b="1" dirty="0">
              <a:solidFill>
                <a:srgbClr val="8064A2">
                  <a:lumMod val="50000"/>
                </a:srgbClr>
              </a:solidFill>
              <a:latin typeface="Arial" pitchFamily="34" charset="0"/>
              <a:ea typeface="ＭＳ Ｐゴシック" pitchFamily="34" charset="-128"/>
            </a:endParaRPr>
          </a:p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r>
              <a:rPr lang="en-GB" b="1" dirty="0" smtClean="0">
                <a:solidFill>
                  <a:srgbClr val="8064A2">
                    <a:lumMod val="50000"/>
                  </a:srgbClr>
                </a:solidFill>
                <a:latin typeface="Arial" pitchFamily="34" charset="0"/>
                <a:ea typeface="ＭＳ Ｐゴシック" pitchFamily="34" charset="-128"/>
              </a:rPr>
              <a:t>andy.morling@foodstandards.gsi.gov.uk</a:t>
            </a:r>
            <a:endParaRPr lang="en-GB" b="1" dirty="0">
              <a:solidFill>
                <a:srgbClr val="8064A2">
                  <a:lumMod val="50000"/>
                </a:srgbClr>
              </a:solidFill>
              <a:latin typeface="Arial" pitchFamily="34" charset="0"/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034509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4754" name="Picture 2" descr="C:\Users\A.DAMARIO.lenovo\Desktop\food conference\PDFsam_merge2\PDFsam_merge2_Page_10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437" y="0"/>
            <a:ext cx="9229432" cy="6525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262397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4"/>
          <p:cNvSpPr>
            <a:spLocks noGrp="1" noChangeArrowheads="1"/>
          </p:cNvSpPr>
          <p:nvPr>
            <p:ph type="ctrTitle"/>
          </p:nvPr>
        </p:nvSpPr>
        <p:spPr>
          <a:xfrm>
            <a:off x="146106" y="908050"/>
            <a:ext cx="8893175" cy="1800225"/>
          </a:xfrm>
        </p:spPr>
        <p:txBody>
          <a:bodyPr/>
          <a:lstStyle/>
          <a:p>
            <a:pPr eaLnBrk="1" hangingPunct="1"/>
            <a:r>
              <a:rPr lang="en-US" altLang="it-IT" sz="3600" smtClean="0">
                <a:latin typeface="Comic Sans MS" pitchFamily="66" charset="0"/>
              </a:rPr>
              <a:t>The results of Operation OPSON</a:t>
            </a:r>
            <a:endParaRPr lang="en-GB" altLang="nl-BE" sz="3600" smtClean="0">
              <a:latin typeface="Comic Sans MS" pitchFamily="66" charset="0"/>
            </a:endParaRPr>
          </a:p>
        </p:txBody>
      </p:sp>
      <p:sp>
        <p:nvSpPr>
          <p:cNvPr id="27651" name="Rectangle 5"/>
          <p:cNvSpPr>
            <a:spLocks noGrp="1" noChangeArrowheads="1"/>
          </p:cNvSpPr>
          <p:nvPr>
            <p:ph type="subTitle" idx="1"/>
          </p:nvPr>
        </p:nvSpPr>
        <p:spPr>
          <a:xfrm>
            <a:off x="971550" y="2901950"/>
            <a:ext cx="7848600" cy="3767138"/>
          </a:xfrm>
        </p:spPr>
        <p:txBody>
          <a:bodyPr/>
          <a:lstStyle/>
          <a:p>
            <a:r>
              <a:rPr lang="en-US" altLang="en-US" sz="3200" b="1" smtClean="0">
                <a:latin typeface="Comic Sans MS" pitchFamily="66" charset="0"/>
              </a:rPr>
              <a:t>High Level Conference</a:t>
            </a:r>
          </a:p>
          <a:p>
            <a:r>
              <a:rPr lang="en-US" altLang="en-US" sz="3200" b="1" smtClean="0">
                <a:latin typeface="Comic Sans MS" pitchFamily="66" charset="0"/>
              </a:rPr>
              <a:t>“Food Authenticity and Integrity”</a:t>
            </a:r>
          </a:p>
          <a:p>
            <a:pPr algn="ctr"/>
            <a:endParaRPr lang="en-GB" altLang="nl-BE" sz="3200" b="1" smtClean="0">
              <a:latin typeface="Comic Sans MS" pitchFamily="66" charset="0"/>
            </a:endParaRPr>
          </a:p>
          <a:p>
            <a:endParaRPr lang="en-GB" altLang="it-IT" sz="3200" b="1" smtClean="0">
              <a:latin typeface="Comic Sans MS" pitchFamily="66" charset="0"/>
            </a:endParaRPr>
          </a:p>
          <a:p>
            <a:pPr eaLnBrk="1" hangingPunct="1"/>
            <a:r>
              <a:rPr lang="en-GB" altLang="nl-BE" b="1" smtClean="0">
                <a:latin typeface="Comic Sans MS" pitchFamily="66" charset="0"/>
              </a:rPr>
              <a:t>Brussels, Belgium</a:t>
            </a:r>
          </a:p>
          <a:p>
            <a:pPr eaLnBrk="1" hangingPunct="1"/>
            <a:r>
              <a:rPr lang="en-GB" altLang="nl-BE" b="1" smtClean="0">
                <a:latin typeface="Comic Sans MS" pitchFamily="66" charset="0"/>
              </a:rPr>
              <a:t>24 June 2016</a:t>
            </a:r>
          </a:p>
          <a:p>
            <a:pPr eaLnBrk="1" hangingPunct="1"/>
            <a:endParaRPr lang="en-GB" altLang="nl-BE" sz="3600" smtClean="0">
              <a:latin typeface="Comic Sans MS" pitchFamily="66" charset="0"/>
            </a:endParaRPr>
          </a:p>
        </p:txBody>
      </p:sp>
      <p:sp>
        <p:nvSpPr>
          <p:cNvPr id="25604" name="Line 6"/>
          <p:cNvSpPr>
            <a:spLocks noChangeShapeType="1"/>
          </p:cNvSpPr>
          <p:nvPr/>
        </p:nvSpPr>
        <p:spPr bwMode="auto">
          <a:xfrm flipH="1">
            <a:off x="2195517" y="2852738"/>
            <a:ext cx="6948487" cy="0"/>
          </a:xfrm>
          <a:prstGeom prst="line">
            <a:avLst/>
          </a:prstGeom>
          <a:noFill/>
          <a:ln w="25400">
            <a:solidFill>
              <a:srgbClr val="FBDB19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mtClean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25605" name="Rectangle 9"/>
          <p:cNvSpPr>
            <a:spLocks noChangeArrowheads="1"/>
          </p:cNvSpPr>
          <p:nvPr/>
        </p:nvSpPr>
        <p:spPr bwMode="auto">
          <a:xfrm>
            <a:off x="9072273" y="493978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spcBef>
                <a:spcPct val="20000"/>
              </a:spcBef>
              <a:defRPr sz="2400">
                <a:solidFill>
                  <a:srgbClr val="063170"/>
                </a:solidFill>
                <a:latin typeface="Verdana" pitchFamily="34" charset="0"/>
              </a:defRPr>
            </a:lvl1pPr>
            <a:lvl2pPr marL="742950" indent="-285750">
              <a:spcBef>
                <a:spcPct val="20000"/>
              </a:spcBef>
              <a:buSzPct val="85000"/>
              <a:buChar char="•"/>
              <a:defRPr sz="2400">
                <a:solidFill>
                  <a:srgbClr val="063170"/>
                </a:solidFill>
                <a:latin typeface="Verdana" pitchFamily="34" charset="0"/>
              </a:defRPr>
            </a:lvl2pPr>
            <a:lvl3pPr marL="1143000" indent="-22860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063170"/>
                </a:solidFill>
                <a:latin typeface="Verdan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063170"/>
                </a:solidFill>
                <a:latin typeface="Verdan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rgbClr val="063170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63170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63170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63170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63170"/>
                </a:solidFill>
                <a:latin typeface="Verdana" pitchFamily="34" charset="0"/>
              </a:defRPr>
            </a:lvl9pPr>
          </a:lstStyle>
          <a:p>
            <a:pPr algn="ctr" fontAlgn="base">
              <a:spcAft>
                <a:spcPct val="0"/>
              </a:spcAft>
            </a:pPr>
            <a:endParaRPr lang="nl-BE" altLang="nl-BE" sz="1800" smtClean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25606" name="Rectangle 14"/>
          <p:cNvSpPr>
            <a:spLocks noChangeArrowheads="1"/>
          </p:cNvSpPr>
          <p:nvPr/>
        </p:nvSpPr>
        <p:spPr bwMode="auto">
          <a:xfrm>
            <a:off x="9370723" y="4185722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spcBef>
                <a:spcPct val="20000"/>
              </a:spcBef>
              <a:defRPr sz="2400">
                <a:solidFill>
                  <a:srgbClr val="063170"/>
                </a:solidFill>
                <a:latin typeface="Verdana" pitchFamily="34" charset="0"/>
              </a:defRPr>
            </a:lvl1pPr>
            <a:lvl2pPr marL="742950" indent="-285750">
              <a:spcBef>
                <a:spcPct val="20000"/>
              </a:spcBef>
              <a:buSzPct val="85000"/>
              <a:buChar char="•"/>
              <a:defRPr sz="2400">
                <a:solidFill>
                  <a:srgbClr val="063170"/>
                </a:solidFill>
                <a:latin typeface="Verdana" pitchFamily="34" charset="0"/>
              </a:defRPr>
            </a:lvl2pPr>
            <a:lvl3pPr marL="1143000" indent="-22860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063170"/>
                </a:solidFill>
                <a:latin typeface="Verdan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063170"/>
                </a:solidFill>
                <a:latin typeface="Verdan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rgbClr val="063170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63170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63170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63170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63170"/>
                </a:solidFill>
                <a:latin typeface="Verdana" pitchFamily="34" charset="0"/>
              </a:defRPr>
            </a:lvl9pPr>
          </a:lstStyle>
          <a:p>
            <a:pPr algn="ctr" fontAlgn="base">
              <a:spcAft>
                <a:spcPct val="0"/>
              </a:spcAft>
            </a:pPr>
            <a:endParaRPr lang="nl-BE" altLang="nl-BE" sz="1800" smtClean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25607" name="Rectangle 16"/>
          <p:cNvSpPr>
            <a:spLocks noChangeArrowheads="1"/>
          </p:cNvSpPr>
          <p:nvPr/>
        </p:nvSpPr>
        <p:spPr bwMode="auto">
          <a:xfrm>
            <a:off x="8318213" y="47175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spcBef>
                <a:spcPct val="20000"/>
              </a:spcBef>
              <a:defRPr sz="2400">
                <a:solidFill>
                  <a:srgbClr val="063170"/>
                </a:solidFill>
                <a:latin typeface="Verdana" pitchFamily="34" charset="0"/>
              </a:defRPr>
            </a:lvl1pPr>
            <a:lvl2pPr marL="742950" indent="-285750">
              <a:spcBef>
                <a:spcPct val="20000"/>
              </a:spcBef>
              <a:buSzPct val="85000"/>
              <a:buChar char="•"/>
              <a:defRPr sz="2400">
                <a:solidFill>
                  <a:srgbClr val="063170"/>
                </a:solidFill>
                <a:latin typeface="Verdana" pitchFamily="34" charset="0"/>
              </a:defRPr>
            </a:lvl2pPr>
            <a:lvl3pPr marL="1143000" indent="-228600">
              <a:spcBef>
                <a:spcPct val="20000"/>
              </a:spcBef>
              <a:buFont typeface="Wingdings" pitchFamily="2" charset="2"/>
              <a:buChar char="§"/>
              <a:defRPr sz="2000">
                <a:solidFill>
                  <a:srgbClr val="063170"/>
                </a:solidFill>
                <a:latin typeface="Verdana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rgbClr val="063170"/>
                </a:solidFill>
                <a:latin typeface="Verdana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1600">
                <a:solidFill>
                  <a:srgbClr val="063170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63170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63170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63170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00">
                <a:solidFill>
                  <a:srgbClr val="063170"/>
                </a:solidFill>
                <a:latin typeface="Verdana" pitchFamily="34" charset="0"/>
              </a:defRPr>
            </a:lvl9pPr>
          </a:lstStyle>
          <a:p>
            <a:pPr algn="ctr" fontAlgn="base">
              <a:spcAft>
                <a:spcPct val="0"/>
              </a:spcAft>
            </a:pPr>
            <a:endParaRPr lang="nl-BE" altLang="nl-BE" sz="1800" smtClean="0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8" name="TextBox 6"/>
          <p:cNvSpPr txBox="1"/>
          <p:nvPr/>
        </p:nvSpPr>
        <p:spPr>
          <a:xfrm>
            <a:off x="2914706" y="6553200"/>
            <a:ext cx="3960813" cy="260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EUROPOL UNCLASSIFIED – BASIC PROTECTION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8" name="Picture 3"/>
          <p:cNvPicPr>
            <a:picLocks noChangeAspect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54431" y="1557338"/>
            <a:ext cx="2339975" cy="194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9459" name="Group 11"/>
          <p:cNvGrpSpPr>
            <a:grpSpLocks/>
          </p:cNvGrpSpPr>
          <p:nvPr/>
        </p:nvGrpSpPr>
        <p:grpSpPr bwMode="auto">
          <a:xfrm>
            <a:off x="2732144" y="5300775"/>
            <a:ext cx="5832475" cy="479425"/>
            <a:chOff x="1619672" y="5805511"/>
            <a:chExt cx="5832648" cy="479331"/>
          </a:xfrm>
        </p:grpSpPr>
        <p:sp>
          <p:nvSpPr>
            <p:cNvPr id="3" name="Freeform 2"/>
            <p:cNvSpPr/>
            <p:nvPr/>
          </p:nvSpPr>
          <p:spPr>
            <a:xfrm>
              <a:off x="1619672" y="5805511"/>
              <a:ext cx="5832648" cy="479331"/>
            </a:xfrm>
            <a:custGeom>
              <a:avLst/>
              <a:gdLst>
                <a:gd name="connsiteX0" fmla="*/ 0 w 5832648"/>
                <a:gd name="connsiteY0" fmla="*/ 47994 h 479936"/>
                <a:gd name="connsiteX1" fmla="*/ 47994 w 5832648"/>
                <a:gd name="connsiteY1" fmla="*/ 0 h 479936"/>
                <a:gd name="connsiteX2" fmla="*/ 5784654 w 5832648"/>
                <a:gd name="connsiteY2" fmla="*/ 0 h 479936"/>
                <a:gd name="connsiteX3" fmla="*/ 5832648 w 5832648"/>
                <a:gd name="connsiteY3" fmla="*/ 47994 h 479936"/>
                <a:gd name="connsiteX4" fmla="*/ 5832648 w 5832648"/>
                <a:gd name="connsiteY4" fmla="*/ 431942 h 479936"/>
                <a:gd name="connsiteX5" fmla="*/ 5784654 w 5832648"/>
                <a:gd name="connsiteY5" fmla="*/ 479936 h 479936"/>
                <a:gd name="connsiteX6" fmla="*/ 47994 w 5832648"/>
                <a:gd name="connsiteY6" fmla="*/ 479936 h 479936"/>
                <a:gd name="connsiteX7" fmla="*/ 0 w 5832648"/>
                <a:gd name="connsiteY7" fmla="*/ 431942 h 479936"/>
                <a:gd name="connsiteX8" fmla="*/ 0 w 5832648"/>
                <a:gd name="connsiteY8" fmla="*/ 47994 h 4799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5832648" h="479936">
                  <a:moveTo>
                    <a:pt x="0" y="47994"/>
                  </a:moveTo>
                  <a:cubicBezTo>
                    <a:pt x="0" y="21488"/>
                    <a:pt x="21488" y="0"/>
                    <a:pt x="47994" y="0"/>
                  </a:cubicBezTo>
                  <a:lnTo>
                    <a:pt x="5784654" y="0"/>
                  </a:lnTo>
                  <a:cubicBezTo>
                    <a:pt x="5811160" y="0"/>
                    <a:pt x="5832648" y="21488"/>
                    <a:pt x="5832648" y="47994"/>
                  </a:cubicBezTo>
                  <a:lnTo>
                    <a:pt x="5832648" y="431942"/>
                  </a:lnTo>
                  <a:cubicBezTo>
                    <a:pt x="5832648" y="458448"/>
                    <a:pt x="5811160" y="479936"/>
                    <a:pt x="5784654" y="479936"/>
                  </a:cubicBezTo>
                  <a:lnTo>
                    <a:pt x="47994" y="479936"/>
                  </a:lnTo>
                  <a:cubicBezTo>
                    <a:pt x="21488" y="479936"/>
                    <a:pt x="0" y="458448"/>
                    <a:pt x="0" y="431942"/>
                  </a:cubicBezTo>
                  <a:lnTo>
                    <a:pt x="0" y="47994"/>
                  </a:lnTo>
                  <a:close/>
                </a:path>
              </a:pathLst>
            </a:custGeom>
            <a:solidFill>
              <a:srgbClr val="92D050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1275483" tIns="60960" rIns="60961" bIns="60960" spcCol="1270" anchor="ctr"/>
            <a:lstStyle/>
            <a:p>
              <a:pPr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GB" dirty="0">
                  <a:solidFill>
                    <a:prstClr val="black"/>
                  </a:solidFill>
                </a:rPr>
                <a:t>www.foodintegrity.eu    </a:t>
              </a:r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1691680" y="5853504"/>
              <a:ext cx="900000" cy="360000"/>
            </a:xfrm>
            <a:prstGeom prst="roundRect">
              <a:avLst>
                <a:gd name="adj" fmla="val 10000"/>
              </a:avLst>
            </a:prstGeom>
            <a:blipFill dpi="0" rotWithShape="1">
              <a:blip r:embed="rId3"/>
              <a:srcRect/>
              <a:stretch>
                <a:fillRect l="10000" r="10000"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19460" name="TextBox 1"/>
          <p:cNvSpPr txBox="1">
            <a:spLocks noChangeArrowheads="1"/>
          </p:cNvSpPr>
          <p:nvPr/>
        </p:nvSpPr>
        <p:spPr bwMode="auto">
          <a:xfrm>
            <a:off x="2411413" y="3789475"/>
            <a:ext cx="5473700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SzPct val="75000"/>
              <a:buFont typeface="Wingdings" pitchFamily="2" charset="2"/>
              <a:defRPr sz="2800">
                <a:solidFill>
                  <a:srgbClr val="00944B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EF4034"/>
              </a:buClr>
              <a:buSzPct val="75000"/>
              <a:buChar char="•"/>
              <a:defRPr sz="24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20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EF4034"/>
              </a:buClr>
              <a:buSzPct val="95000"/>
              <a:buChar char="•"/>
              <a:defRPr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altLang="en-US" sz="1800" b="1" i="1" smtClean="0">
                <a:solidFill>
                  <a:srgbClr val="003366"/>
                </a:solidFill>
              </a:rPr>
              <a:t>Chris Elliott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altLang="en-US" sz="1800" b="1" i="1" smtClean="0">
                <a:solidFill>
                  <a:srgbClr val="003366"/>
                </a:solidFill>
              </a:rPr>
              <a:t>Institute for Global Food Security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altLang="en-US" sz="1800" b="1" i="1" smtClean="0">
                <a:solidFill>
                  <a:srgbClr val="003366"/>
                </a:solidFill>
              </a:rPr>
              <a:t>Queen’s University, Belfast </a:t>
            </a:r>
            <a:endParaRPr lang="en-GB" altLang="en-US" sz="1800" b="1" smtClean="0">
              <a:solidFill>
                <a:srgbClr val="003366"/>
              </a:solidFill>
            </a:endParaRPr>
          </a:p>
        </p:txBody>
      </p:sp>
      <p:sp>
        <p:nvSpPr>
          <p:cNvPr id="19461" name="TextBox 3"/>
          <p:cNvSpPr txBox="1">
            <a:spLocks noChangeArrowheads="1"/>
          </p:cNvSpPr>
          <p:nvPr/>
        </p:nvSpPr>
        <p:spPr bwMode="auto">
          <a:xfrm>
            <a:off x="539750" y="6453300"/>
            <a:ext cx="7488238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SzPct val="75000"/>
              <a:buFont typeface="Wingdings" pitchFamily="2" charset="2"/>
              <a:defRPr sz="2800">
                <a:solidFill>
                  <a:srgbClr val="00944B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EF4034"/>
              </a:buClr>
              <a:buSzPct val="75000"/>
              <a:buChar char="•"/>
              <a:defRPr sz="24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20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EF4034"/>
              </a:buClr>
              <a:buSzPct val="95000"/>
              <a:buChar char="•"/>
              <a:defRPr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altLang="en-US" sz="1800" smtClean="0">
                <a:solidFill>
                  <a:srgbClr val="FFFFFF"/>
                </a:solidFill>
              </a:rPr>
              <a:t>SC2 A competitive food industry Healthy and safe foods and diets for all</a:t>
            </a:r>
          </a:p>
        </p:txBody>
      </p:sp>
      <p:pic>
        <p:nvPicPr>
          <p:cNvPr id="19462" name="Pictur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8225" y="3471863"/>
            <a:ext cx="2990850" cy="1397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 2"/>
          <p:cNvGraphicFramePr/>
          <p:nvPr/>
        </p:nvGraphicFramePr>
        <p:xfrm>
          <a:off x="107504" y="764704"/>
          <a:ext cx="8856984" cy="59046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20483" name="Group 5"/>
          <p:cNvGrpSpPr>
            <a:grpSpLocks/>
          </p:cNvGrpSpPr>
          <p:nvPr/>
        </p:nvGrpSpPr>
        <p:grpSpPr bwMode="auto">
          <a:xfrm>
            <a:off x="-1588" y="112"/>
            <a:ext cx="9145588" cy="576263"/>
            <a:chOff x="-1980" y="0"/>
            <a:chExt cx="9145980" cy="576000"/>
          </a:xfrm>
        </p:grpSpPr>
        <p:sp>
          <p:nvSpPr>
            <p:cNvPr id="4" name="Rectangle 3"/>
            <p:cNvSpPr/>
            <p:nvPr/>
          </p:nvSpPr>
          <p:spPr>
            <a:xfrm>
              <a:off x="-1980" y="0"/>
              <a:ext cx="9145980" cy="576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92000" tIns="36000" rIns="36000" bIns="36000" anchor="ctr"/>
            <a:lstStyle/>
            <a:p>
              <a:pPr>
                <a:defRPr/>
              </a:pPr>
              <a:r>
                <a:rPr lang="en-GB" sz="2800" b="1" dirty="0">
                  <a:solidFill>
                    <a:prstClr val="white"/>
                  </a:solidFill>
                </a:rPr>
                <a:t>Aims</a:t>
              </a:r>
            </a:p>
          </p:txBody>
        </p:sp>
        <p:pic>
          <p:nvPicPr>
            <p:cNvPr id="20486" name="Picture 4"/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98" y="44624"/>
              <a:ext cx="606754" cy="50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0484" name="Rectangle 1"/>
          <p:cNvSpPr>
            <a:spLocks noChangeArrowheads="1"/>
          </p:cNvSpPr>
          <p:nvPr/>
        </p:nvSpPr>
        <p:spPr bwMode="auto">
          <a:xfrm>
            <a:off x="1258888" y="5516675"/>
            <a:ext cx="6626225" cy="554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SzPct val="75000"/>
              <a:buFont typeface="Wingdings" pitchFamily="2" charset="2"/>
              <a:defRPr sz="2800">
                <a:solidFill>
                  <a:srgbClr val="00944B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EF4034"/>
              </a:buClr>
              <a:buSzPct val="75000"/>
              <a:buChar char="•"/>
              <a:defRPr sz="24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20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EF4034"/>
              </a:buClr>
              <a:buSzPct val="95000"/>
              <a:buChar char="•"/>
              <a:defRPr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altLang="en-US" sz="1800" b="1" smtClean="0">
                <a:solidFill>
                  <a:srgbClr val="000000"/>
                </a:solidFill>
                <a:latin typeface="Calibri" pitchFamily="34" charset="0"/>
              </a:rPr>
              <a:t>ADDING VALUE TO THE EUROPEAN AGRI-FOOD ECONOMY BY PROVIDING  FOOD SAFETY, AUTHENTICITY AND QUALITY ASSURANC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tangle 63"/>
          <p:cNvSpPr/>
          <p:nvPr/>
        </p:nvSpPr>
        <p:spPr>
          <a:xfrm>
            <a:off x="-1588" y="112"/>
            <a:ext cx="9145588" cy="576263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2000" tIns="36000" rIns="36000" bIns="36000" anchor="ctr"/>
          <a:lstStyle/>
          <a:p>
            <a:pPr>
              <a:defRPr/>
            </a:pPr>
            <a:r>
              <a:rPr lang="en-GB" sz="2800" b="1" dirty="0">
                <a:solidFill>
                  <a:prstClr val="white"/>
                </a:solidFill>
              </a:rPr>
              <a:t>FoodIntegrity Project</a:t>
            </a:r>
            <a:r>
              <a:rPr lang="en-GB" sz="2800" dirty="0">
                <a:solidFill>
                  <a:prstClr val="white"/>
                </a:solidFill>
              </a:rPr>
              <a:t>: </a:t>
            </a:r>
            <a:r>
              <a:rPr lang="en-GB" sz="2800" i="1" dirty="0">
                <a:solidFill>
                  <a:prstClr val="white"/>
                </a:solidFill>
              </a:rPr>
              <a:t>2014-2018</a:t>
            </a:r>
          </a:p>
        </p:txBody>
      </p:sp>
      <p:pic>
        <p:nvPicPr>
          <p:cNvPr id="21507" name="Picture 6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81" y="44562"/>
            <a:ext cx="608013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0" name="Rectangle 119"/>
          <p:cNvSpPr/>
          <p:nvPr/>
        </p:nvSpPr>
        <p:spPr>
          <a:xfrm>
            <a:off x="107504" y="755412"/>
            <a:ext cx="8975596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en-GB" b="1" u="sng" dirty="0">
                <a:solidFill>
                  <a:srgbClr val="92D050"/>
                </a:solidFill>
                <a:effectLst>
                  <a:glow rad="228600">
                    <a:prstClr val="white">
                      <a:lumMod val="85000"/>
                      <a:alpha val="40000"/>
                    </a:prstClr>
                  </a:glow>
                </a:effectLst>
                <a:latin typeface="Calibri"/>
                <a:ea typeface="ヒラギノ角ゴ Pro W3"/>
                <a:cs typeface="ヒラギノ角ゴ Pro W3"/>
              </a:rPr>
              <a:t>€12M (€9M EC contribution) FP7 project with 38 partners (+25 new in July 2016) </a:t>
            </a:r>
          </a:p>
        </p:txBody>
      </p:sp>
      <p:grpSp>
        <p:nvGrpSpPr>
          <p:cNvPr id="21509" name="Group 2"/>
          <p:cNvGrpSpPr>
            <a:grpSpLocks/>
          </p:cNvGrpSpPr>
          <p:nvPr/>
        </p:nvGrpSpPr>
        <p:grpSpPr bwMode="auto">
          <a:xfrm>
            <a:off x="395288" y="1557338"/>
            <a:ext cx="8362950" cy="5040312"/>
            <a:chOff x="395672" y="1197004"/>
            <a:chExt cx="8363052" cy="5040276"/>
          </a:xfrm>
        </p:grpSpPr>
        <p:grpSp>
          <p:nvGrpSpPr>
            <p:cNvPr id="21510" name="Group 60"/>
            <p:cNvGrpSpPr>
              <a:grpSpLocks/>
            </p:cNvGrpSpPr>
            <p:nvPr/>
          </p:nvGrpSpPr>
          <p:grpSpPr bwMode="auto">
            <a:xfrm>
              <a:off x="1685104" y="1646937"/>
              <a:ext cx="5623424" cy="4193213"/>
              <a:chOff x="1547664" y="1692000"/>
              <a:chExt cx="5623424" cy="4193213"/>
            </a:xfrm>
          </p:grpSpPr>
          <p:sp>
            <p:nvSpPr>
              <p:cNvPr id="62" name="Oval 61"/>
              <p:cNvSpPr/>
              <p:nvPr/>
            </p:nvSpPr>
            <p:spPr>
              <a:xfrm>
                <a:off x="1835696" y="1989240"/>
                <a:ext cx="5040000" cy="3600000"/>
              </a:xfrm>
              <a:prstGeom prst="ellipse">
                <a:avLst/>
              </a:prstGeom>
              <a:blipFill dpi="0" rotWithShape="1">
                <a:blip r:embed="rId3"/>
                <a:srcRect/>
                <a:stretch>
                  <a:fillRect l="-60000" t="-10000" r="-15000" b="-50000"/>
                </a:stretch>
              </a:blipFill>
              <a:ln w="12700">
                <a:solidFill>
                  <a:schemeClr val="bg1">
                    <a:lumMod val="75000"/>
                  </a:schemeClr>
                </a:solidFill>
              </a:ln>
              <a:scene3d>
                <a:camera prst="orthographicFront"/>
                <a:lightRig rig="threePt" dir="t"/>
              </a:scene3d>
              <a:sp3d>
                <a:bevelT/>
                <a:extrusionClr>
                  <a:schemeClr val="bg1">
                    <a:lumMod val="75000"/>
                  </a:schemeClr>
                </a:extrusionClr>
                <a:contourClr>
                  <a:schemeClr val="bg1">
                    <a:lumMod val="75000"/>
                  </a:schemeClr>
                </a:contour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>
                  <a:solidFill>
                    <a:prstClr val="white"/>
                  </a:solidFill>
                </a:endParaRPr>
              </a:p>
            </p:txBody>
          </p:sp>
          <p:sp>
            <p:nvSpPr>
              <p:cNvPr id="65" name="Block Arc 64"/>
              <p:cNvSpPr/>
              <p:nvPr/>
            </p:nvSpPr>
            <p:spPr bwMode="auto">
              <a:xfrm>
                <a:off x="1547298" y="1691326"/>
                <a:ext cx="5624581" cy="4194145"/>
              </a:xfrm>
              <a:prstGeom prst="blockArc">
                <a:avLst>
                  <a:gd name="adj1" fmla="val 11647174"/>
                  <a:gd name="adj2" fmla="val 15909714"/>
                  <a:gd name="adj3" fmla="val 7834"/>
                </a:avLst>
              </a:prstGeom>
              <a:solidFill>
                <a:srgbClr val="B800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>
                  <a:solidFill>
                    <a:prstClr val="black"/>
                  </a:solidFill>
                  <a:cs typeface="ヒラギノ角ゴ Pro W3"/>
                </a:endParaRPr>
              </a:p>
            </p:txBody>
          </p:sp>
          <p:sp>
            <p:nvSpPr>
              <p:cNvPr id="66" name="Block Arc 65"/>
              <p:cNvSpPr/>
              <p:nvPr/>
            </p:nvSpPr>
            <p:spPr bwMode="auto">
              <a:xfrm>
                <a:off x="1547298" y="1691326"/>
                <a:ext cx="5624581" cy="4194145"/>
              </a:xfrm>
              <a:prstGeom prst="blockArc">
                <a:avLst>
                  <a:gd name="adj1" fmla="val 15872165"/>
                  <a:gd name="adj2" fmla="val 19097422"/>
                  <a:gd name="adj3" fmla="val 7799"/>
                </a:avLst>
              </a:prstGeom>
              <a:solidFill>
                <a:srgbClr val="006666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>
                  <a:solidFill>
                    <a:prstClr val="black"/>
                  </a:solidFill>
                  <a:cs typeface="ヒラギノ角ゴ Pro W3"/>
                </a:endParaRPr>
              </a:p>
            </p:txBody>
          </p:sp>
          <p:sp>
            <p:nvSpPr>
              <p:cNvPr id="67" name="Block Arc 66"/>
              <p:cNvSpPr/>
              <p:nvPr/>
            </p:nvSpPr>
            <p:spPr bwMode="auto">
              <a:xfrm>
                <a:off x="1547298" y="1691326"/>
                <a:ext cx="5624581" cy="4194145"/>
              </a:xfrm>
              <a:prstGeom prst="blockArc">
                <a:avLst>
                  <a:gd name="adj1" fmla="val 19027035"/>
                  <a:gd name="adj2" fmla="val 2080931"/>
                  <a:gd name="adj3" fmla="val 7575"/>
                </a:avLst>
              </a:prstGeom>
              <a:solidFill>
                <a:srgbClr val="CC9B00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>
                  <a:solidFill>
                    <a:prstClr val="black"/>
                  </a:solidFill>
                  <a:cs typeface="ヒラギノ角ゴ Pro W3"/>
                </a:endParaRPr>
              </a:p>
            </p:txBody>
          </p:sp>
          <p:sp>
            <p:nvSpPr>
              <p:cNvPr id="68" name="Block Arc 67"/>
              <p:cNvSpPr/>
              <p:nvPr/>
            </p:nvSpPr>
            <p:spPr bwMode="auto">
              <a:xfrm>
                <a:off x="1547298" y="1691326"/>
                <a:ext cx="5624581" cy="4194145"/>
              </a:xfrm>
              <a:prstGeom prst="blockArc">
                <a:avLst>
                  <a:gd name="adj1" fmla="val 2053579"/>
                  <a:gd name="adj2" fmla="val 8632288"/>
                  <a:gd name="adj3" fmla="val 7527"/>
                </a:avLst>
              </a:prstGeom>
              <a:solidFill>
                <a:srgbClr val="00007A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>
                  <a:solidFill>
                    <a:prstClr val="black"/>
                  </a:solidFill>
                  <a:cs typeface="ヒラギノ角ゴ Pro W3"/>
                </a:endParaRPr>
              </a:p>
            </p:txBody>
          </p:sp>
          <p:sp>
            <p:nvSpPr>
              <p:cNvPr id="69" name="Block Arc 68"/>
              <p:cNvSpPr/>
              <p:nvPr/>
            </p:nvSpPr>
            <p:spPr bwMode="auto">
              <a:xfrm>
                <a:off x="1547298" y="1691326"/>
                <a:ext cx="5624581" cy="4194145"/>
              </a:xfrm>
              <a:prstGeom prst="blockArc">
                <a:avLst>
                  <a:gd name="adj1" fmla="val 8607756"/>
                  <a:gd name="adj2" fmla="val 11654338"/>
                  <a:gd name="adj3" fmla="val 7713"/>
                </a:avLst>
              </a:prstGeom>
              <a:solidFill>
                <a:srgbClr val="740074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>
                  <a:solidFill>
                    <a:prstClr val="black"/>
                  </a:solidFill>
                  <a:cs typeface="ヒラギノ角ゴ Pro W3"/>
                </a:endParaRPr>
              </a:p>
            </p:txBody>
          </p:sp>
        </p:grpSp>
        <p:sp>
          <p:nvSpPr>
            <p:cNvPr id="70" name="TextBox 69"/>
            <p:cNvSpPr txBox="1"/>
            <p:nvPr/>
          </p:nvSpPr>
          <p:spPr>
            <a:xfrm>
              <a:off x="1763688" y="1862174"/>
              <a:ext cx="5623200" cy="4194000"/>
            </a:xfrm>
            <a:prstGeom prst="rect">
              <a:avLst/>
            </a:prstGeom>
            <a:noFill/>
          </p:spPr>
          <p:txBody>
            <a:bodyPr spcFirstLastPara="1" wrap="none" lIns="72000" tIns="72000" rIns="72000" bIns="72000" anchor="ctr">
              <a:prstTxWarp prst="textArchUp">
                <a:avLst>
                  <a:gd name="adj" fmla="val 11952527"/>
                </a:avLst>
              </a:prstTxWarp>
              <a:spAutoFit/>
            </a:bodyPr>
            <a:lstStyle/>
            <a:p>
              <a:pPr>
                <a:defRPr/>
              </a:pPr>
              <a:r>
                <a:rPr lang="en-GB" sz="1600" dirty="0">
                  <a:solidFill>
                    <a:prstClr val="white"/>
                  </a:solidFill>
                  <a:latin typeface="Calibri"/>
                  <a:ea typeface="ヒラギノ角ゴ Pro W3"/>
                  <a:cs typeface="ヒラギノ角ゴ Pro W3"/>
                </a:rPr>
                <a:t>                                                                          Public Body </a:t>
              </a: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1901128" y="1646150"/>
              <a:ext cx="5623200" cy="4194000"/>
            </a:xfrm>
            <a:prstGeom prst="rect">
              <a:avLst/>
            </a:prstGeom>
            <a:noFill/>
          </p:spPr>
          <p:txBody>
            <a:bodyPr spcFirstLastPara="1" wrap="none" lIns="72000" tIns="72000" rIns="72000" bIns="72000" anchor="ctr">
              <a:prstTxWarp prst="textCircle">
                <a:avLst/>
              </a:prstTxWarp>
              <a:spAutoFit/>
            </a:bodyPr>
            <a:lstStyle/>
            <a:p>
              <a:pPr>
                <a:defRPr/>
              </a:pPr>
              <a:r>
                <a:rPr lang="en-GB" sz="1600" dirty="0">
                  <a:solidFill>
                    <a:prstClr val="white"/>
                  </a:solidFill>
                  <a:latin typeface="Calibri"/>
                  <a:ea typeface="ヒラギノ角ゴ Pro W3"/>
                  <a:cs typeface="ヒラギノ角ゴ Pro W3"/>
                </a:rPr>
                <a:t>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 SME</a:t>
              </a:r>
            </a:p>
          </p:txBody>
        </p:sp>
        <p:sp>
          <p:nvSpPr>
            <p:cNvPr id="73" name="TextBox 72"/>
            <p:cNvSpPr txBox="1"/>
            <p:nvPr/>
          </p:nvSpPr>
          <p:spPr>
            <a:xfrm rot="21444148">
              <a:off x="1810953" y="1819895"/>
              <a:ext cx="5341743" cy="3810421"/>
            </a:xfrm>
            <a:prstGeom prst="rect">
              <a:avLst/>
            </a:prstGeom>
            <a:noFill/>
          </p:spPr>
          <p:txBody>
            <a:bodyPr spcFirstLastPara="1" wrap="none" lIns="72000" tIns="72000" rIns="72000" bIns="72000" anchor="ctr">
              <a:prstTxWarp prst="textCircle">
                <a:avLst/>
              </a:prstTxWarp>
              <a:spAutoFit/>
            </a:bodyPr>
            <a:lstStyle/>
            <a:p>
              <a:pPr>
                <a:defRPr/>
              </a:pPr>
              <a:r>
                <a:rPr lang="en-GB" sz="1600" dirty="0">
                  <a:solidFill>
                    <a:prstClr val="white"/>
                  </a:solidFill>
                  <a:latin typeface="Calibri"/>
                  <a:ea typeface="ヒラギノ角ゴ Pro W3"/>
                  <a:cs typeface="ヒラギノ角ゴ Pro W3"/>
                </a:rPr>
                <a:t>                                 Enterprise </a:t>
              </a:r>
            </a:p>
          </p:txBody>
        </p:sp>
        <p:sp>
          <p:nvSpPr>
            <p:cNvPr id="74" name="TextBox 73"/>
            <p:cNvSpPr txBox="1"/>
            <p:nvPr/>
          </p:nvSpPr>
          <p:spPr>
            <a:xfrm>
              <a:off x="1475656" y="1632043"/>
              <a:ext cx="5623200" cy="4194000"/>
            </a:xfrm>
            <a:prstGeom prst="rect">
              <a:avLst/>
            </a:prstGeom>
            <a:noFill/>
          </p:spPr>
          <p:txBody>
            <a:bodyPr spcFirstLastPara="1" wrap="none" lIns="72000" tIns="72000" rIns="72000" bIns="72000" anchor="ctr">
              <a:prstTxWarp prst="textCircle">
                <a:avLst/>
              </a:prstTxWarp>
              <a:spAutoFit/>
            </a:bodyPr>
            <a:lstStyle/>
            <a:p>
              <a:pPr>
                <a:defRPr/>
              </a:pPr>
              <a:r>
                <a:rPr lang="en-GB" sz="1600" dirty="0">
                  <a:solidFill>
                    <a:prstClr val="white"/>
                  </a:solidFill>
                  <a:latin typeface="Calibri"/>
                  <a:ea typeface="ヒラギノ角ゴ Pro W3"/>
                  <a:cs typeface="ヒラギノ角ゴ Pro W3"/>
                </a:rPr>
                <a:t>                                                                                                                                                                 University</a:t>
              </a:r>
            </a:p>
          </p:txBody>
        </p:sp>
        <p:pic>
          <p:nvPicPr>
            <p:cNvPr id="75" name="Picture 74" descr="20101131757229847987.jpg"/>
            <p:cNvPicPr>
              <a:picLocks noChangeAspect="1"/>
            </p:cNvPicPr>
            <p:nvPr/>
          </p:nvPicPr>
          <p:blipFill>
            <a:blip r:embed="rId4"/>
            <a:srcRect l="19750" r="1250"/>
            <a:stretch>
              <a:fillRect/>
            </a:stretch>
          </p:blipFill>
          <p:spPr bwMode="auto">
            <a:xfrm>
              <a:off x="1043380" y="1700237"/>
              <a:ext cx="1724046" cy="288923"/>
            </a:xfrm>
            <a:prstGeom prst="rect">
              <a:avLst/>
            </a:prstGeom>
            <a:ln>
              <a:noFill/>
            </a:ln>
            <a:effectLst>
              <a:outerShdw blurRad="190500" sx="110000" sy="110000" algn="ctr" rotWithShape="0">
                <a:srgbClr val="B80000"/>
              </a:outerShdw>
            </a:effectLst>
          </p:spPr>
        </p:pic>
        <p:pic>
          <p:nvPicPr>
            <p:cNvPr id="76" name="Picture 75" descr="logo-sapienza.jpg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 bwMode="auto">
            <a:xfrm>
              <a:off x="7164855" y="2600344"/>
              <a:ext cx="958862" cy="287335"/>
            </a:xfrm>
            <a:prstGeom prst="rect">
              <a:avLst/>
            </a:prstGeom>
            <a:ln>
              <a:noFill/>
            </a:ln>
            <a:effectLst>
              <a:outerShdw blurRad="190500" sx="110000" sy="110000" algn="ctr" rotWithShape="0">
                <a:srgbClr val="CC9B00"/>
              </a:outerShdw>
            </a:effectLst>
          </p:spPr>
        </p:pic>
        <p:pic>
          <p:nvPicPr>
            <p:cNvPr id="77" name="Picture 76" descr="oceanoptics_logo.JPG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 bwMode="auto">
            <a:xfrm>
              <a:off x="1378346" y="2119334"/>
              <a:ext cx="673108" cy="287336"/>
            </a:xfrm>
            <a:prstGeom prst="rect">
              <a:avLst/>
            </a:prstGeom>
            <a:ln>
              <a:noFill/>
            </a:ln>
            <a:effectLst>
              <a:outerShdw blurRad="190500" sx="110000" sy="110000" algn="ctr" rotWithShape="0">
                <a:srgbClr val="B80000"/>
              </a:outerShdw>
            </a:effectLst>
          </p:spPr>
        </p:pic>
        <p:pic>
          <p:nvPicPr>
            <p:cNvPr id="78" name="Picture 77" descr="the-scotch-whiskey-research-institute-logo.jpg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 bwMode="auto">
            <a:xfrm>
              <a:off x="576649" y="4868865"/>
              <a:ext cx="395292" cy="360360"/>
            </a:xfrm>
            <a:prstGeom prst="rect">
              <a:avLst/>
            </a:prstGeom>
            <a:ln>
              <a:noFill/>
            </a:ln>
            <a:effectLst>
              <a:outerShdw blurRad="190500" sx="105000" sy="105000" algn="ctr" rotWithShape="0">
                <a:srgbClr val="740074"/>
              </a:outerShdw>
            </a:effectLst>
          </p:spPr>
        </p:pic>
        <p:pic>
          <p:nvPicPr>
            <p:cNvPr id="79" name="Picture 78" descr="logo-umc.gif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 bwMode="auto">
            <a:xfrm>
              <a:off x="6444121" y="1341465"/>
              <a:ext cx="596907" cy="287336"/>
            </a:xfrm>
            <a:prstGeom prst="rect">
              <a:avLst/>
            </a:prstGeom>
            <a:ln>
              <a:noFill/>
            </a:ln>
            <a:effectLst>
              <a:outerShdw blurRad="190500" sx="110000" sy="110000" algn="ctr" rotWithShape="0">
                <a:srgbClr val="CC9B00"/>
              </a:outerShdw>
            </a:effectLst>
          </p:spPr>
        </p:pic>
        <p:pic>
          <p:nvPicPr>
            <p:cNvPr id="80" name="Picture 79" descr="bn01.jpg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 bwMode="auto">
            <a:xfrm>
              <a:off x="1997479" y="5876921"/>
              <a:ext cx="485781" cy="288923"/>
            </a:xfrm>
            <a:prstGeom prst="rect">
              <a:avLst/>
            </a:prstGeom>
            <a:ln>
              <a:noFill/>
            </a:ln>
            <a:effectLst>
              <a:outerShdw blurRad="190500" sx="110000" sy="110000" algn="ctr" rotWithShape="0">
                <a:srgbClr val="00007A"/>
              </a:outerShdw>
            </a:effectLst>
          </p:spPr>
        </p:pic>
        <p:pic>
          <p:nvPicPr>
            <p:cNvPr id="81" name="Picture 80" descr="AZTI_handia_red.jpg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 bwMode="auto">
            <a:xfrm>
              <a:off x="1892702" y="5445124"/>
              <a:ext cx="663583" cy="288923"/>
            </a:xfrm>
            <a:prstGeom prst="rect">
              <a:avLst/>
            </a:prstGeom>
            <a:ln>
              <a:noFill/>
            </a:ln>
            <a:effectLst>
              <a:outerShdw blurRad="190500" sx="110000" sy="110000" algn="ctr" rotWithShape="0">
                <a:srgbClr val="00007A"/>
              </a:outerShdw>
            </a:effectLst>
          </p:spPr>
        </p:pic>
        <p:pic>
          <p:nvPicPr>
            <p:cNvPr id="82" name="Picture 81" descr="FAO.jpg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 bwMode="auto">
            <a:xfrm>
              <a:off x="4499409" y="1268440"/>
              <a:ext cx="588970" cy="288923"/>
            </a:xfrm>
            <a:prstGeom prst="rect">
              <a:avLst/>
            </a:prstGeom>
            <a:ln>
              <a:noFill/>
            </a:ln>
            <a:effectLst>
              <a:outerShdw blurRad="190500" sx="110000" sy="110000" algn="ctr" rotWithShape="0">
                <a:srgbClr val="006666"/>
              </a:outerShdw>
            </a:effectLst>
          </p:spPr>
        </p:pic>
        <p:pic>
          <p:nvPicPr>
            <p:cNvPr id="83" name="Picture 82" descr="Logo_klein.jpg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 bwMode="auto">
            <a:xfrm>
              <a:off x="2695987" y="5805483"/>
              <a:ext cx="723909" cy="287336"/>
            </a:xfrm>
            <a:prstGeom prst="rect">
              <a:avLst/>
            </a:prstGeom>
            <a:ln>
              <a:noFill/>
            </a:ln>
            <a:effectLst>
              <a:outerShdw blurRad="190500" sx="110000" sy="110000" algn="ctr" rotWithShape="0">
                <a:srgbClr val="00007A"/>
              </a:outerShdw>
            </a:effectLst>
          </p:spPr>
        </p:pic>
        <p:pic>
          <p:nvPicPr>
            <p:cNvPr id="84" name="Picture 83" descr="TUV_Rheinland_Logo_eng.png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 bwMode="auto">
            <a:xfrm>
              <a:off x="479810" y="3933834"/>
              <a:ext cx="1068401" cy="287335"/>
            </a:xfrm>
            <a:prstGeom prst="rect">
              <a:avLst/>
            </a:prstGeom>
            <a:ln>
              <a:noFill/>
            </a:ln>
            <a:effectLst>
              <a:outerShdw blurRad="190500" sx="105000" sy="105000" algn="ctr" rotWithShape="0">
                <a:srgbClr val="740074"/>
              </a:outerShdw>
            </a:effectLst>
          </p:spPr>
        </p:pic>
        <p:pic>
          <p:nvPicPr>
            <p:cNvPr id="85" name="Picture 84" descr="nofima.jpg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 bwMode="auto">
            <a:xfrm>
              <a:off x="765564" y="2565419"/>
              <a:ext cx="998550" cy="287335"/>
            </a:xfrm>
            <a:prstGeom prst="rect">
              <a:avLst/>
            </a:prstGeom>
            <a:ln>
              <a:noFill/>
            </a:ln>
            <a:effectLst>
              <a:outerShdw blurRad="190500" sx="110000" sy="110000" algn="ctr" rotWithShape="0">
                <a:srgbClr val="B80000"/>
              </a:outerShdw>
            </a:effectLst>
          </p:spPr>
        </p:pic>
        <p:pic>
          <p:nvPicPr>
            <p:cNvPr id="86" name="Picture 85" descr="logo_teagasc.jpg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 bwMode="auto">
            <a:xfrm>
              <a:off x="971941" y="5445124"/>
              <a:ext cx="692158" cy="287335"/>
            </a:xfrm>
            <a:prstGeom prst="rect">
              <a:avLst/>
            </a:prstGeom>
            <a:ln>
              <a:noFill/>
            </a:ln>
            <a:effectLst>
              <a:outerShdw blurRad="190500" sx="110000" sy="110000" algn="ctr" rotWithShape="0">
                <a:srgbClr val="00007A"/>
              </a:outerShdw>
            </a:effectLst>
          </p:spPr>
        </p:pic>
        <p:pic>
          <p:nvPicPr>
            <p:cNvPr id="87" name="Picture 86" descr="!!Matis_logo.jpg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 bwMode="auto">
            <a:xfrm>
              <a:off x="7380757" y="5300662"/>
              <a:ext cx="358779" cy="361947"/>
            </a:xfrm>
            <a:prstGeom prst="rect">
              <a:avLst/>
            </a:prstGeom>
            <a:ln>
              <a:noFill/>
            </a:ln>
            <a:effectLst>
              <a:outerShdw blurRad="190500" sx="110000" sy="110000" algn="ctr" rotWithShape="0">
                <a:srgbClr val="00007A"/>
              </a:outerShdw>
            </a:effectLst>
          </p:spPr>
        </p:pic>
        <p:pic>
          <p:nvPicPr>
            <p:cNvPr id="88" name="Picture 87" descr="barilla.jpg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 bwMode="auto">
            <a:xfrm>
              <a:off x="540136" y="2119334"/>
              <a:ext cx="676283" cy="287336"/>
            </a:xfrm>
            <a:prstGeom prst="rect">
              <a:avLst/>
            </a:prstGeom>
            <a:ln>
              <a:noFill/>
            </a:ln>
            <a:effectLst>
              <a:outerShdw blurRad="190500" sx="110000" sy="110000" algn="ctr" rotWithShape="0">
                <a:srgbClr val="B80000"/>
              </a:outerShdw>
            </a:effectLst>
          </p:spPr>
        </p:pic>
        <p:pic>
          <p:nvPicPr>
            <p:cNvPr id="89" name="Picture 88" descr="Logotipo_del_Ministerio_de_Medio_Ambiente_y_Medio_Rural_y_Marino.png"/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 bwMode="auto">
            <a:xfrm>
              <a:off x="7380757" y="3933834"/>
              <a:ext cx="1377967" cy="287335"/>
            </a:xfrm>
            <a:prstGeom prst="rect">
              <a:avLst/>
            </a:prstGeom>
            <a:ln>
              <a:noFill/>
            </a:ln>
            <a:effectLst>
              <a:outerShdw blurRad="190500" sx="110000" sy="110000" algn="ctr" rotWithShape="0">
                <a:srgbClr val="CC9B00"/>
              </a:outerShdw>
            </a:effectLst>
          </p:spPr>
        </p:pic>
        <p:pic>
          <p:nvPicPr>
            <p:cNvPr id="90" name="Picture 89" descr="logo-uclm.jpg"/>
            <p:cNvPicPr>
              <a:picLocks noChangeAspect="1"/>
            </p:cNvPicPr>
            <p:nvPr/>
          </p:nvPicPr>
          <p:blipFill>
            <a:blip r:embed="rId19"/>
            <a:stretch>
              <a:fillRect/>
            </a:stretch>
          </p:blipFill>
          <p:spPr bwMode="auto">
            <a:xfrm>
              <a:off x="8244368" y="4365631"/>
              <a:ext cx="461968" cy="287335"/>
            </a:xfrm>
            <a:prstGeom prst="rect">
              <a:avLst/>
            </a:prstGeom>
            <a:ln>
              <a:noFill/>
            </a:ln>
            <a:effectLst>
              <a:outerShdw blurRad="190500" sx="110000" sy="110000" algn="ctr" rotWithShape="0">
                <a:srgbClr val="CC9B00"/>
              </a:outerShdw>
            </a:effectLst>
          </p:spPr>
        </p:pic>
        <p:pic>
          <p:nvPicPr>
            <p:cNvPr id="91" name="Picture 90" descr="LOGO_FFCUL_small.jpg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 bwMode="auto">
            <a:xfrm>
              <a:off x="6712411" y="5805483"/>
              <a:ext cx="379418" cy="360360"/>
            </a:xfrm>
            <a:prstGeom prst="rect">
              <a:avLst/>
            </a:prstGeom>
            <a:ln>
              <a:noFill/>
            </a:ln>
            <a:effectLst>
              <a:outerShdw blurRad="190500" sx="110000" sy="110000" algn="ctr" rotWithShape="0">
                <a:srgbClr val="00007A"/>
              </a:outerShdw>
            </a:effectLst>
          </p:spPr>
        </p:pic>
        <p:pic>
          <p:nvPicPr>
            <p:cNvPr id="92" name="Picture 91" descr="prague.jpg"/>
            <p:cNvPicPr>
              <a:picLocks noChangeAspect="1"/>
            </p:cNvPicPr>
            <p:nvPr/>
          </p:nvPicPr>
          <p:blipFill>
            <a:blip r:embed="rId21"/>
            <a:stretch>
              <a:fillRect/>
            </a:stretch>
          </p:blipFill>
          <p:spPr bwMode="auto">
            <a:xfrm>
              <a:off x="7037853" y="4797428"/>
              <a:ext cx="1606570" cy="287335"/>
            </a:xfrm>
            <a:prstGeom prst="rect">
              <a:avLst/>
            </a:prstGeom>
            <a:ln>
              <a:noFill/>
            </a:ln>
            <a:effectLst>
              <a:outerShdw blurRad="190500" sx="110000" sy="110000" algn="ctr" rotWithShape="0">
                <a:srgbClr val="CC9B00"/>
              </a:outerShdw>
            </a:effectLst>
          </p:spPr>
        </p:pic>
        <p:pic>
          <p:nvPicPr>
            <p:cNvPr id="93" name="Picture 92" descr="ALTERRA_FC_2.jpg"/>
            <p:cNvPicPr>
              <a:picLocks noChangeAspect="1"/>
            </p:cNvPicPr>
            <p:nvPr/>
          </p:nvPicPr>
          <p:blipFill>
            <a:blip r:embed="rId22"/>
            <a:srcRect l="13165" t="23075" r="8644" b="23073"/>
            <a:stretch>
              <a:fillRect/>
            </a:stretch>
          </p:blipFill>
          <p:spPr bwMode="auto">
            <a:xfrm>
              <a:off x="3748513" y="5949945"/>
              <a:ext cx="1395429" cy="287335"/>
            </a:xfrm>
            <a:prstGeom prst="rect">
              <a:avLst/>
            </a:prstGeom>
            <a:ln>
              <a:noFill/>
            </a:ln>
            <a:effectLst>
              <a:outerShdw blurRad="190500" sx="110000" sy="110000" algn="ctr" rotWithShape="0">
                <a:srgbClr val="00007A"/>
              </a:outerShdw>
            </a:effectLst>
          </p:spPr>
        </p:pic>
        <p:pic>
          <p:nvPicPr>
            <p:cNvPr id="94" name="Picture 93" descr="koben.jpg"/>
            <p:cNvPicPr>
              <a:picLocks noChangeAspect="1"/>
            </p:cNvPicPr>
            <p:nvPr/>
          </p:nvPicPr>
          <p:blipFill>
            <a:blip r:embed="rId23"/>
            <a:stretch>
              <a:fillRect/>
            </a:stretch>
          </p:blipFill>
          <p:spPr bwMode="auto">
            <a:xfrm>
              <a:off x="7307731" y="4365631"/>
              <a:ext cx="754071" cy="287335"/>
            </a:xfrm>
            <a:prstGeom prst="rect">
              <a:avLst/>
            </a:prstGeom>
            <a:ln>
              <a:noFill/>
            </a:ln>
            <a:effectLst>
              <a:outerShdw blurRad="190500" sx="110000" sy="110000" algn="ctr" rotWithShape="0">
                <a:srgbClr val="CC9B00"/>
              </a:outerShdw>
            </a:effectLst>
          </p:spPr>
        </p:pic>
        <p:pic>
          <p:nvPicPr>
            <p:cNvPr id="95" name="Picture 94" descr="fibl-logo.gif"/>
            <p:cNvPicPr>
              <a:picLocks noChangeAspect="1"/>
            </p:cNvPicPr>
            <p:nvPr/>
          </p:nvPicPr>
          <p:blipFill>
            <a:blip r:embed="rId24"/>
            <a:stretch>
              <a:fillRect/>
            </a:stretch>
          </p:blipFill>
          <p:spPr bwMode="auto">
            <a:xfrm>
              <a:off x="5486846" y="5805483"/>
              <a:ext cx="957275" cy="287336"/>
            </a:xfrm>
            <a:prstGeom prst="rect">
              <a:avLst/>
            </a:prstGeom>
            <a:ln>
              <a:noFill/>
            </a:ln>
            <a:effectLst>
              <a:outerShdw blurRad="190500" sx="110000" sy="110000" algn="ctr" rotWithShape="0">
                <a:srgbClr val="00007A"/>
              </a:outerShdw>
            </a:effectLst>
          </p:spPr>
        </p:pic>
        <p:pic>
          <p:nvPicPr>
            <p:cNvPr id="96" name="Picture 95" descr="NouveauCRAW.jpg"/>
            <p:cNvPicPr>
              <a:picLocks noChangeAspect="1"/>
            </p:cNvPicPr>
            <p:nvPr/>
          </p:nvPicPr>
          <p:blipFill>
            <a:blip r:embed="rId25"/>
            <a:stretch>
              <a:fillRect/>
            </a:stretch>
          </p:blipFill>
          <p:spPr bwMode="auto">
            <a:xfrm>
              <a:off x="7958614" y="5300662"/>
              <a:ext cx="357191" cy="360360"/>
            </a:xfrm>
            <a:prstGeom prst="rect">
              <a:avLst/>
            </a:prstGeom>
            <a:ln>
              <a:noFill/>
            </a:ln>
            <a:effectLst>
              <a:outerShdw blurRad="190500" sx="110000" sy="110000" algn="ctr" rotWithShape="0">
                <a:srgbClr val="00007A"/>
              </a:outerShdw>
            </a:effectLst>
          </p:spPr>
        </p:pic>
        <p:pic>
          <p:nvPicPr>
            <p:cNvPr id="97" name="Picture 96" descr="mid.jpg"/>
            <p:cNvPicPr>
              <a:picLocks noChangeAspect="1"/>
            </p:cNvPicPr>
            <p:nvPr/>
          </p:nvPicPr>
          <p:blipFill>
            <a:blip r:embed="rId26"/>
            <a:stretch>
              <a:fillRect/>
            </a:stretch>
          </p:blipFill>
          <p:spPr bwMode="auto">
            <a:xfrm>
              <a:off x="683013" y="3500450"/>
              <a:ext cx="898536" cy="288923"/>
            </a:xfrm>
            <a:prstGeom prst="rect">
              <a:avLst/>
            </a:prstGeom>
            <a:ln>
              <a:noFill/>
            </a:ln>
            <a:effectLst>
              <a:outerShdw blurRad="190500" sx="105000" sy="105000" algn="ctr" rotWithShape="0">
                <a:srgbClr val="740074"/>
              </a:outerShdw>
            </a:effectLst>
          </p:spPr>
        </p:pic>
        <p:pic>
          <p:nvPicPr>
            <p:cNvPr id="98" name="Picture 97" descr="logo_ecocert_fr.jpg"/>
            <p:cNvPicPr>
              <a:picLocks noChangeAspect="1"/>
            </p:cNvPicPr>
            <p:nvPr/>
          </p:nvPicPr>
          <p:blipFill>
            <a:blip r:embed="rId27"/>
            <a:stretch>
              <a:fillRect/>
            </a:stretch>
          </p:blipFill>
          <p:spPr bwMode="auto">
            <a:xfrm>
              <a:off x="1524398" y="1268440"/>
              <a:ext cx="1751034" cy="288923"/>
            </a:xfrm>
            <a:prstGeom prst="rect">
              <a:avLst/>
            </a:prstGeom>
            <a:ln>
              <a:noFill/>
            </a:ln>
            <a:effectLst>
              <a:outerShdw blurRad="190500" sx="110000" sy="110000" algn="ctr" rotWithShape="0">
                <a:srgbClr val="B80000"/>
              </a:outerShdw>
            </a:effectLst>
          </p:spPr>
        </p:pic>
        <p:pic>
          <p:nvPicPr>
            <p:cNvPr id="99" name="Picture 98" descr="università_parma.png"/>
            <p:cNvPicPr>
              <a:picLocks noChangeAspect="1"/>
            </p:cNvPicPr>
            <p:nvPr/>
          </p:nvPicPr>
          <p:blipFill>
            <a:blip r:embed="rId28"/>
            <a:stretch>
              <a:fillRect/>
            </a:stretch>
          </p:blipFill>
          <p:spPr bwMode="auto">
            <a:xfrm>
              <a:off x="6875926" y="2168547"/>
              <a:ext cx="976324" cy="287335"/>
            </a:xfrm>
            <a:prstGeom prst="rect">
              <a:avLst/>
            </a:prstGeom>
            <a:ln>
              <a:noFill/>
            </a:ln>
            <a:effectLst>
              <a:outerShdw blurRad="190500" sx="110000" sy="110000" algn="ctr" rotWithShape="0">
                <a:srgbClr val="CC9B00"/>
              </a:outerShdw>
            </a:effectLst>
          </p:spPr>
        </p:pic>
        <p:pic>
          <p:nvPicPr>
            <p:cNvPr id="100" name="Picture 99" descr="belfast.jpg"/>
            <p:cNvPicPr>
              <a:picLocks noChangeAspect="1"/>
            </p:cNvPicPr>
            <p:nvPr/>
          </p:nvPicPr>
          <p:blipFill>
            <a:blip r:embed="rId29"/>
            <a:stretch>
              <a:fillRect/>
            </a:stretch>
          </p:blipFill>
          <p:spPr bwMode="auto">
            <a:xfrm>
              <a:off x="7183905" y="1341465"/>
              <a:ext cx="700096" cy="287336"/>
            </a:xfrm>
            <a:prstGeom prst="rect">
              <a:avLst/>
            </a:prstGeom>
            <a:ln>
              <a:noFill/>
            </a:ln>
            <a:effectLst>
              <a:outerShdw blurRad="190500" sx="110000" sy="110000" algn="ctr" rotWithShape="0">
                <a:srgbClr val="CC9B00"/>
              </a:outerShdw>
            </a:effectLst>
          </p:spPr>
        </p:pic>
        <p:pic>
          <p:nvPicPr>
            <p:cNvPr id="101" name="Picture 100" descr="index.jpg"/>
            <p:cNvPicPr>
              <a:picLocks noChangeAspect="1"/>
            </p:cNvPicPr>
            <p:nvPr/>
          </p:nvPicPr>
          <p:blipFill>
            <a:blip r:embed="rId30"/>
            <a:stretch>
              <a:fillRect/>
            </a:stretch>
          </p:blipFill>
          <p:spPr bwMode="auto">
            <a:xfrm>
              <a:off x="6444121" y="1773262"/>
              <a:ext cx="1652607" cy="287336"/>
            </a:xfrm>
            <a:prstGeom prst="rect">
              <a:avLst/>
            </a:prstGeom>
            <a:ln>
              <a:noFill/>
            </a:ln>
            <a:effectLst>
              <a:outerShdw blurRad="190500" sx="110000" sy="110000" algn="ctr" rotWithShape="0">
                <a:srgbClr val="CC9B00"/>
              </a:outerShdw>
            </a:effectLst>
          </p:spPr>
        </p:pic>
        <p:pic>
          <p:nvPicPr>
            <p:cNvPr id="102" name="Picture 101" descr="805_BfR_Logo_01a_tif_78842.jpg"/>
            <p:cNvPicPr>
              <a:picLocks noChangeAspect="1"/>
            </p:cNvPicPr>
            <p:nvPr/>
          </p:nvPicPr>
          <p:blipFill>
            <a:blip r:embed="rId31"/>
            <a:srcRect t="19982" b="20072"/>
            <a:stretch>
              <a:fillRect/>
            </a:stretch>
          </p:blipFill>
          <p:spPr bwMode="auto">
            <a:xfrm>
              <a:off x="7307731" y="5805483"/>
              <a:ext cx="641358" cy="287336"/>
            </a:xfrm>
            <a:prstGeom prst="rect">
              <a:avLst/>
            </a:prstGeom>
            <a:ln>
              <a:noFill/>
            </a:ln>
            <a:effectLst>
              <a:outerShdw blurRad="190500" sx="110000" sy="110000" algn="ctr" rotWithShape="0">
                <a:srgbClr val="00007A"/>
              </a:outerShdw>
            </a:effectLst>
          </p:spPr>
        </p:pic>
        <p:pic>
          <p:nvPicPr>
            <p:cNvPr id="103" name="Picture 102" descr="JRC_logo.jpg"/>
            <p:cNvPicPr>
              <a:picLocks noChangeAspect="1"/>
            </p:cNvPicPr>
            <p:nvPr/>
          </p:nvPicPr>
          <p:blipFill>
            <a:blip r:embed="rId32"/>
            <a:stretch>
              <a:fillRect/>
            </a:stretch>
          </p:blipFill>
          <p:spPr bwMode="auto">
            <a:xfrm>
              <a:off x="6491746" y="5373686"/>
              <a:ext cx="673108" cy="287336"/>
            </a:xfrm>
            <a:prstGeom prst="rect">
              <a:avLst/>
            </a:prstGeom>
            <a:ln>
              <a:noFill/>
            </a:ln>
            <a:effectLst>
              <a:outerShdw blurRad="190500" sx="110000" sy="110000" algn="ctr" rotWithShape="0">
                <a:srgbClr val="00007A"/>
              </a:outerShdw>
            </a:effectLst>
          </p:spPr>
        </p:pic>
        <p:pic>
          <p:nvPicPr>
            <p:cNvPr id="104" name="Picture 103" descr="eurofins_logo.gif"/>
            <p:cNvPicPr>
              <a:picLocks noChangeAspect="1"/>
            </p:cNvPicPr>
            <p:nvPr/>
          </p:nvPicPr>
          <p:blipFill>
            <a:blip r:embed="rId33"/>
            <a:stretch>
              <a:fillRect/>
            </a:stretch>
          </p:blipFill>
          <p:spPr bwMode="auto">
            <a:xfrm>
              <a:off x="3491335" y="1268440"/>
              <a:ext cx="739784" cy="288923"/>
            </a:xfrm>
            <a:prstGeom prst="rect">
              <a:avLst/>
            </a:prstGeom>
            <a:ln>
              <a:noFill/>
            </a:ln>
            <a:effectLst>
              <a:outerShdw blurRad="190500" sx="110000" sy="110000" algn="ctr" rotWithShape="0">
                <a:srgbClr val="B80000"/>
              </a:outerShdw>
            </a:effectLst>
          </p:spPr>
        </p:pic>
        <p:pic>
          <p:nvPicPr>
            <p:cNvPr id="105" name="Picture 104" descr="Logo Defra582AW.jpg"/>
            <p:cNvPicPr>
              <a:picLocks noChangeAspect="1"/>
            </p:cNvPicPr>
            <p:nvPr/>
          </p:nvPicPr>
          <p:blipFill>
            <a:blip r:embed="rId34"/>
            <a:stretch>
              <a:fillRect/>
            </a:stretch>
          </p:blipFill>
          <p:spPr bwMode="auto">
            <a:xfrm>
              <a:off x="5291582" y="1197004"/>
              <a:ext cx="844560" cy="431797"/>
            </a:xfrm>
            <a:prstGeom prst="rect">
              <a:avLst/>
            </a:prstGeom>
            <a:ln>
              <a:noFill/>
            </a:ln>
            <a:effectLst>
              <a:outerShdw blurRad="190500" sx="110000" sy="110000" algn="ctr" rotWithShape="0">
                <a:srgbClr val="006666"/>
              </a:outerShdw>
            </a:effectLst>
          </p:spPr>
        </p:pic>
        <p:pic>
          <p:nvPicPr>
            <p:cNvPr id="106" name="Picture 105" descr="ExhibID_2901_Graphic1.jpg"/>
            <p:cNvPicPr>
              <a:picLocks noChangeAspect="1"/>
            </p:cNvPicPr>
            <p:nvPr/>
          </p:nvPicPr>
          <p:blipFill>
            <a:blip r:embed="rId35"/>
            <a:stretch>
              <a:fillRect/>
            </a:stretch>
          </p:blipFill>
          <p:spPr bwMode="auto">
            <a:xfrm>
              <a:off x="644912" y="1268440"/>
              <a:ext cx="687396" cy="288923"/>
            </a:xfrm>
            <a:prstGeom prst="rect">
              <a:avLst/>
            </a:prstGeom>
            <a:ln>
              <a:noFill/>
            </a:ln>
            <a:effectLst>
              <a:outerShdw blurRad="190500" sx="110000" sy="110000" algn="ctr" rotWithShape="0">
                <a:srgbClr val="B80000"/>
              </a:outerShdw>
            </a:effectLst>
          </p:spPr>
        </p:pic>
        <p:pic>
          <p:nvPicPr>
            <p:cNvPr id="107" name="Picture 106" descr="cache_640_page2-4_MScNewcastle_logo.jpg"/>
            <p:cNvPicPr>
              <a:picLocks noChangeAspect="1"/>
            </p:cNvPicPr>
            <p:nvPr/>
          </p:nvPicPr>
          <p:blipFill>
            <a:blip r:embed="rId36"/>
            <a:stretch>
              <a:fillRect/>
            </a:stretch>
          </p:blipFill>
          <p:spPr bwMode="auto">
            <a:xfrm>
              <a:off x="7380757" y="2997216"/>
              <a:ext cx="887423" cy="287335"/>
            </a:xfrm>
            <a:prstGeom prst="rect">
              <a:avLst/>
            </a:prstGeom>
            <a:ln>
              <a:noFill/>
            </a:ln>
            <a:effectLst>
              <a:outerShdw blurRad="190500" sx="110000" sy="110000" algn="ctr" rotWithShape="0">
                <a:srgbClr val="CC9B00"/>
              </a:outerShdw>
            </a:effectLst>
          </p:spPr>
        </p:pic>
        <p:pic>
          <p:nvPicPr>
            <p:cNvPr id="108" name="Picture 107"/>
            <p:cNvPicPr>
              <a:picLocks noChangeAspect="1"/>
            </p:cNvPicPr>
            <p:nvPr/>
          </p:nvPicPr>
          <p:blipFill>
            <a:blip r:embed="rId37"/>
            <a:stretch>
              <a:fillRect/>
            </a:stretch>
          </p:blipFill>
          <p:spPr bwMode="auto">
            <a:xfrm>
              <a:off x="1176732" y="4365631"/>
              <a:ext cx="514356" cy="317498"/>
            </a:xfrm>
            <a:prstGeom prst="rect">
              <a:avLst/>
            </a:prstGeom>
            <a:effectLst>
              <a:outerShdw blurRad="190500" sx="105000" sy="105000" algn="ctr" rotWithShape="0">
                <a:srgbClr val="740074"/>
              </a:outerShdw>
            </a:effectLst>
          </p:spPr>
        </p:pic>
        <p:pic>
          <p:nvPicPr>
            <p:cNvPr id="109" name="Picture 108"/>
            <p:cNvPicPr>
              <a:picLocks noChangeAspect="1"/>
            </p:cNvPicPr>
            <p:nvPr/>
          </p:nvPicPr>
          <p:blipFill rotWithShape="1">
            <a:blip r:embed="rId38"/>
            <a:srcRect t="20000" b="28698"/>
            <a:stretch/>
          </p:blipFill>
          <p:spPr bwMode="auto">
            <a:xfrm>
              <a:off x="1137043" y="4868865"/>
              <a:ext cx="842973" cy="288923"/>
            </a:xfrm>
            <a:prstGeom prst="rect">
              <a:avLst/>
            </a:prstGeom>
            <a:effectLst>
              <a:outerShdw blurRad="190500" sx="105000" sy="105000" algn="ctr" rotWithShape="0">
                <a:srgbClr val="740074"/>
              </a:outerShdw>
            </a:effectLst>
          </p:spPr>
        </p:pic>
        <p:grpSp>
          <p:nvGrpSpPr>
            <p:cNvPr id="110" name="Group 109"/>
            <p:cNvGrpSpPr/>
            <p:nvPr/>
          </p:nvGrpSpPr>
          <p:grpSpPr>
            <a:xfrm>
              <a:off x="395672" y="3068992"/>
              <a:ext cx="1224000" cy="288000"/>
              <a:chOff x="74877" y="4717408"/>
              <a:chExt cx="1437166" cy="276911"/>
            </a:xfrm>
            <a:effectLst>
              <a:outerShdw blurRad="190500" sx="105000" sy="105000" algn="ctr" rotWithShape="0">
                <a:srgbClr val="740074"/>
              </a:outerShdw>
            </a:effectLst>
          </p:grpSpPr>
          <p:sp>
            <p:nvSpPr>
              <p:cNvPr id="111" name="Rectangle 110"/>
              <p:cNvSpPr/>
              <p:nvPr/>
            </p:nvSpPr>
            <p:spPr bwMode="auto">
              <a:xfrm>
                <a:off x="74877" y="4717408"/>
                <a:ext cx="1437166" cy="276911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>
                  <a:solidFill>
                    <a:prstClr val="black"/>
                  </a:solidFill>
                  <a:cs typeface="ヒラギノ角ゴ Pro W3"/>
                </a:endParaRPr>
              </a:p>
            </p:txBody>
          </p:sp>
          <p:pic>
            <p:nvPicPr>
              <p:cNvPr id="112" name="Picture 111" descr="ff-logo-with-words.png"/>
              <p:cNvPicPr>
                <a:picLocks noChangeAspect="1"/>
              </p:cNvPicPr>
              <p:nvPr/>
            </p:nvPicPr>
            <p:blipFill>
              <a:blip r:embed="rId39"/>
              <a:stretch>
                <a:fillRect/>
              </a:stretch>
            </p:blipFill>
            <p:spPr bwMode="auto">
              <a:xfrm>
                <a:off x="167664" y="4725144"/>
                <a:ext cx="1326865" cy="207683"/>
              </a:xfrm>
              <a:prstGeom prst="rect">
                <a:avLst/>
              </a:prstGeom>
              <a:ln>
                <a:noFill/>
              </a:ln>
              <a:effectLst/>
            </p:spPr>
          </p:pic>
        </p:grpSp>
        <p:grpSp>
          <p:nvGrpSpPr>
            <p:cNvPr id="113" name="Group 112"/>
            <p:cNvGrpSpPr/>
            <p:nvPr/>
          </p:nvGrpSpPr>
          <p:grpSpPr>
            <a:xfrm>
              <a:off x="7452320" y="3471761"/>
              <a:ext cx="900000" cy="317279"/>
              <a:chOff x="7531871" y="4720150"/>
              <a:chExt cx="900000" cy="317279"/>
            </a:xfrm>
            <a:effectLst>
              <a:outerShdw blurRad="190500" sx="110000" sy="110000" algn="ctr" rotWithShape="0">
                <a:srgbClr val="CC9B00"/>
              </a:outerShdw>
            </a:effectLst>
          </p:grpSpPr>
          <p:sp>
            <p:nvSpPr>
              <p:cNvPr id="114" name="Rectangle 113"/>
              <p:cNvSpPr/>
              <p:nvPr/>
            </p:nvSpPr>
            <p:spPr bwMode="auto">
              <a:xfrm>
                <a:off x="7531871" y="4720150"/>
                <a:ext cx="900000" cy="288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>
                  <a:solidFill>
                    <a:prstClr val="black"/>
                  </a:solidFill>
                  <a:cs typeface="ヒラギノ角ゴ Pro W3"/>
                </a:endParaRPr>
              </a:p>
            </p:txBody>
          </p:sp>
          <p:pic>
            <p:nvPicPr>
              <p:cNvPr id="115" name="Picture 114" descr="Fondazione-Edmund-Mach.png"/>
              <p:cNvPicPr>
                <a:picLocks noChangeAspect="1"/>
              </p:cNvPicPr>
              <p:nvPr/>
            </p:nvPicPr>
            <p:blipFill>
              <a:blip r:embed="rId40"/>
              <a:stretch>
                <a:fillRect/>
              </a:stretch>
            </p:blipFill>
            <p:spPr bwMode="auto">
              <a:xfrm>
                <a:off x="7571437" y="4749429"/>
                <a:ext cx="763756" cy="288000"/>
              </a:xfrm>
              <a:prstGeom prst="rect">
                <a:avLst/>
              </a:prstGeom>
              <a:ln>
                <a:noFill/>
              </a:ln>
              <a:effectLst/>
            </p:spPr>
          </p:pic>
        </p:grpSp>
        <p:grpSp>
          <p:nvGrpSpPr>
            <p:cNvPr id="116" name="Group 115"/>
            <p:cNvGrpSpPr/>
            <p:nvPr/>
          </p:nvGrpSpPr>
          <p:grpSpPr>
            <a:xfrm>
              <a:off x="611608" y="4365104"/>
              <a:ext cx="432000" cy="360000"/>
              <a:chOff x="179512" y="4929283"/>
              <a:chExt cx="460758" cy="432000"/>
            </a:xfrm>
            <a:effectLst>
              <a:outerShdw blurRad="190500" sx="105000" sy="105000" algn="ctr" rotWithShape="0">
                <a:srgbClr val="740074"/>
              </a:outerShdw>
            </a:effectLst>
          </p:grpSpPr>
          <p:sp>
            <p:nvSpPr>
              <p:cNvPr id="117" name="Rectangle 116"/>
              <p:cNvSpPr/>
              <p:nvPr/>
            </p:nvSpPr>
            <p:spPr bwMode="auto">
              <a:xfrm>
                <a:off x="179512" y="4929283"/>
                <a:ext cx="432000" cy="432000"/>
              </a:xfrm>
              <a:prstGeom prst="rect">
                <a:avLst/>
              </a:prstGeom>
              <a:solidFill>
                <a:schemeClr val="bg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eaLnBrk="0" fontAlgn="base" hangingPunct="0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GB">
                  <a:solidFill>
                    <a:prstClr val="black"/>
                  </a:solidFill>
                  <a:cs typeface="ヒラギノ角ゴ Pro W3"/>
                </a:endParaRPr>
              </a:p>
            </p:txBody>
          </p:sp>
          <p:pic>
            <p:nvPicPr>
              <p:cNvPr id="118" name="Picture 117" descr="spirits.png"/>
              <p:cNvPicPr>
                <a:picLocks noChangeAspect="1"/>
              </p:cNvPicPr>
              <p:nvPr/>
            </p:nvPicPr>
            <p:blipFill>
              <a:blip r:embed="rId41"/>
              <a:stretch>
                <a:fillRect/>
              </a:stretch>
            </p:blipFill>
            <p:spPr bwMode="auto">
              <a:xfrm>
                <a:off x="193800" y="4965283"/>
                <a:ext cx="446470" cy="360000"/>
              </a:xfrm>
              <a:prstGeom prst="rect">
                <a:avLst/>
              </a:prstGeom>
              <a:ln>
                <a:noFill/>
              </a:ln>
              <a:effectLst/>
            </p:spPr>
          </p:pic>
        </p:grpSp>
        <p:sp>
          <p:nvSpPr>
            <p:cNvPr id="2" name="TextBox 1"/>
            <p:cNvSpPr txBox="1"/>
            <p:nvPr/>
          </p:nvSpPr>
          <p:spPr>
            <a:xfrm rot="21600000">
              <a:off x="1691681" y="1538725"/>
              <a:ext cx="5605380" cy="4176464"/>
            </a:xfrm>
            <a:prstGeom prst="rect">
              <a:avLst/>
            </a:prstGeom>
            <a:noFill/>
          </p:spPr>
          <p:txBody>
            <a:bodyPr spcFirstLastPara="1" wrap="none">
              <a:prstTxWarp prst="textArchDown">
                <a:avLst/>
              </a:prstTxWarp>
              <a:spAutoFit/>
            </a:bodyPr>
            <a:lstStyle/>
            <a:p>
              <a:pPr algn="ctr">
                <a:defRPr/>
              </a:pPr>
              <a:r>
                <a:rPr lang="en-GB" sz="1600" dirty="0">
                  <a:solidFill>
                    <a:prstClr val="white"/>
                  </a:solidFill>
                  <a:latin typeface="Calibri"/>
                  <a:ea typeface="ヒラギノ角ゴ Pro W3"/>
                  <a:cs typeface="ヒラギノ角ゴ Pro W3"/>
                </a:rPr>
                <a:t>   Research Organisation 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Freeform 42"/>
          <p:cNvSpPr/>
          <p:nvPr/>
        </p:nvSpPr>
        <p:spPr>
          <a:xfrm>
            <a:off x="5003856" y="4041887"/>
            <a:ext cx="3960813" cy="2663825"/>
          </a:xfrm>
          <a:custGeom>
            <a:avLst/>
            <a:gdLst>
              <a:gd name="connsiteX0" fmla="*/ 0 w 3548989"/>
              <a:gd name="connsiteY0" fmla="*/ 259804 h 2598038"/>
              <a:gd name="connsiteX1" fmla="*/ 259804 w 3548989"/>
              <a:gd name="connsiteY1" fmla="*/ 0 h 2598038"/>
              <a:gd name="connsiteX2" fmla="*/ 3289185 w 3548989"/>
              <a:gd name="connsiteY2" fmla="*/ 0 h 2598038"/>
              <a:gd name="connsiteX3" fmla="*/ 3548989 w 3548989"/>
              <a:gd name="connsiteY3" fmla="*/ 259804 h 2598038"/>
              <a:gd name="connsiteX4" fmla="*/ 3548989 w 3548989"/>
              <a:gd name="connsiteY4" fmla="*/ 2338234 h 2598038"/>
              <a:gd name="connsiteX5" fmla="*/ 3289185 w 3548989"/>
              <a:gd name="connsiteY5" fmla="*/ 2598038 h 2598038"/>
              <a:gd name="connsiteX6" fmla="*/ 259804 w 3548989"/>
              <a:gd name="connsiteY6" fmla="*/ 2598038 h 2598038"/>
              <a:gd name="connsiteX7" fmla="*/ 0 w 3548989"/>
              <a:gd name="connsiteY7" fmla="*/ 2338234 h 2598038"/>
              <a:gd name="connsiteX8" fmla="*/ 0 w 3548989"/>
              <a:gd name="connsiteY8" fmla="*/ 259804 h 2598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48989" h="2598038">
                <a:moveTo>
                  <a:pt x="0" y="259804"/>
                </a:moveTo>
                <a:cubicBezTo>
                  <a:pt x="0" y="116318"/>
                  <a:pt x="116318" y="0"/>
                  <a:pt x="259804" y="0"/>
                </a:cubicBezTo>
                <a:lnTo>
                  <a:pt x="3289185" y="0"/>
                </a:lnTo>
                <a:cubicBezTo>
                  <a:pt x="3432671" y="0"/>
                  <a:pt x="3548989" y="116318"/>
                  <a:pt x="3548989" y="259804"/>
                </a:cubicBezTo>
                <a:lnTo>
                  <a:pt x="3548989" y="2338234"/>
                </a:lnTo>
                <a:cubicBezTo>
                  <a:pt x="3548989" y="2481720"/>
                  <a:pt x="3432671" y="2598038"/>
                  <a:pt x="3289185" y="2598038"/>
                </a:cubicBezTo>
                <a:lnTo>
                  <a:pt x="259804" y="2598038"/>
                </a:lnTo>
                <a:cubicBezTo>
                  <a:pt x="116318" y="2598038"/>
                  <a:pt x="0" y="2481720"/>
                  <a:pt x="0" y="2338234"/>
                </a:cubicBezTo>
                <a:lnTo>
                  <a:pt x="0" y="259804"/>
                </a:lnTo>
                <a:close/>
              </a:path>
            </a:pathLst>
          </a:custGeom>
          <a:ln w="25400">
            <a:solidFill>
              <a:srgbClr val="783C74"/>
            </a:solidFill>
          </a:ln>
        </p:spPr>
        <p:style>
          <a:lnRef idx="1">
            <a:schemeClr val="accent2">
              <a:hueOff val="3121013"/>
              <a:satOff val="-3893"/>
              <a:lumOff val="915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1260000" tIns="180000" rIns="180000" bIns="180000" spcCol="1270" anchor="b"/>
          <a:lstStyle/>
          <a:p>
            <a:pPr marL="173038" lvl="1" indent="-173038" defTabSz="622300" fontAlgn="base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•"/>
              <a:defRPr/>
            </a:pPr>
            <a:r>
              <a:rPr lang="en-GB" b="1" dirty="0">
                <a:solidFill>
                  <a:srgbClr val="783C74"/>
                </a:solidFill>
              </a:rPr>
              <a:t>Industry</a:t>
            </a:r>
            <a:r>
              <a:rPr lang="en-GB" dirty="0">
                <a:solidFill>
                  <a:srgbClr val="783C74"/>
                </a:solidFill>
              </a:rPr>
              <a:t> </a:t>
            </a:r>
            <a:r>
              <a:rPr lang="en-GB" b="1" dirty="0">
                <a:solidFill>
                  <a:srgbClr val="783C74"/>
                </a:solidFill>
              </a:rPr>
              <a:t>integration</a:t>
            </a:r>
          </a:p>
          <a:p>
            <a:pPr marL="173038" lvl="1" indent="-173038" defTabSz="622300" fontAlgn="base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•"/>
              <a:defRPr/>
            </a:pPr>
            <a:r>
              <a:rPr lang="en-GB" b="1" dirty="0">
                <a:solidFill>
                  <a:srgbClr val="783C74"/>
                </a:solidFill>
              </a:rPr>
              <a:t>Global perspective </a:t>
            </a:r>
            <a:r>
              <a:rPr lang="en-GB" dirty="0">
                <a:solidFill>
                  <a:srgbClr val="783C74"/>
                </a:solidFill>
              </a:rPr>
              <a:t>(consumer behaviour at export)</a:t>
            </a:r>
          </a:p>
          <a:p>
            <a:pPr marL="173038" lvl="1" indent="-173038" defTabSz="622300" fontAlgn="base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•"/>
              <a:defRPr/>
            </a:pPr>
            <a:r>
              <a:rPr lang="en-GB" dirty="0">
                <a:solidFill>
                  <a:srgbClr val="783C74"/>
                </a:solidFill>
              </a:rPr>
              <a:t>Knowledge/</a:t>
            </a:r>
            <a:r>
              <a:rPr lang="en-GB" dirty="0" err="1">
                <a:solidFill>
                  <a:srgbClr val="783C74"/>
                </a:solidFill>
              </a:rPr>
              <a:t>technologytransfer</a:t>
            </a:r>
            <a:r>
              <a:rPr lang="en-GB" dirty="0">
                <a:solidFill>
                  <a:srgbClr val="783C74"/>
                </a:solidFill>
              </a:rPr>
              <a:t> and </a:t>
            </a:r>
            <a:r>
              <a:rPr lang="en-GB" b="1" dirty="0">
                <a:solidFill>
                  <a:srgbClr val="783C74"/>
                </a:solidFill>
              </a:rPr>
              <a:t>dissemination</a:t>
            </a:r>
          </a:p>
        </p:txBody>
      </p:sp>
      <p:sp>
        <p:nvSpPr>
          <p:cNvPr id="44" name="Freeform 43"/>
          <p:cNvSpPr/>
          <p:nvPr/>
        </p:nvSpPr>
        <p:spPr>
          <a:xfrm>
            <a:off x="179388" y="4041887"/>
            <a:ext cx="3960812" cy="2663825"/>
          </a:xfrm>
          <a:custGeom>
            <a:avLst/>
            <a:gdLst>
              <a:gd name="connsiteX0" fmla="*/ 0 w 3548989"/>
              <a:gd name="connsiteY0" fmla="*/ 259804 h 2598038"/>
              <a:gd name="connsiteX1" fmla="*/ 259804 w 3548989"/>
              <a:gd name="connsiteY1" fmla="*/ 0 h 2598038"/>
              <a:gd name="connsiteX2" fmla="*/ 3289185 w 3548989"/>
              <a:gd name="connsiteY2" fmla="*/ 0 h 2598038"/>
              <a:gd name="connsiteX3" fmla="*/ 3548989 w 3548989"/>
              <a:gd name="connsiteY3" fmla="*/ 259804 h 2598038"/>
              <a:gd name="connsiteX4" fmla="*/ 3548989 w 3548989"/>
              <a:gd name="connsiteY4" fmla="*/ 2338234 h 2598038"/>
              <a:gd name="connsiteX5" fmla="*/ 3289185 w 3548989"/>
              <a:gd name="connsiteY5" fmla="*/ 2598038 h 2598038"/>
              <a:gd name="connsiteX6" fmla="*/ 259804 w 3548989"/>
              <a:gd name="connsiteY6" fmla="*/ 2598038 h 2598038"/>
              <a:gd name="connsiteX7" fmla="*/ 0 w 3548989"/>
              <a:gd name="connsiteY7" fmla="*/ 2338234 h 2598038"/>
              <a:gd name="connsiteX8" fmla="*/ 0 w 3548989"/>
              <a:gd name="connsiteY8" fmla="*/ 259804 h 2598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48989" h="2598038">
                <a:moveTo>
                  <a:pt x="0" y="259804"/>
                </a:moveTo>
                <a:cubicBezTo>
                  <a:pt x="0" y="116318"/>
                  <a:pt x="116318" y="0"/>
                  <a:pt x="259804" y="0"/>
                </a:cubicBezTo>
                <a:lnTo>
                  <a:pt x="3289185" y="0"/>
                </a:lnTo>
                <a:cubicBezTo>
                  <a:pt x="3432671" y="0"/>
                  <a:pt x="3548989" y="116318"/>
                  <a:pt x="3548989" y="259804"/>
                </a:cubicBezTo>
                <a:lnTo>
                  <a:pt x="3548989" y="2338234"/>
                </a:lnTo>
                <a:cubicBezTo>
                  <a:pt x="3548989" y="2481720"/>
                  <a:pt x="3432671" y="2598038"/>
                  <a:pt x="3289185" y="2598038"/>
                </a:cubicBezTo>
                <a:lnTo>
                  <a:pt x="259804" y="2598038"/>
                </a:lnTo>
                <a:cubicBezTo>
                  <a:pt x="116318" y="2598038"/>
                  <a:pt x="0" y="2481720"/>
                  <a:pt x="0" y="2338234"/>
                </a:cubicBezTo>
                <a:lnTo>
                  <a:pt x="0" y="259804"/>
                </a:lnTo>
                <a:close/>
              </a:path>
            </a:pathLst>
          </a:custGeom>
          <a:ln w="25400">
            <a:solidFill>
              <a:srgbClr val="987B3A"/>
            </a:solidFill>
          </a:ln>
        </p:spPr>
        <p:style>
          <a:lnRef idx="1">
            <a:schemeClr val="accent2">
              <a:hueOff val="4681519"/>
              <a:satOff val="-5839"/>
              <a:lumOff val="1373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180000" tIns="180000" rIns="1260000" bIns="180000" spcCol="1270" anchor="b"/>
          <a:lstStyle/>
          <a:p>
            <a:pPr marL="173038" lvl="1" indent="-173038" defTabSz="622300" fontAlgn="base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•"/>
              <a:defRPr/>
            </a:pPr>
            <a:r>
              <a:rPr lang="en-GB" dirty="0">
                <a:solidFill>
                  <a:srgbClr val="7F6731"/>
                </a:solidFill>
              </a:rPr>
              <a:t>Anticipating food fraud: early </a:t>
            </a:r>
            <a:r>
              <a:rPr lang="en-GB" b="1" dirty="0">
                <a:solidFill>
                  <a:srgbClr val="7F6731"/>
                </a:solidFill>
              </a:rPr>
              <a:t>warning system </a:t>
            </a:r>
            <a:endParaRPr lang="en-GB" dirty="0">
              <a:solidFill>
                <a:srgbClr val="7F6731"/>
              </a:solidFill>
            </a:endParaRPr>
          </a:p>
          <a:p>
            <a:pPr marL="173038" lvl="1" indent="-173038" defTabSz="622300" fontAlgn="base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•"/>
              <a:defRPr/>
            </a:pPr>
            <a:r>
              <a:rPr lang="en-GB" dirty="0">
                <a:solidFill>
                  <a:srgbClr val="7F6731"/>
                </a:solidFill>
              </a:rPr>
              <a:t>Development of new </a:t>
            </a:r>
            <a:r>
              <a:rPr lang="en-GB" b="1" dirty="0">
                <a:solidFill>
                  <a:srgbClr val="7F6731"/>
                </a:solidFill>
              </a:rPr>
              <a:t>analytical and screening methods </a:t>
            </a:r>
            <a:r>
              <a:rPr lang="en-GB" dirty="0">
                <a:solidFill>
                  <a:srgbClr val="7F6731"/>
                </a:solidFill>
              </a:rPr>
              <a:t>for olive oil, fish, spirit drinks</a:t>
            </a:r>
          </a:p>
          <a:p>
            <a:pPr marL="173038" lvl="1" indent="-173038" defTabSz="622300" fontAlgn="base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•"/>
              <a:defRPr/>
            </a:pPr>
            <a:r>
              <a:rPr lang="en-GB" b="1" dirty="0">
                <a:solidFill>
                  <a:srgbClr val="7F6731"/>
                </a:solidFill>
              </a:rPr>
              <a:t>Commissioning</a:t>
            </a:r>
            <a:r>
              <a:rPr lang="en-GB" dirty="0">
                <a:solidFill>
                  <a:srgbClr val="7F6731"/>
                </a:solidFill>
              </a:rPr>
              <a:t> €3M of new research</a:t>
            </a:r>
          </a:p>
        </p:txBody>
      </p:sp>
      <p:sp>
        <p:nvSpPr>
          <p:cNvPr id="45" name="Freeform 44"/>
          <p:cNvSpPr/>
          <p:nvPr/>
        </p:nvSpPr>
        <p:spPr>
          <a:xfrm>
            <a:off x="5003856" y="765175"/>
            <a:ext cx="3960813" cy="2663825"/>
          </a:xfrm>
          <a:custGeom>
            <a:avLst/>
            <a:gdLst>
              <a:gd name="connsiteX0" fmla="*/ 0 w 3548989"/>
              <a:gd name="connsiteY0" fmla="*/ 259804 h 2598038"/>
              <a:gd name="connsiteX1" fmla="*/ 259804 w 3548989"/>
              <a:gd name="connsiteY1" fmla="*/ 0 h 2598038"/>
              <a:gd name="connsiteX2" fmla="*/ 3289185 w 3548989"/>
              <a:gd name="connsiteY2" fmla="*/ 0 h 2598038"/>
              <a:gd name="connsiteX3" fmla="*/ 3548989 w 3548989"/>
              <a:gd name="connsiteY3" fmla="*/ 259804 h 2598038"/>
              <a:gd name="connsiteX4" fmla="*/ 3548989 w 3548989"/>
              <a:gd name="connsiteY4" fmla="*/ 2338234 h 2598038"/>
              <a:gd name="connsiteX5" fmla="*/ 3289185 w 3548989"/>
              <a:gd name="connsiteY5" fmla="*/ 2598038 h 2598038"/>
              <a:gd name="connsiteX6" fmla="*/ 259804 w 3548989"/>
              <a:gd name="connsiteY6" fmla="*/ 2598038 h 2598038"/>
              <a:gd name="connsiteX7" fmla="*/ 0 w 3548989"/>
              <a:gd name="connsiteY7" fmla="*/ 2338234 h 2598038"/>
              <a:gd name="connsiteX8" fmla="*/ 0 w 3548989"/>
              <a:gd name="connsiteY8" fmla="*/ 259804 h 2598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48989" h="2598038">
                <a:moveTo>
                  <a:pt x="0" y="259804"/>
                </a:moveTo>
                <a:cubicBezTo>
                  <a:pt x="0" y="116318"/>
                  <a:pt x="116318" y="0"/>
                  <a:pt x="259804" y="0"/>
                </a:cubicBezTo>
                <a:lnTo>
                  <a:pt x="3289185" y="0"/>
                </a:lnTo>
                <a:cubicBezTo>
                  <a:pt x="3432671" y="0"/>
                  <a:pt x="3548989" y="116318"/>
                  <a:pt x="3548989" y="259804"/>
                </a:cubicBezTo>
                <a:lnTo>
                  <a:pt x="3548989" y="2338234"/>
                </a:lnTo>
                <a:cubicBezTo>
                  <a:pt x="3548989" y="2481720"/>
                  <a:pt x="3432671" y="2598038"/>
                  <a:pt x="3289185" y="2598038"/>
                </a:cubicBezTo>
                <a:lnTo>
                  <a:pt x="259804" y="2598038"/>
                </a:lnTo>
                <a:cubicBezTo>
                  <a:pt x="116318" y="2598038"/>
                  <a:pt x="0" y="2481720"/>
                  <a:pt x="0" y="2338234"/>
                </a:cubicBezTo>
                <a:lnTo>
                  <a:pt x="0" y="259804"/>
                </a:lnTo>
                <a:close/>
              </a:path>
            </a:pathLst>
          </a:custGeom>
          <a:ln w="25400">
            <a:solidFill>
              <a:schemeClr val="tx2">
                <a:lumMod val="75000"/>
              </a:schemeClr>
            </a:solidFill>
          </a:ln>
        </p:spPr>
        <p:style>
          <a:lnRef idx="1">
            <a:schemeClr val="accent2">
              <a:hueOff val="1560506"/>
              <a:satOff val="-1946"/>
              <a:lumOff val="458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1260000" tIns="180000" rIns="180000" bIns="180000" spcCol="1270"/>
          <a:lstStyle/>
          <a:p>
            <a:pPr marL="173038" lvl="1" indent="-173038" defTabSz="622300" fontAlgn="base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•"/>
              <a:defRPr/>
            </a:pPr>
            <a:r>
              <a:rPr lang="en-GB" dirty="0">
                <a:solidFill>
                  <a:srgbClr val="1F497D">
                    <a:lumMod val="75000"/>
                  </a:srgbClr>
                </a:solidFill>
              </a:rPr>
              <a:t>Food integrity </a:t>
            </a:r>
            <a:r>
              <a:rPr lang="en-GB" b="1" dirty="0">
                <a:solidFill>
                  <a:srgbClr val="1F497D">
                    <a:lumMod val="75000"/>
                  </a:srgbClr>
                </a:solidFill>
              </a:rPr>
              <a:t>database hub </a:t>
            </a:r>
          </a:p>
          <a:p>
            <a:pPr marL="173038" lvl="1" indent="-173038" defTabSz="622300" fontAlgn="base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•"/>
              <a:defRPr/>
            </a:pPr>
            <a:r>
              <a:rPr lang="en-GB" b="1" dirty="0">
                <a:solidFill>
                  <a:srgbClr val="1F497D">
                    <a:lumMod val="75000"/>
                  </a:srgbClr>
                </a:solidFill>
              </a:rPr>
              <a:t>Harmonisation/consolidation </a:t>
            </a:r>
            <a:r>
              <a:rPr lang="en-GB" dirty="0">
                <a:solidFill>
                  <a:srgbClr val="1F497D">
                    <a:lumMod val="75000"/>
                  </a:srgbClr>
                </a:solidFill>
              </a:rPr>
              <a:t>of existing methods / databases</a:t>
            </a:r>
          </a:p>
          <a:p>
            <a:pPr marL="173038" lvl="1" indent="-173038" defTabSz="622300" fontAlgn="base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•"/>
              <a:defRPr/>
            </a:pPr>
            <a:r>
              <a:rPr lang="en-GB" dirty="0">
                <a:solidFill>
                  <a:srgbClr val="1F497D">
                    <a:lumMod val="75000"/>
                  </a:srgbClr>
                </a:solidFill>
              </a:rPr>
              <a:t>Identifying </a:t>
            </a:r>
            <a:r>
              <a:rPr lang="en-GB" b="1" dirty="0">
                <a:solidFill>
                  <a:srgbClr val="1F497D">
                    <a:lumMod val="75000"/>
                  </a:srgbClr>
                </a:solidFill>
              </a:rPr>
              <a:t>research gaps</a:t>
            </a:r>
          </a:p>
          <a:p>
            <a:pPr marL="0" lvl="1" defTabSz="622300" fontAlgn="base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defRPr/>
            </a:pPr>
            <a:endParaRPr lang="en-GB" b="1" dirty="0">
              <a:solidFill>
                <a:srgbClr val="1F497D">
                  <a:lumMod val="75000"/>
                </a:srgbClr>
              </a:solidFill>
            </a:endParaRPr>
          </a:p>
        </p:txBody>
      </p:sp>
      <p:sp>
        <p:nvSpPr>
          <p:cNvPr id="46" name="Freeform 45"/>
          <p:cNvSpPr/>
          <p:nvPr/>
        </p:nvSpPr>
        <p:spPr>
          <a:xfrm>
            <a:off x="169863" y="765175"/>
            <a:ext cx="3960812" cy="2663825"/>
          </a:xfrm>
          <a:custGeom>
            <a:avLst/>
            <a:gdLst>
              <a:gd name="connsiteX0" fmla="*/ 0 w 3548989"/>
              <a:gd name="connsiteY0" fmla="*/ 259804 h 2598038"/>
              <a:gd name="connsiteX1" fmla="*/ 259804 w 3548989"/>
              <a:gd name="connsiteY1" fmla="*/ 0 h 2598038"/>
              <a:gd name="connsiteX2" fmla="*/ 3289185 w 3548989"/>
              <a:gd name="connsiteY2" fmla="*/ 0 h 2598038"/>
              <a:gd name="connsiteX3" fmla="*/ 3548989 w 3548989"/>
              <a:gd name="connsiteY3" fmla="*/ 259804 h 2598038"/>
              <a:gd name="connsiteX4" fmla="*/ 3548989 w 3548989"/>
              <a:gd name="connsiteY4" fmla="*/ 2338234 h 2598038"/>
              <a:gd name="connsiteX5" fmla="*/ 3289185 w 3548989"/>
              <a:gd name="connsiteY5" fmla="*/ 2598038 h 2598038"/>
              <a:gd name="connsiteX6" fmla="*/ 259804 w 3548989"/>
              <a:gd name="connsiteY6" fmla="*/ 2598038 h 2598038"/>
              <a:gd name="connsiteX7" fmla="*/ 0 w 3548989"/>
              <a:gd name="connsiteY7" fmla="*/ 2338234 h 2598038"/>
              <a:gd name="connsiteX8" fmla="*/ 0 w 3548989"/>
              <a:gd name="connsiteY8" fmla="*/ 259804 h 2598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548989" h="2598038">
                <a:moveTo>
                  <a:pt x="0" y="259804"/>
                </a:moveTo>
                <a:cubicBezTo>
                  <a:pt x="0" y="116318"/>
                  <a:pt x="116318" y="0"/>
                  <a:pt x="259804" y="0"/>
                </a:cubicBezTo>
                <a:lnTo>
                  <a:pt x="3289185" y="0"/>
                </a:lnTo>
                <a:cubicBezTo>
                  <a:pt x="3432671" y="0"/>
                  <a:pt x="3548989" y="116318"/>
                  <a:pt x="3548989" y="259804"/>
                </a:cubicBezTo>
                <a:lnTo>
                  <a:pt x="3548989" y="2338234"/>
                </a:lnTo>
                <a:cubicBezTo>
                  <a:pt x="3548989" y="2481720"/>
                  <a:pt x="3432671" y="2598038"/>
                  <a:pt x="3289185" y="2598038"/>
                </a:cubicBezTo>
                <a:lnTo>
                  <a:pt x="259804" y="2598038"/>
                </a:lnTo>
                <a:cubicBezTo>
                  <a:pt x="116318" y="2598038"/>
                  <a:pt x="0" y="2481720"/>
                  <a:pt x="0" y="2338234"/>
                </a:cubicBezTo>
                <a:lnTo>
                  <a:pt x="0" y="259804"/>
                </a:lnTo>
                <a:close/>
              </a:path>
            </a:pathLst>
          </a:custGeom>
          <a:ln w="25400">
            <a:solidFill>
              <a:srgbClr val="9B2D2A"/>
            </a:solidFill>
          </a:ln>
        </p:spPr>
        <p:style>
          <a:lnRef idx="1">
            <a:schemeClr val="accent2">
              <a:hueOff val="0"/>
              <a:satOff val="0"/>
              <a:lumOff val="0"/>
              <a:alphaOff val="0"/>
            </a:schemeClr>
          </a:lnRef>
          <a:fillRef idx="1">
            <a:schemeClr val="lt1">
              <a:alpha val="90000"/>
              <a:hueOff val="0"/>
              <a:satOff val="0"/>
              <a:lumOff val="0"/>
              <a:alphaOff val="0"/>
            </a:schemeClr>
          </a:fillRef>
          <a:effectRef idx="2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lIns="180000" tIns="180000" rIns="1260000" bIns="180000" spcCol="1270"/>
          <a:lstStyle/>
          <a:p>
            <a:pPr marL="173038" lvl="1" indent="-173038" defTabSz="622300" fontAlgn="base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•"/>
              <a:defRPr/>
            </a:pPr>
            <a:r>
              <a:rPr lang="en-GB" dirty="0">
                <a:solidFill>
                  <a:srgbClr val="9B2D2A"/>
                </a:solidFill>
              </a:rPr>
              <a:t>Global independent </a:t>
            </a:r>
            <a:r>
              <a:rPr lang="en-GB" b="1" dirty="0">
                <a:solidFill>
                  <a:srgbClr val="9B2D2A"/>
                </a:solidFill>
              </a:rPr>
              <a:t>network</a:t>
            </a:r>
            <a:r>
              <a:rPr lang="en-GB" dirty="0">
                <a:solidFill>
                  <a:srgbClr val="9B2D2A"/>
                </a:solidFill>
              </a:rPr>
              <a:t> of experts </a:t>
            </a:r>
          </a:p>
          <a:p>
            <a:pPr marL="173038" lvl="1" indent="-173038" defTabSz="622300" fontAlgn="base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•"/>
              <a:defRPr/>
            </a:pPr>
            <a:r>
              <a:rPr lang="en-GB" b="1" dirty="0">
                <a:solidFill>
                  <a:srgbClr val="9B2D2A"/>
                </a:solidFill>
              </a:rPr>
              <a:t>Scientific opinions </a:t>
            </a:r>
            <a:r>
              <a:rPr lang="en-GB" dirty="0">
                <a:solidFill>
                  <a:srgbClr val="9B2D2A"/>
                </a:solidFill>
              </a:rPr>
              <a:t>to support regulations and enforcement </a:t>
            </a:r>
          </a:p>
          <a:p>
            <a:pPr marL="173038" lvl="1" indent="-173038" defTabSz="622300" fontAlgn="base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  <a:buFontTx/>
              <a:buChar char="••"/>
              <a:defRPr/>
            </a:pPr>
            <a:r>
              <a:rPr lang="en-GB" b="1" dirty="0">
                <a:solidFill>
                  <a:srgbClr val="9B2D2A"/>
                </a:solidFill>
              </a:rPr>
              <a:t>Stakeholder</a:t>
            </a:r>
            <a:r>
              <a:rPr lang="en-GB" dirty="0">
                <a:solidFill>
                  <a:srgbClr val="9B2D2A"/>
                </a:solidFill>
              </a:rPr>
              <a:t> secure forum</a:t>
            </a:r>
          </a:p>
        </p:txBody>
      </p:sp>
      <p:sp>
        <p:nvSpPr>
          <p:cNvPr id="47" name="Freeform 46"/>
          <p:cNvSpPr/>
          <p:nvPr/>
        </p:nvSpPr>
        <p:spPr>
          <a:xfrm>
            <a:off x="2772000" y="1881328"/>
            <a:ext cx="1800000" cy="1800000"/>
          </a:xfrm>
          <a:custGeom>
            <a:avLst/>
            <a:gdLst>
              <a:gd name="connsiteX0" fmla="*/ 0 w 2525536"/>
              <a:gd name="connsiteY0" fmla="*/ 2525536 h 2525536"/>
              <a:gd name="connsiteX1" fmla="*/ 2525536 w 2525536"/>
              <a:gd name="connsiteY1" fmla="*/ 0 h 2525536"/>
              <a:gd name="connsiteX2" fmla="*/ 2525536 w 2525536"/>
              <a:gd name="connsiteY2" fmla="*/ 2525536 h 2525536"/>
              <a:gd name="connsiteX3" fmla="*/ 0 w 2525536"/>
              <a:gd name="connsiteY3" fmla="*/ 2525536 h 2525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5536" h="2525536">
                <a:moveTo>
                  <a:pt x="0" y="2525536"/>
                </a:moveTo>
                <a:cubicBezTo>
                  <a:pt x="0" y="1130721"/>
                  <a:pt x="1130721" y="0"/>
                  <a:pt x="2525536" y="0"/>
                </a:cubicBezTo>
                <a:lnTo>
                  <a:pt x="2525536" y="2525536"/>
                </a:lnTo>
                <a:lnTo>
                  <a:pt x="0" y="2525536"/>
                </a:lnTo>
                <a:close/>
              </a:path>
            </a:pathLst>
          </a:custGeom>
          <a:solidFill>
            <a:srgbClr val="9B2D2A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hueOff val="0"/>
              <a:satOff val="0"/>
              <a:lumOff val="0"/>
              <a:alphaOff val="0"/>
            </a:schemeClr>
          </a:fillRef>
          <a:effectRef idx="3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lIns="180000" tIns="180000" rIns="432000" bIns="432000" spcCol="1270" anchor="b"/>
          <a:lstStyle/>
          <a:p>
            <a:pPr algn="r" defTabSz="6223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b="1" dirty="0">
                <a:solidFill>
                  <a:prstClr val="white"/>
                </a:solidFill>
              </a:rPr>
              <a:t>Expertise</a:t>
            </a:r>
          </a:p>
        </p:txBody>
      </p:sp>
      <p:sp>
        <p:nvSpPr>
          <p:cNvPr id="48" name="Freeform 47"/>
          <p:cNvSpPr/>
          <p:nvPr/>
        </p:nvSpPr>
        <p:spPr>
          <a:xfrm>
            <a:off x="4630326" y="1881328"/>
            <a:ext cx="1800000" cy="1800000"/>
          </a:xfrm>
          <a:custGeom>
            <a:avLst/>
            <a:gdLst>
              <a:gd name="connsiteX0" fmla="*/ 0 w 2525536"/>
              <a:gd name="connsiteY0" fmla="*/ 2525536 h 2525536"/>
              <a:gd name="connsiteX1" fmla="*/ 2525536 w 2525536"/>
              <a:gd name="connsiteY1" fmla="*/ 0 h 2525536"/>
              <a:gd name="connsiteX2" fmla="*/ 2525536 w 2525536"/>
              <a:gd name="connsiteY2" fmla="*/ 2525536 h 2525536"/>
              <a:gd name="connsiteX3" fmla="*/ 0 w 2525536"/>
              <a:gd name="connsiteY3" fmla="*/ 2525536 h 2525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5536" h="2525536">
                <a:moveTo>
                  <a:pt x="0" y="0"/>
                </a:moveTo>
                <a:cubicBezTo>
                  <a:pt x="1394815" y="0"/>
                  <a:pt x="2525536" y="1130721"/>
                  <a:pt x="2525536" y="2525536"/>
                </a:cubicBezTo>
                <a:lnTo>
                  <a:pt x="0" y="2525536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lumMod val="75000"/>
            </a:schemeClr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hueOff val="1560506"/>
              <a:satOff val="-1946"/>
              <a:lumOff val="458"/>
              <a:alphaOff val="0"/>
            </a:schemeClr>
          </a:fillRef>
          <a:effectRef idx="3">
            <a:schemeClr val="accent2">
              <a:hueOff val="1560506"/>
              <a:satOff val="-1946"/>
              <a:lumOff val="458"/>
              <a:alphaOff val="0"/>
            </a:schemeClr>
          </a:effectRef>
          <a:fontRef idx="minor">
            <a:schemeClr val="lt1"/>
          </a:fontRef>
        </p:style>
        <p:txBody>
          <a:bodyPr lIns="432000" tIns="180000" rIns="180000" bIns="432000" spcCol="1270" anchor="b"/>
          <a:lstStyle/>
          <a:p>
            <a:pPr defTabSz="6223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b="1" dirty="0">
                <a:solidFill>
                  <a:prstClr val="white"/>
                </a:solidFill>
              </a:rPr>
              <a:t>Evidence</a:t>
            </a:r>
          </a:p>
        </p:txBody>
      </p:sp>
      <p:sp>
        <p:nvSpPr>
          <p:cNvPr id="49" name="Freeform 48"/>
          <p:cNvSpPr/>
          <p:nvPr/>
        </p:nvSpPr>
        <p:spPr>
          <a:xfrm>
            <a:off x="4630326" y="3744000"/>
            <a:ext cx="1800000" cy="1800000"/>
          </a:xfrm>
          <a:custGeom>
            <a:avLst/>
            <a:gdLst>
              <a:gd name="connsiteX0" fmla="*/ 0 w 2525536"/>
              <a:gd name="connsiteY0" fmla="*/ 2525536 h 2525536"/>
              <a:gd name="connsiteX1" fmla="*/ 2525536 w 2525536"/>
              <a:gd name="connsiteY1" fmla="*/ 0 h 2525536"/>
              <a:gd name="connsiteX2" fmla="*/ 2525536 w 2525536"/>
              <a:gd name="connsiteY2" fmla="*/ 2525536 h 2525536"/>
              <a:gd name="connsiteX3" fmla="*/ 0 w 2525536"/>
              <a:gd name="connsiteY3" fmla="*/ 2525536 h 2525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5536" h="2525536">
                <a:moveTo>
                  <a:pt x="2525536" y="0"/>
                </a:moveTo>
                <a:cubicBezTo>
                  <a:pt x="2525536" y="1394815"/>
                  <a:pt x="1394815" y="2525536"/>
                  <a:pt x="0" y="2525536"/>
                </a:cubicBezTo>
                <a:lnTo>
                  <a:pt x="0" y="0"/>
                </a:lnTo>
                <a:lnTo>
                  <a:pt x="2525536" y="0"/>
                </a:lnTo>
                <a:close/>
              </a:path>
            </a:pathLst>
          </a:custGeom>
          <a:solidFill>
            <a:srgbClr val="783C74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hueOff val="3121013"/>
              <a:satOff val="-3893"/>
              <a:lumOff val="915"/>
              <a:alphaOff val="0"/>
            </a:schemeClr>
          </a:fillRef>
          <a:effectRef idx="3">
            <a:schemeClr val="accent2">
              <a:hueOff val="3121013"/>
              <a:satOff val="-3893"/>
              <a:lumOff val="915"/>
              <a:alphaOff val="0"/>
            </a:schemeClr>
          </a:effectRef>
          <a:fontRef idx="minor">
            <a:schemeClr val="lt1"/>
          </a:fontRef>
        </p:style>
        <p:txBody>
          <a:bodyPr lIns="432000" tIns="432000" rIns="180000" bIns="180000" spcCol="1270"/>
          <a:lstStyle/>
          <a:p>
            <a:pPr defTabSz="6223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b="1" dirty="0">
                <a:solidFill>
                  <a:prstClr val="white"/>
                </a:solidFill>
              </a:rPr>
              <a:t>Impact</a:t>
            </a:r>
          </a:p>
        </p:txBody>
      </p:sp>
      <p:sp>
        <p:nvSpPr>
          <p:cNvPr id="50" name="Freeform 49"/>
          <p:cNvSpPr/>
          <p:nvPr/>
        </p:nvSpPr>
        <p:spPr>
          <a:xfrm>
            <a:off x="2772000" y="3744000"/>
            <a:ext cx="1800000" cy="1800000"/>
          </a:xfrm>
          <a:custGeom>
            <a:avLst/>
            <a:gdLst>
              <a:gd name="connsiteX0" fmla="*/ 0 w 2525536"/>
              <a:gd name="connsiteY0" fmla="*/ 2525536 h 2525536"/>
              <a:gd name="connsiteX1" fmla="*/ 2525536 w 2525536"/>
              <a:gd name="connsiteY1" fmla="*/ 0 h 2525536"/>
              <a:gd name="connsiteX2" fmla="*/ 2525536 w 2525536"/>
              <a:gd name="connsiteY2" fmla="*/ 2525536 h 2525536"/>
              <a:gd name="connsiteX3" fmla="*/ 0 w 2525536"/>
              <a:gd name="connsiteY3" fmla="*/ 2525536 h 2525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25536" h="2525536">
                <a:moveTo>
                  <a:pt x="2525536" y="2525536"/>
                </a:moveTo>
                <a:cubicBezTo>
                  <a:pt x="1130721" y="2525536"/>
                  <a:pt x="0" y="1394815"/>
                  <a:pt x="0" y="0"/>
                </a:cubicBezTo>
                <a:lnTo>
                  <a:pt x="2525536" y="0"/>
                </a:lnTo>
                <a:lnTo>
                  <a:pt x="2525536" y="2525536"/>
                </a:lnTo>
                <a:close/>
              </a:path>
            </a:pathLst>
          </a:custGeom>
          <a:solidFill>
            <a:srgbClr val="004C3F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hueOff val="4681519"/>
              <a:satOff val="-5839"/>
              <a:lumOff val="1373"/>
              <a:alphaOff val="0"/>
            </a:schemeClr>
          </a:fillRef>
          <a:effectRef idx="3">
            <a:schemeClr val="accent2">
              <a:hueOff val="4681519"/>
              <a:satOff val="-5839"/>
              <a:lumOff val="1373"/>
              <a:alphaOff val="0"/>
            </a:schemeClr>
          </a:effectRef>
          <a:fontRef idx="minor">
            <a:schemeClr val="lt1"/>
          </a:fontRef>
        </p:style>
        <p:txBody>
          <a:bodyPr lIns="180000" tIns="432000" rIns="432000" bIns="180000" spcCol="1270"/>
          <a:lstStyle/>
          <a:p>
            <a:pPr algn="r" defTabSz="622300" fontAlgn="base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/>
            </a:pPr>
            <a:r>
              <a:rPr lang="en-GB" b="1" dirty="0">
                <a:solidFill>
                  <a:prstClr val="white"/>
                </a:solidFill>
              </a:rPr>
              <a:t>Innovation</a:t>
            </a:r>
          </a:p>
        </p:txBody>
      </p:sp>
      <p:sp>
        <p:nvSpPr>
          <p:cNvPr id="51" name="Circular Arrow 50"/>
          <p:cNvSpPr/>
          <p:nvPr/>
        </p:nvSpPr>
        <p:spPr>
          <a:xfrm>
            <a:off x="3996080" y="3068960"/>
            <a:ext cx="1224000" cy="1116000"/>
          </a:xfrm>
          <a:prstGeom prst="circularArrow">
            <a:avLst>
              <a:gd name="adj1" fmla="val 7401"/>
              <a:gd name="adj2" fmla="val 1142319"/>
              <a:gd name="adj3" fmla="val 20475183"/>
              <a:gd name="adj4" fmla="val 10744641"/>
              <a:gd name="adj5" fmla="val 8603"/>
            </a:avLst>
          </a:prstGeom>
          <a:gradFill>
            <a:gsLst>
              <a:gs pos="0">
                <a:srgbClr val="92D050"/>
              </a:gs>
              <a:gs pos="80000">
                <a:srgbClr val="92D050"/>
              </a:gs>
              <a:gs pos="100000">
                <a:srgbClr val="92D050">
                  <a:alpha val="88000"/>
                </a:srgbClr>
              </a:gs>
            </a:gsLst>
          </a:gra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4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3" name="Rectangle 52"/>
          <p:cNvSpPr/>
          <p:nvPr/>
        </p:nvSpPr>
        <p:spPr>
          <a:xfrm>
            <a:off x="-1588" y="112"/>
            <a:ext cx="9145588" cy="576263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2000" tIns="36000" rIns="36000" bIns="3600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800" b="1" dirty="0">
                <a:solidFill>
                  <a:prstClr val="white"/>
                </a:solidFill>
              </a:rPr>
              <a:t>Key Outputs: progress at M30/60</a:t>
            </a:r>
          </a:p>
        </p:txBody>
      </p:sp>
      <p:pic>
        <p:nvPicPr>
          <p:cNvPr id="22550" name="Picture 5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81" y="44562"/>
            <a:ext cx="608013" cy="50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Oval 1"/>
          <p:cNvSpPr/>
          <p:nvPr/>
        </p:nvSpPr>
        <p:spPr>
          <a:xfrm>
            <a:off x="4176713" y="3284538"/>
            <a:ext cx="863600" cy="865187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 anchorCtr="1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2200" b="1" dirty="0">
                <a:solidFill>
                  <a:srgbClr val="92D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&amp;D</a:t>
            </a:r>
          </a:p>
        </p:txBody>
      </p:sp>
      <p:sp>
        <p:nvSpPr>
          <p:cNvPr id="15" name="Circular Arrow 14"/>
          <p:cNvSpPr/>
          <p:nvPr/>
        </p:nvSpPr>
        <p:spPr>
          <a:xfrm flipH="1" flipV="1">
            <a:off x="3996072" y="3249104"/>
            <a:ext cx="1224000" cy="1116000"/>
          </a:xfrm>
          <a:prstGeom prst="circularArrow">
            <a:avLst>
              <a:gd name="adj1" fmla="val 7401"/>
              <a:gd name="adj2" fmla="val 1142319"/>
              <a:gd name="adj3" fmla="val 20475183"/>
              <a:gd name="adj4" fmla="val 10744641"/>
              <a:gd name="adj5" fmla="val 8603"/>
            </a:avLst>
          </a:prstGeom>
          <a:gradFill>
            <a:gsLst>
              <a:gs pos="0">
                <a:srgbClr val="92D050"/>
              </a:gs>
              <a:gs pos="80000">
                <a:srgbClr val="92D050"/>
              </a:gs>
              <a:gs pos="100000">
                <a:srgbClr val="92D050">
                  <a:alpha val="88000"/>
                </a:srgbClr>
              </a:gs>
            </a:gsLst>
          </a:gra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4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itle 1"/>
          <p:cNvSpPr>
            <a:spLocks noGrp="1"/>
          </p:cNvSpPr>
          <p:nvPr>
            <p:ph type="title"/>
          </p:nvPr>
        </p:nvSpPr>
        <p:spPr>
          <a:xfrm>
            <a:off x="757239" y="116000"/>
            <a:ext cx="3725862" cy="549275"/>
          </a:xfrm>
        </p:spPr>
        <p:txBody>
          <a:bodyPr/>
          <a:lstStyle/>
          <a:p>
            <a:r>
              <a:rPr lang="en-GB" altLang="en-US" u="sng" smtClean="0">
                <a:latin typeface="Calibri" pitchFamily="34" charset="0"/>
              </a:rPr>
              <a:t>1</a:t>
            </a:r>
            <a:r>
              <a:rPr lang="en-GB" altLang="en-US" u="sng" baseline="30000" smtClean="0">
                <a:latin typeface="Calibri" pitchFamily="34" charset="0"/>
              </a:rPr>
              <a:t>st</a:t>
            </a:r>
            <a:r>
              <a:rPr lang="en-GB" altLang="en-US" u="sng" smtClean="0">
                <a:latin typeface="Calibri" pitchFamily="34" charset="0"/>
              </a:rPr>
              <a:t> Outputs</a:t>
            </a:r>
          </a:p>
        </p:txBody>
      </p:sp>
      <p:pic>
        <p:nvPicPr>
          <p:cNvPr id="23555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clrChange>
              <a:clrFrom>
                <a:srgbClr val="F7FCFD"/>
              </a:clrFrom>
              <a:clrTo>
                <a:srgbClr val="F7FC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139950" y="788988"/>
            <a:ext cx="3024188" cy="1511300"/>
          </a:xfrm>
        </p:spPr>
      </p:pic>
      <p:graphicFrame>
        <p:nvGraphicFramePr>
          <p:cNvPr id="9" name="Chart 8"/>
          <p:cNvGraphicFramePr>
            <a:graphicFrameLocks/>
          </p:cNvGraphicFramePr>
          <p:nvPr/>
        </p:nvGraphicFramePr>
        <p:xfrm>
          <a:off x="1065826" y="2711091"/>
          <a:ext cx="4248472" cy="35283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631825" y="5876925"/>
            <a:ext cx="3816350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 sz="1800" b="1" i="0" u="none" strike="noStrike" kern="1200" baseline="0">
                <a:solidFill>
                  <a:srgbClr val="00B050"/>
                </a:solidFill>
                <a:latin typeface="+mn-lt"/>
                <a:ea typeface="+mn-ea"/>
                <a:cs typeface="+mn-cs"/>
              </a:defRPr>
            </a:pPr>
            <a:r>
              <a:rPr lang="en-US" sz="1600" b="1" dirty="0">
                <a:solidFill>
                  <a:srgbClr val="000000"/>
                </a:solidFill>
              </a:rPr>
              <a:t>&gt;200</a:t>
            </a:r>
            <a:r>
              <a:rPr lang="en-US" sz="1600" b="1" dirty="0">
                <a:solidFill>
                  <a:srgbClr val="00B050"/>
                </a:solidFill>
              </a:rPr>
              <a:t> </a:t>
            </a:r>
            <a:r>
              <a:rPr lang="en-US" sz="1600" b="1" dirty="0">
                <a:solidFill>
                  <a:srgbClr val="006666">
                    <a:lumMod val="75000"/>
                  </a:srgbClr>
                </a:solidFill>
              </a:rPr>
              <a:t>Members from </a:t>
            </a:r>
            <a:r>
              <a:rPr lang="en-US" sz="1600" b="1" dirty="0">
                <a:solidFill>
                  <a:srgbClr val="0C2738"/>
                </a:solidFill>
              </a:rPr>
              <a:t>36</a:t>
            </a:r>
            <a:r>
              <a:rPr lang="en-US" sz="1600" b="1" dirty="0">
                <a:solidFill>
                  <a:srgbClr val="00B050"/>
                </a:solidFill>
              </a:rPr>
              <a:t> </a:t>
            </a:r>
            <a:r>
              <a:rPr lang="en-US" sz="1600" b="1" dirty="0">
                <a:solidFill>
                  <a:srgbClr val="006666">
                    <a:lumMod val="75000"/>
                  </a:srgbClr>
                </a:solidFill>
              </a:rPr>
              <a:t>Countries</a:t>
            </a:r>
          </a:p>
        </p:txBody>
      </p:sp>
      <p:pic>
        <p:nvPicPr>
          <p:cNvPr id="23558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2594" y="3933937"/>
            <a:ext cx="3830637" cy="2282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559" name="TextBox 1"/>
          <p:cNvSpPr txBox="1">
            <a:spLocks noChangeArrowheads="1"/>
          </p:cNvSpPr>
          <p:nvPr/>
        </p:nvSpPr>
        <p:spPr bwMode="auto">
          <a:xfrm>
            <a:off x="5164138" y="3429002"/>
            <a:ext cx="3871912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SzPct val="75000"/>
              <a:buFont typeface="Wingdings" pitchFamily="2" charset="2"/>
              <a:defRPr sz="2800">
                <a:solidFill>
                  <a:srgbClr val="00944B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EF4034"/>
              </a:buClr>
              <a:buSzPct val="75000"/>
              <a:buChar char="•"/>
              <a:defRPr sz="24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20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EF4034"/>
              </a:buClr>
              <a:buSzPct val="95000"/>
              <a:buChar char="•"/>
              <a:defRPr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altLang="en-US" sz="2400" smtClean="0">
                <a:solidFill>
                  <a:srgbClr val="003366"/>
                </a:solidFill>
              </a:rPr>
              <a:t>Chinese consumer survey</a:t>
            </a:r>
          </a:p>
        </p:txBody>
      </p:sp>
      <p:sp>
        <p:nvSpPr>
          <p:cNvPr id="13" name="Title 1"/>
          <p:cNvSpPr txBox="1">
            <a:spLocks/>
          </p:cNvSpPr>
          <p:nvPr/>
        </p:nvSpPr>
        <p:spPr bwMode="auto">
          <a:xfrm>
            <a:off x="611188" y="2290875"/>
            <a:ext cx="3725862" cy="549275"/>
          </a:xfrm>
          <a:prstGeom prst="roundRect">
            <a:avLst>
              <a:gd name="adj" fmla="val 21667"/>
            </a:avLst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b"/>
          <a:lstStyle>
            <a:lvl1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C2738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C2738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C2738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C2738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C2738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C2738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C2738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C2738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200">
                <a:solidFill>
                  <a:srgbClr val="0C2738"/>
                </a:solidFill>
                <a:latin typeface="Arial" charset="0"/>
                <a:cs typeface="Arial" charset="0"/>
              </a:defRPr>
            </a:lvl9pPr>
          </a:lstStyle>
          <a:p>
            <a:pPr>
              <a:defRPr/>
            </a:pPr>
            <a:r>
              <a:rPr lang="en-GB" altLang="en-US" kern="0" dirty="0" smtClean="0">
                <a:latin typeface="Calibri" panose="020F0502020204030204" pitchFamily="34" charset="0"/>
              </a:rPr>
              <a:t>FI Network</a:t>
            </a:r>
          </a:p>
        </p:txBody>
      </p:sp>
      <p:sp>
        <p:nvSpPr>
          <p:cNvPr id="23561" name="TextBox 2"/>
          <p:cNvSpPr txBox="1">
            <a:spLocks noChangeArrowheads="1"/>
          </p:cNvSpPr>
          <p:nvPr/>
        </p:nvSpPr>
        <p:spPr bwMode="auto">
          <a:xfrm>
            <a:off x="4689475" y="3281475"/>
            <a:ext cx="4211638" cy="3140075"/>
          </a:xfrm>
          <a:prstGeom prst="rect">
            <a:avLst/>
          </a:prstGeom>
          <a:noFill/>
          <a:ln w="9525">
            <a:solidFill>
              <a:srgbClr val="6CA06C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SzPct val="75000"/>
              <a:buFont typeface="Wingdings" pitchFamily="2" charset="2"/>
              <a:defRPr sz="2800">
                <a:solidFill>
                  <a:srgbClr val="00944B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EF4034"/>
              </a:buClr>
              <a:buSzPct val="75000"/>
              <a:buChar char="•"/>
              <a:defRPr sz="24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20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EF4034"/>
              </a:buClr>
              <a:buSzPct val="95000"/>
              <a:buChar char="•"/>
              <a:defRPr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altLang="en-US" sz="1800" smtClean="0">
              <a:solidFill>
                <a:srgbClr val="003366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altLang="en-US" sz="1800" smtClean="0">
              <a:solidFill>
                <a:srgbClr val="003366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altLang="en-US" sz="1800" smtClean="0">
              <a:solidFill>
                <a:srgbClr val="003366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altLang="en-US" sz="1800" smtClean="0">
              <a:solidFill>
                <a:srgbClr val="003366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altLang="en-US" sz="1800" smtClean="0">
              <a:solidFill>
                <a:srgbClr val="003366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altLang="en-US" sz="1800" smtClean="0">
              <a:solidFill>
                <a:srgbClr val="003366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altLang="en-US" sz="1800" smtClean="0">
              <a:solidFill>
                <a:srgbClr val="003366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altLang="en-US" sz="1800" smtClean="0">
              <a:solidFill>
                <a:srgbClr val="003366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altLang="en-US" sz="1800" smtClean="0">
              <a:solidFill>
                <a:srgbClr val="003366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altLang="en-US" sz="1800" smtClean="0">
              <a:solidFill>
                <a:srgbClr val="003366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altLang="en-US" sz="1800" smtClean="0">
              <a:solidFill>
                <a:srgbClr val="003366"/>
              </a:solidFill>
            </a:endParaRPr>
          </a:p>
        </p:txBody>
      </p:sp>
      <p:pic>
        <p:nvPicPr>
          <p:cNvPr id="23562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7256" y="1052516"/>
            <a:ext cx="3427413" cy="1512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563" name="TextBox 3"/>
          <p:cNvSpPr txBox="1">
            <a:spLocks noChangeArrowheads="1"/>
          </p:cNvSpPr>
          <p:nvPr/>
        </p:nvSpPr>
        <p:spPr bwMode="auto">
          <a:xfrm>
            <a:off x="5435600" y="420800"/>
            <a:ext cx="3600450" cy="2554287"/>
          </a:xfrm>
          <a:prstGeom prst="rect">
            <a:avLst/>
          </a:prstGeom>
          <a:noFill/>
          <a:ln w="9525">
            <a:solidFill>
              <a:srgbClr val="5A8C56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SzPct val="75000"/>
              <a:buFont typeface="Wingdings" pitchFamily="2" charset="2"/>
              <a:defRPr sz="2800">
                <a:solidFill>
                  <a:srgbClr val="00944B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EF4034"/>
              </a:buClr>
              <a:buSzPct val="75000"/>
              <a:buChar char="•"/>
              <a:defRPr sz="24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20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EF4034"/>
              </a:buClr>
              <a:buSzPct val="95000"/>
              <a:buChar char="•"/>
              <a:defRPr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altLang="en-US" sz="2400" smtClean="0">
                <a:solidFill>
                  <a:srgbClr val="003366"/>
                </a:solidFill>
              </a:rPr>
              <a:t>3 x FI Conference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altLang="en-US" sz="2400" smtClean="0">
              <a:solidFill>
                <a:srgbClr val="003366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altLang="en-US" sz="2400" smtClean="0">
              <a:solidFill>
                <a:srgbClr val="003366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altLang="en-US" sz="2400" smtClean="0">
              <a:solidFill>
                <a:srgbClr val="003366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altLang="en-US" sz="2400" smtClean="0">
              <a:solidFill>
                <a:srgbClr val="003366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altLang="en-US" sz="2400" smtClean="0">
              <a:solidFill>
                <a:srgbClr val="003366"/>
              </a:solidFill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altLang="en-US" sz="1600" smtClean="0">
                <a:solidFill>
                  <a:srgbClr val="003366"/>
                </a:solidFill>
              </a:rPr>
              <a:t>Global focal point, &gt;250 attendees</a:t>
            </a:r>
          </a:p>
        </p:txBody>
      </p:sp>
      <p:sp>
        <p:nvSpPr>
          <p:cNvPr id="2" name="TextBox 1"/>
          <p:cNvSpPr txBox="1">
            <a:spLocks noChangeArrowheads="1"/>
          </p:cNvSpPr>
          <p:nvPr/>
        </p:nvSpPr>
        <p:spPr bwMode="auto">
          <a:xfrm>
            <a:off x="5292725" y="5751625"/>
            <a:ext cx="3671888" cy="954087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SzPct val="75000"/>
              <a:buFont typeface="Wingdings" pitchFamily="2" charset="2"/>
              <a:defRPr sz="2800">
                <a:solidFill>
                  <a:srgbClr val="00944B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EF4034"/>
              </a:buClr>
              <a:buSzPct val="75000"/>
              <a:buChar char="•"/>
              <a:defRPr sz="24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20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EF4034"/>
              </a:buClr>
              <a:buSzPct val="95000"/>
              <a:buChar char="•"/>
              <a:defRPr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altLang="en-US" b="1" smtClean="0">
                <a:solidFill>
                  <a:srgbClr val="003366"/>
                </a:solidFill>
                <a:latin typeface="Calibri" pitchFamily="34" charset="0"/>
              </a:rPr>
              <a:t>Procurement of €3M of new research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>
</file>

<file path=ppt/slides/slide8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Title 1"/>
          <p:cNvSpPr>
            <a:spLocks noGrp="1"/>
          </p:cNvSpPr>
          <p:nvPr>
            <p:ph type="title"/>
          </p:nvPr>
        </p:nvSpPr>
        <p:spPr>
          <a:xfrm>
            <a:off x="971550" y="189025"/>
            <a:ext cx="7924800" cy="936625"/>
          </a:xfrm>
        </p:spPr>
        <p:txBody>
          <a:bodyPr/>
          <a:lstStyle/>
          <a:p>
            <a:r>
              <a:rPr lang="en-GB" altLang="en-US" smtClean="0"/>
              <a:t>Procurement of €3M of new research (WP9)</a:t>
            </a:r>
          </a:p>
        </p:txBody>
      </p:sp>
      <p:sp>
        <p:nvSpPr>
          <p:cNvPr id="12291" name="Content Placeholder 2"/>
          <p:cNvSpPr>
            <a:spLocks noGrp="1"/>
          </p:cNvSpPr>
          <p:nvPr>
            <p:ph idx="1"/>
          </p:nvPr>
        </p:nvSpPr>
        <p:spPr>
          <a:xfrm>
            <a:off x="1043044" y="1125539"/>
            <a:ext cx="7837487" cy="4948237"/>
          </a:xfrm>
        </p:spPr>
        <p:txBody>
          <a:bodyPr/>
          <a:lstStyle/>
          <a:p>
            <a:pPr>
              <a:defRPr/>
            </a:pPr>
            <a:r>
              <a:rPr lang="en-US" altLang="cs-CZ" b="1" dirty="0" smtClean="0"/>
              <a:t>Results of Procurement Call </a:t>
            </a:r>
          </a:p>
          <a:p>
            <a:pPr lvl="1">
              <a:buClr>
                <a:srgbClr val="006600"/>
              </a:buClr>
              <a:defRPr/>
            </a:pPr>
            <a:r>
              <a:rPr lang="en-US" altLang="cs-CZ" sz="2000" dirty="0" smtClean="0"/>
              <a:t>Call opened </a:t>
            </a:r>
            <a:r>
              <a:rPr lang="en-US" altLang="cs-CZ" sz="2000" b="1" dirty="0" smtClean="0"/>
              <a:t>24/06/15 </a:t>
            </a:r>
          </a:p>
          <a:p>
            <a:pPr lvl="1">
              <a:buClr>
                <a:srgbClr val="006600"/>
              </a:buClr>
              <a:defRPr/>
            </a:pPr>
            <a:r>
              <a:rPr lang="en-US" altLang="cs-CZ" sz="2000" dirty="0" smtClean="0"/>
              <a:t>Closed</a:t>
            </a:r>
            <a:r>
              <a:rPr lang="en-US" altLang="cs-CZ" sz="2000" b="1" dirty="0" smtClean="0"/>
              <a:t> 14/08/15</a:t>
            </a:r>
          </a:p>
          <a:p>
            <a:pPr lvl="1">
              <a:buClr>
                <a:srgbClr val="006600"/>
              </a:buClr>
              <a:defRPr/>
            </a:pPr>
            <a:r>
              <a:rPr lang="en-US" altLang="cs-CZ" sz="2000" b="1" dirty="0" smtClean="0"/>
              <a:t>83 </a:t>
            </a:r>
            <a:r>
              <a:rPr lang="en-US" altLang="cs-CZ" sz="2000" dirty="0" smtClean="0"/>
              <a:t>initial expressions of interest</a:t>
            </a:r>
          </a:p>
          <a:p>
            <a:pPr lvl="1">
              <a:buClr>
                <a:srgbClr val="006600"/>
              </a:buClr>
              <a:defRPr/>
            </a:pPr>
            <a:r>
              <a:rPr lang="en-US" altLang="cs-CZ" sz="2000" b="1" dirty="0" smtClean="0"/>
              <a:t>27</a:t>
            </a:r>
            <a:r>
              <a:rPr lang="en-US" altLang="cs-CZ" sz="2000" dirty="0" smtClean="0"/>
              <a:t> proposals submitted </a:t>
            </a:r>
          </a:p>
          <a:p>
            <a:pPr lvl="2">
              <a:buClr>
                <a:srgbClr val="006600"/>
              </a:buClr>
              <a:defRPr/>
            </a:pPr>
            <a:r>
              <a:rPr lang="en-US" altLang="cs-CZ" sz="1600" b="1" dirty="0" smtClean="0"/>
              <a:t>2 proposals - FI01</a:t>
            </a:r>
            <a:r>
              <a:rPr lang="en-US" altLang="cs-CZ" sz="1600" dirty="0" smtClean="0"/>
              <a:t> - </a:t>
            </a:r>
            <a:r>
              <a:rPr lang="en-GB" altLang="cs-CZ" sz="1600" dirty="0" smtClean="0"/>
              <a:t>Standardisation and harmonisation of untargeted food integrity methods – </a:t>
            </a:r>
            <a:r>
              <a:rPr lang="en-GB" altLang="cs-CZ" sz="1600" dirty="0" smtClean="0">
                <a:solidFill>
                  <a:srgbClr val="FF0000"/>
                </a:solidFill>
              </a:rPr>
              <a:t>1 selected</a:t>
            </a:r>
            <a:endParaRPr lang="en-US" altLang="cs-CZ" sz="1600" b="1" dirty="0" smtClean="0">
              <a:solidFill>
                <a:srgbClr val="FF0000"/>
              </a:solidFill>
            </a:endParaRPr>
          </a:p>
          <a:p>
            <a:pPr lvl="2">
              <a:buClr>
                <a:srgbClr val="006600"/>
              </a:buClr>
              <a:defRPr/>
            </a:pPr>
            <a:r>
              <a:rPr lang="en-US" altLang="cs-CZ" sz="1600" b="1" dirty="0" smtClean="0"/>
              <a:t>7 proposals - FI02</a:t>
            </a:r>
            <a:r>
              <a:rPr lang="en-US" altLang="cs-CZ" sz="1600" dirty="0" smtClean="0"/>
              <a:t> - </a:t>
            </a:r>
            <a:r>
              <a:rPr lang="en-GB" altLang="cs-CZ" sz="1600" dirty="0" smtClean="0"/>
              <a:t>Innovative approaches to assure the integrity of complex foods</a:t>
            </a:r>
            <a:r>
              <a:rPr lang="en-US" altLang="cs-CZ" sz="1600" dirty="0" smtClean="0"/>
              <a:t> – </a:t>
            </a:r>
            <a:r>
              <a:rPr lang="en-US" altLang="cs-CZ" sz="1600" dirty="0" smtClean="0">
                <a:solidFill>
                  <a:srgbClr val="FF0000"/>
                </a:solidFill>
              </a:rPr>
              <a:t>3 selected</a:t>
            </a:r>
            <a:endParaRPr lang="en-US" altLang="cs-CZ" sz="1600" b="1" dirty="0" smtClean="0">
              <a:solidFill>
                <a:srgbClr val="FF0000"/>
              </a:solidFill>
            </a:endParaRPr>
          </a:p>
          <a:p>
            <a:pPr lvl="2">
              <a:buClr>
                <a:srgbClr val="006600"/>
              </a:buClr>
              <a:defRPr/>
            </a:pPr>
            <a:r>
              <a:rPr lang="en-US" altLang="cs-CZ" sz="1600" b="1" dirty="0" smtClean="0"/>
              <a:t>7 proposals - FI03</a:t>
            </a:r>
            <a:r>
              <a:rPr lang="en-US" altLang="cs-CZ" sz="1600" dirty="0" smtClean="0"/>
              <a:t> - </a:t>
            </a:r>
            <a:r>
              <a:rPr lang="en-GB" altLang="cs-CZ" sz="1600" dirty="0" smtClean="0"/>
              <a:t>A feasibility study of how information can be shared along the supply chain to identify risks to the integrity of food</a:t>
            </a:r>
            <a:r>
              <a:rPr lang="en-US" altLang="cs-CZ" sz="1600" dirty="0" smtClean="0"/>
              <a:t> – </a:t>
            </a:r>
            <a:r>
              <a:rPr lang="en-US" altLang="cs-CZ" sz="1600" dirty="0" smtClean="0">
                <a:solidFill>
                  <a:srgbClr val="FF0000"/>
                </a:solidFill>
              </a:rPr>
              <a:t>2 selected</a:t>
            </a:r>
            <a:endParaRPr lang="en-US" altLang="cs-CZ" sz="1600" b="1" dirty="0" smtClean="0">
              <a:solidFill>
                <a:srgbClr val="FF0000"/>
              </a:solidFill>
            </a:endParaRPr>
          </a:p>
          <a:p>
            <a:pPr lvl="2">
              <a:buClr>
                <a:srgbClr val="006600"/>
              </a:buClr>
              <a:defRPr/>
            </a:pPr>
            <a:r>
              <a:rPr lang="en-US" altLang="cs-CZ" sz="1600" b="1" dirty="0" smtClean="0"/>
              <a:t>11 proposals - FI04</a:t>
            </a:r>
            <a:r>
              <a:rPr lang="en-US" altLang="cs-CZ" sz="1600" dirty="0" smtClean="0"/>
              <a:t> - </a:t>
            </a:r>
            <a:r>
              <a:rPr lang="en-GB" altLang="cs-CZ" sz="1600" dirty="0" smtClean="0"/>
              <a:t>Rapid, on-site, cost effective methods for feed/food fraud detection - </a:t>
            </a:r>
            <a:r>
              <a:rPr lang="en-GB" altLang="cs-CZ" sz="1600" dirty="0" smtClean="0">
                <a:solidFill>
                  <a:srgbClr val="FF0000"/>
                </a:solidFill>
              </a:rPr>
              <a:t>2 selected</a:t>
            </a:r>
          </a:p>
          <a:p>
            <a:pPr lvl="1">
              <a:buClr>
                <a:srgbClr val="006600"/>
              </a:buClr>
              <a:defRPr/>
            </a:pPr>
            <a:r>
              <a:rPr lang="en-GB" altLang="cs-CZ" sz="2000" dirty="0" smtClean="0">
                <a:solidFill>
                  <a:schemeClr val="bg1">
                    <a:lumMod val="50000"/>
                  </a:schemeClr>
                </a:solidFill>
              </a:rPr>
              <a:t>Negotiation complete, 8 contracts awaiting signoff (</a:t>
            </a:r>
            <a:r>
              <a:rPr lang="en-GB" altLang="cs-CZ" sz="2000" dirty="0" err="1" smtClean="0">
                <a:solidFill>
                  <a:schemeClr val="bg1">
                    <a:lumMod val="50000"/>
                  </a:schemeClr>
                </a:solidFill>
              </a:rPr>
              <a:t>DoW</a:t>
            </a:r>
            <a:r>
              <a:rPr lang="en-GB" altLang="cs-CZ" sz="2000" dirty="0" smtClean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 marL="457200" lvl="1" indent="0">
              <a:buClr>
                <a:srgbClr val="006600"/>
              </a:buClr>
              <a:buFontTx/>
              <a:buNone/>
              <a:defRPr/>
            </a:pPr>
            <a:endParaRPr lang="en-GB" altLang="cs-CZ" sz="20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defRPr/>
            </a:pPr>
            <a:endParaRPr lang="en-GB" altLang="en-US" sz="1600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" name="Picture 46" descr="ArtTechNet-701564.gif"/>
          <p:cNvPicPr preferRelativeResize="0">
            <a:picLocks/>
          </p:cNvPicPr>
          <p:nvPr/>
        </p:nvPicPr>
        <p:blipFill>
          <a:blip r:embed="rId3" cstate="print">
            <a:duotone>
              <a:schemeClr val="bg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0" y="1108324"/>
            <a:ext cx="9144000" cy="5417020"/>
          </a:xfrm>
          <a:prstGeom prst="rect">
            <a:avLst/>
          </a:prstGeom>
        </p:spPr>
      </p:pic>
      <p:graphicFrame>
        <p:nvGraphicFramePr>
          <p:cNvPr id="87" name="Content Placeholder 3"/>
          <p:cNvGraphicFramePr>
            <a:graphicFrameLocks noGrp="1"/>
          </p:cNvGraphicFramePr>
          <p:nvPr>
            <p:ph idx="1"/>
          </p:nvPr>
        </p:nvGraphicFramePr>
        <p:xfrm>
          <a:off x="1907710" y="1122000"/>
          <a:ext cx="5328592" cy="38191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25604" name="Title 1"/>
          <p:cNvSpPr>
            <a:spLocks noGrp="1"/>
          </p:cNvSpPr>
          <p:nvPr>
            <p:ph type="title"/>
          </p:nvPr>
        </p:nvSpPr>
        <p:spPr>
          <a:xfrm>
            <a:off x="19106" y="0"/>
            <a:ext cx="6119813" cy="1079500"/>
          </a:xfrm>
        </p:spPr>
        <p:txBody>
          <a:bodyPr lIns="108000" tIns="108000" rIns="0" bIns="0" anchor="t"/>
          <a:lstStyle/>
          <a:p>
            <a:pPr eaLnBrk="1" hangingPunct="1"/>
            <a:r>
              <a:rPr lang="en-US" altLang="en-US" sz="2800" b="1" smtClean="0"/>
              <a:t>       </a:t>
            </a:r>
            <a:r>
              <a:rPr lang="en-US" altLang="en-US" sz="2800" b="1" u="sng" smtClean="0"/>
              <a:t>FI Network</a:t>
            </a:r>
            <a:r>
              <a:rPr lang="en-US" altLang="en-US" sz="2800" i="1" u="sng" smtClean="0"/>
              <a:t>  (WP1)</a:t>
            </a:r>
          </a:p>
        </p:txBody>
      </p:sp>
      <p:sp>
        <p:nvSpPr>
          <p:cNvPr id="25605" name="Rectangle 48"/>
          <p:cNvSpPr>
            <a:spLocks noChangeArrowheads="1"/>
          </p:cNvSpPr>
          <p:nvPr/>
        </p:nvSpPr>
        <p:spPr bwMode="auto">
          <a:xfrm>
            <a:off x="6804025" y="1268419"/>
            <a:ext cx="2305050" cy="5184775"/>
          </a:xfrm>
          <a:prstGeom prst="rect">
            <a:avLst/>
          </a:prstGeom>
          <a:solidFill>
            <a:srgbClr val="CD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anchor="ctr"/>
          <a:lstStyle>
            <a:lvl1pPr marL="90488" indent="-90488">
              <a:spcBef>
                <a:spcPct val="20000"/>
              </a:spcBef>
              <a:buClr>
                <a:srgbClr val="CC0000"/>
              </a:buClr>
              <a:buSzPct val="75000"/>
              <a:buFont typeface="Wingdings" pitchFamily="2" charset="2"/>
              <a:defRPr sz="2800">
                <a:solidFill>
                  <a:srgbClr val="00944B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EF4034"/>
              </a:buClr>
              <a:buSzPct val="75000"/>
              <a:buChar char="•"/>
              <a:defRPr sz="24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20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EF4034"/>
              </a:buClr>
              <a:buSzPct val="95000"/>
              <a:buChar char="•"/>
              <a:defRPr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altLang="en-US" sz="1400" b="1" smtClean="0">
                <a:solidFill>
                  <a:srgbClr val="000000"/>
                </a:solidFill>
              </a:rPr>
              <a:t>Scientific Opinion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altLang="en-US" sz="1400" b="1" smtClean="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altLang="en-US" sz="1200" b="1" smtClean="0">
                <a:solidFill>
                  <a:srgbClr val="000000"/>
                </a:solidFill>
              </a:rPr>
              <a:t>SO1 Use IRMS of geo-origin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altLang="en-US" sz="1200" b="1" smtClean="0">
                <a:solidFill>
                  <a:srgbClr val="000000"/>
                </a:solidFill>
              </a:rPr>
              <a:t>SO2 Testing in Risk Man.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altLang="en-US" sz="1200" b="1" smtClean="0">
                <a:solidFill>
                  <a:srgbClr val="000000"/>
                </a:solidFill>
              </a:rPr>
              <a:t>SO3 Targeted &gt;non-targeted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altLang="en-US" sz="1200" b="1" smtClean="0">
                <a:solidFill>
                  <a:srgbClr val="000000"/>
                </a:solidFill>
              </a:rPr>
              <a:t>SO4 Multi-variate statistic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altLang="en-US" sz="1200" b="1" smtClean="0">
                <a:solidFill>
                  <a:srgbClr val="000000"/>
                </a:solidFill>
              </a:rPr>
              <a:t>SO5 Database use &amp;Curation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altLang="en-US" sz="1200" b="1" smtClean="0">
                <a:solidFill>
                  <a:srgbClr val="000000"/>
                </a:solidFill>
              </a:rPr>
              <a:t>SO6 Application of NMR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altLang="en-US" sz="1200" b="1" smtClean="0">
                <a:solidFill>
                  <a:srgbClr val="000000"/>
                </a:solidFill>
              </a:rPr>
              <a:t>SO7 Application of NG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altLang="en-US" sz="1200" b="1" smtClean="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altLang="en-US" sz="1400" b="1" smtClean="0">
                <a:solidFill>
                  <a:srgbClr val="000000"/>
                </a:solidFill>
              </a:rPr>
              <a:t>Workshops: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altLang="en-US" sz="1200" b="1" smtClean="0">
              <a:solidFill>
                <a:srgbClr val="000000"/>
              </a:solidFill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altLang="en-US" sz="1200" b="1" smtClean="0">
                <a:solidFill>
                  <a:srgbClr val="000000"/>
                </a:solidFill>
              </a:rPr>
              <a:t>Stakeholders -Brussels 2014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altLang="en-US" sz="1200" b="1" smtClean="0">
                <a:solidFill>
                  <a:srgbClr val="000000"/>
                </a:solidFill>
              </a:rPr>
              <a:t>Industry- Lodi 2015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altLang="en-US" sz="1200" b="1" smtClean="0">
                <a:solidFill>
                  <a:srgbClr val="000000"/>
                </a:solidFill>
              </a:rPr>
              <a:t>Food Analysts- Bilbao 2015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altLang="en-US" sz="1200" b="1" smtClean="0">
                <a:solidFill>
                  <a:srgbClr val="000000"/>
                </a:solidFill>
              </a:rPr>
              <a:t>Food Crime- Prague 2016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altLang="en-US" sz="1200" b="1" smtClean="0">
                <a:solidFill>
                  <a:srgbClr val="000000"/>
                </a:solidFill>
              </a:rPr>
              <a:t>Industry- Prague 2016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GB" altLang="en-US" sz="800" smtClean="0">
              <a:solidFill>
                <a:srgbClr val="000000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2987824" y="6093296"/>
            <a:ext cx="3096344" cy="36933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ln w="1905"/>
                <a:gradFill>
                  <a:gsLst>
                    <a:gs pos="0">
                      <a:srgbClr val="984014"/>
                    </a:gs>
                    <a:gs pos="78000">
                      <a:srgbClr val="BD4F19"/>
                    </a:gs>
                    <a:gs pos="100000">
                      <a:srgbClr val="E36C31"/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  <a:reflection blurRad="6350" stA="55000" endA="300" endPos="45500" dir="5400000" sy="-100000" algn="bl" rotWithShape="0"/>
                </a:effectLst>
              </a:rPr>
              <a:t>FI Advisory Board </a:t>
            </a:r>
          </a:p>
        </p:txBody>
      </p:sp>
      <p:sp>
        <p:nvSpPr>
          <p:cNvPr id="25607" name="Right Arrow 50"/>
          <p:cNvSpPr>
            <a:spLocks noChangeArrowheads="1"/>
          </p:cNvSpPr>
          <p:nvPr/>
        </p:nvSpPr>
        <p:spPr bwMode="auto">
          <a:xfrm>
            <a:off x="2268538" y="1700213"/>
            <a:ext cx="1619250" cy="360362"/>
          </a:xfrm>
          <a:prstGeom prst="rightArrow">
            <a:avLst>
              <a:gd name="adj1" fmla="val 65870"/>
              <a:gd name="adj2" fmla="val 70376"/>
            </a:avLst>
          </a:prstGeom>
          <a:gradFill rotWithShape="1">
            <a:gsLst>
              <a:gs pos="0">
                <a:srgbClr val="800000"/>
              </a:gs>
              <a:gs pos="78000">
                <a:srgbClr val="CDCDCD"/>
              </a:gs>
              <a:gs pos="100000">
                <a:srgbClr val="CDCDCD"/>
              </a:gs>
            </a:gsLst>
            <a:lin ang="108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CC0000"/>
              </a:buClr>
              <a:buSzPct val="75000"/>
              <a:buFont typeface="Wingdings" pitchFamily="2" charset="2"/>
              <a:defRPr sz="2800">
                <a:solidFill>
                  <a:srgbClr val="00944B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EF4034"/>
              </a:buClr>
              <a:buSzPct val="75000"/>
              <a:buChar char="•"/>
              <a:defRPr sz="24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20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EF4034"/>
              </a:buClr>
              <a:buSzPct val="95000"/>
              <a:buChar char="•"/>
              <a:defRPr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en-US" sz="2400" smtClean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25608" name="Right Arrow 51"/>
          <p:cNvSpPr>
            <a:spLocks noChangeArrowheads="1"/>
          </p:cNvSpPr>
          <p:nvPr/>
        </p:nvSpPr>
        <p:spPr bwMode="auto">
          <a:xfrm>
            <a:off x="5543606" y="1700213"/>
            <a:ext cx="1260475" cy="360362"/>
          </a:xfrm>
          <a:prstGeom prst="rightArrow">
            <a:avLst>
              <a:gd name="adj1" fmla="val 65870"/>
              <a:gd name="adj2" fmla="val 70442"/>
            </a:avLst>
          </a:prstGeom>
          <a:gradFill rotWithShape="1">
            <a:gsLst>
              <a:gs pos="0">
                <a:srgbClr val="CDCDCD"/>
              </a:gs>
              <a:gs pos="39999">
                <a:srgbClr val="CDCDCD"/>
              </a:gs>
              <a:gs pos="100000">
                <a:srgbClr val="800000"/>
              </a:gs>
            </a:gsLst>
            <a:lin ang="108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CC0000"/>
              </a:buClr>
              <a:buSzPct val="75000"/>
              <a:buFont typeface="Wingdings" pitchFamily="2" charset="2"/>
              <a:defRPr sz="2800">
                <a:solidFill>
                  <a:srgbClr val="00944B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EF4034"/>
              </a:buClr>
              <a:buSzPct val="75000"/>
              <a:buChar char="•"/>
              <a:defRPr sz="24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20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EF4034"/>
              </a:buClr>
              <a:buSzPct val="95000"/>
              <a:buChar char="•"/>
              <a:defRPr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endParaRPr lang="en-US" altLang="en-US" sz="2400" smtClean="0">
              <a:solidFill>
                <a:srgbClr val="000000"/>
              </a:solidFill>
              <a:ea typeface="ヒラギノ角ゴ Pro W3"/>
              <a:cs typeface="ヒラギノ角ゴ Pro W3"/>
            </a:endParaRPr>
          </a:p>
        </p:txBody>
      </p:sp>
      <p:sp>
        <p:nvSpPr>
          <p:cNvPr id="25609" name="Rectangle 4"/>
          <p:cNvSpPr>
            <a:spLocks noChangeArrowheads="1"/>
          </p:cNvSpPr>
          <p:nvPr/>
        </p:nvSpPr>
        <p:spPr bwMode="auto">
          <a:xfrm>
            <a:off x="34981" y="1270000"/>
            <a:ext cx="2233613" cy="5183188"/>
          </a:xfrm>
          <a:prstGeom prst="rect">
            <a:avLst/>
          </a:prstGeom>
          <a:solidFill>
            <a:srgbClr val="CDCDCD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tIns="72000" bIns="0"/>
          <a:lstStyle>
            <a:lvl1pPr>
              <a:spcBef>
                <a:spcPct val="20000"/>
              </a:spcBef>
              <a:buClr>
                <a:srgbClr val="CC0000"/>
              </a:buClr>
              <a:buSzPct val="75000"/>
              <a:buFont typeface="Wingdings" pitchFamily="2" charset="2"/>
              <a:defRPr sz="2800">
                <a:solidFill>
                  <a:srgbClr val="00944B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EF4034"/>
              </a:buClr>
              <a:buSzPct val="75000"/>
              <a:buChar char="•"/>
              <a:defRPr sz="24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20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EF4034"/>
              </a:buClr>
              <a:buSzPct val="95000"/>
              <a:buChar char="•"/>
              <a:defRPr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altLang="en-US" sz="1400" b="1" smtClean="0">
                <a:solidFill>
                  <a:srgbClr val="000000"/>
                </a:solidFill>
                <a:ea typeface="ヒラギノ角ゴ Pro W3"/>
                <a:cs typeface="ヒラギノ角ゴ Pro W3"/>
              </a:rPr>
              <a:t>Partners</a:t>
            </a:r>
          </a:p>
        </p:txBody>
      </p:sp>
      <p:pic>
        <p:nvPicPr>
          <p:cNvPr id="25610" name="Picture 10" descr="bfr_logo.gif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6" y="1700213"/>
            <a:ext cx="900113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11" name="Picture 11" descr="Picture1.pn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66" y="4616450"/>
            <a:ext cx="1357312" cy="325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12" name="Picture 13" descr="newlogo1.gif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8789" y="4581637"/>
            <a:ext cx="395287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13" name="Picture 14" descr="ff-logo-with-words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169" y="4149725"/>
            <a:ext cx="1296987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14" name="Picture 15" descr="logo.png"/>
          <p:cNvPicPr>
            <a:picLocks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4149837"/>
            <a:ext cx="719138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15" name="Picture 16" descr="FAO-logo.pn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69" y="3717933"/>
            <a:ext cx="1927225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16" name="Picture 18" descr="titel0011.jpg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53"/>
          <a:stretch>
            <a:fillRect/>
          </a:stretch>
        </p:blipFill>
        <p:spPr bwMode="auto">
          <a:xfrm>
            <a:off x="1692279" y="2708387"/>
            <a:ext cx="503238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17" name="Picture 19" descr="index.jp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92331" y="3213212"/>
            <a:ext cx="379413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18" name="Picture 20" descr="logo-140.png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013" y="2205038"/>
            <a:ext cx="1071562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19" name="Picture 21" descr="logo_ecocert_en.jpg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632" b="-11"/>
          <a:stretch>
            <a:fillRect/>
          </a:stretch>
        </p:blipFill>
        <p:spPr bwMode="auto">
          <a:xfrm>
            <a:off x="107950" y="2708387"/>
            <a:ext cx="1512888" cy="36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20" name="Picture 27" descr="qub.jpg"/>
          <p:cNvPicPr>
            <a:picLocks noChangeAspect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2205038"/>
            <a:ext cx="874713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21" name="Picture 28" descr="fera-gov-logo-2013.gif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453" y="1701804"/>
            <a:ext cx="1008063" cy="358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622" name="Picture 37" descr="wp1 partners.png"/>
          <p:cNvPicPr>
            <a:picLocks/>
          </p:cNvPicPr>
          <p:nvPr/>
        </p:nvPicPr>
        <p:blipFill>
          <a:blip r:embed="rId21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125" t="17741" r="5901" b="2258"/>
          <a:stretch>
            <a:fillRect/>
          </a:stretch>
        </p:blipFill>
        <p:spPr bwMode="auto">
          <a:xfrm>
            <a:off x="71439" y="5084875"/>
            <a:ext cx="2125662" cy="1296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9" name="Rectangle 68"/>
          <p:cNvSpPr/>
          <p:nvPr/>
        </p:nvSpPr>
        <p:spPr>
          <a:xfrm rot="3060000">
            <a:off x="4005915" y="2415315"/>
            <a:ext cx="2556000" cy="2556000"/>
          </a:xfrm>
          <a:prstGeom prst="rect">
            <a:avLst/>
          </a:prstGeom>
          <a:noFill/>
        </p:spPr>
        <p:txBody>
          <a:bodyPr spcFirstLastPara="1">
            <a:prstTxWarp prst="textArchUp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ln w="1905"/>
                <a:gradFill flip="none" rotWithShape="1">
                  <a:gsLst>
                    <a:gs pos="0">
                      <a:srgbClr val="004A48"/>
                    </a:gs>
                    <a:gs pos="78000">
                      <a:srgbClr val="005C5A"/>
                    </a:gs>
                    <a:gs pos="100000">
                      <a:srgbClr val="006462"/>
                    </a:gs>
                  </a:gsLst>
                  <a:lin ang="0" scaled="0"/>
                  <a:tileRect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Workshops/videos</a:t>
            </a:r>
            <a:endParaRPr lang="en-US" b="1" dirty="0">
              <a:ln w="1905"/>
              <a:gradFill>
                <a:gsLst>
                  <a:gs pos="0">
                    <a:srgbClr val="004A48"/>
                  </a:gs>
                  <a:gs pos="78000">
                    <a:srgbClr val="005C5A"/>
                  </a:gs>
                  <a:gs pos="100000">
                    <a:srgbClr val="006462"/>
                  </a:gs>
                </a:gsLst>
                <a:lin ang="10200000" scaled="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sp>
        <p:nvSpPr>
          <p:cNvPr id="70" name="Rectangle 69"/>
          <p:cNvSpPr/>
          <p:nvPr/>
        </p:nvSpPr>
        <p:spPr>
          <a:xfrm rot="20040000">
            <a:off x="3526935" y="812504"/>
            <a:ext cx="2376000" cy="2232000"/>
          </a:xfrm>
          <a:prstGeom prst="rect">
            <a:avLst/>
          </a:prstGeom>
          <a:noFill/>
        </p:spPr>
        <p:txBody>
          <a:bodyPr spcFirstLastPara="1">
            <a:prstTxWarp prst="textArchUp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ln w="1905"/>
                <a:gradFill>
                  <a:gsLst>
                    <a:gs pos="0">
                      <a:srgbClr val="A50021"/>
                    </a:gs>
                    <a:gs pos="78000">
                      <a:srgbClr val="C80026"/>
                    </a:gs>
                    <a:gs pos="100000">
                      <a:srgbClr val="FFD5DD"/>
                    </a:gs>
                  </a:gsLst>
                  <a:lin ang="6000000" scaled="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Scientific Opinions</a:t>
            </a:r>
            <a:endParaRPr lang="en-US" b="1" dirty="0">
              <a:ln w="1905"/>
              <a:gradFill>
                <a:gsLst>
                  <a:gs pos="0">
                    <a:srgbClr val="A50021"/>
                  </a:gs>
                  <a:gs pos="78000">
                    <a:srgbClr val="C80026"/>
                  </a:gs>
                  <a:gs pos="100000">
                    <a:srgbClr val="FFD5DD"/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sp>
        <p:nvSpPr>
          <p:cNvPr id="71" name="Rectangle 70"/>
          <p:cNvSpPr/>
          <p:nvPr/>
        </p:nvSpPr>
        <p:spPr>
          <a:xfrm rot="18290227">
            <a:off x="2649451" y="2127507"/>
            <a:ext cx="1944000" cy="2016000"/>
          </a:xfrm>
          <a:prstGeom prst="rect">
            <a:avLst/>
          </a:prstGeom>
          <a:noFill/>
        </p:spPr>
        <p:txBody>
          <a:bodyPr spcFirstLastPara="1">
            <a:prstTxWarp prst="textArchUp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b="1" dirty="0">
                <a:ln w="1905"/>
                <a:gradFill>
                  <a:gsLst>
                    <a:gs pos="0">
                      <a:srgbClr val="800080"/>
                    </a:gs>
                    <a:gs pos="78000">
                      <a:srgbClr val="B000B0"/>
                    </a:gs>
                    <a:gs pos="100000">
                      <a:srgbClr val="FFC9FF"/>
                    </a:gs>
                  </a:gsLst>
                  <a:lin ang="1200000" scaled="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FI </a:t>
            </a:r>
            <a:r>
              <a:rPr lang="en-US" b="1" dirty="0">
                <a:ln w="1905"/>
                <a:gradFill>
                  <a:gsLst>
                    <a:gs pos="0">
                      <a:srgbClr val="800080"/>
                    </a:gs>
                    <a:gs pos="78000">
                      <a:srgbClr val="B000B0"/>
                    </a:gs>
                    <a:gs pos="100000">
                      <a:srgbClr val="FFC9FF"/>
                    </a:gs>
                  </a:gsLst>
                  <a:lin ang="4200000" scaled="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Portal</a:t>
            </a:r>
          </a:p>
        </p:txBody>
      </p:sp>
      <p:cxnSp>
        <p:nvCxnSpPr>
          <p:cNvPr id="75" name="Straight Arrow Connector 74"/>
          <p:cNvCxnSpPr/>
          <p:nvPr/>
        </p:nvCxnSpPr>
        <p:spPr bwMode="auto">
          <a:xfrm flipH="1" flipV="1">
            <a:off x="2267744" y="5877272"/>
            <a:ext cx="1188000" cy="360040"/>
          </a:xfrm>
          <a:prstGeom prst="straightConnector1">
            <a:avLst/>
          </a:prstGeom>
          <a:solidFill>
            <a:schemeClr val="accent1"/>
          </a:solidFill>
          <a:ln w="63500" cap="flat" cmpd="sng" algn="ctr">
            <a:gradFill>
              <a:gsLst>
                <a:gs pos="0">
                  <a:srgbClr val="BD4F19"/>
                </a:gs>
                <a:gs pos="80000">
                  <a:srgbClr val="CDCDCD"/>
                </a:gs>
                <a:gs pos="100000">
                  <a:srgbClr val="CDCDCD"/>
                </a:gs>
              </a:gsLst>
              <a:lin ang="5400000" scaled="0"/>
            </a:gradFill>
            <a:prstDash val="solid"/>
            <a:round/>
            <a:headEnd type="none" w="med" len="med"/>
            <a:tailEnd type="stealth" w="med" len="med"/>
          </a:ln>
          <a:effectLst/>
        </p:spPr>
      </p:cxnSp>
      <p:sp>
        <p:nvSpPr>
          <p:cNvPr id="77" name="Arc 76"/>
          <p:cNvSpPr/>
          <p:nvPr/>
        </p:nvSpPr>
        <p:spPr bwMode="auto">
          <a:xfrm rot="862679">
            <a:off x="2468026" y="2822201"/>
            <a:ext cx="1944000" cy="2346397"/>
          </a:xfrm>
          <a:prstGeom prst="arc">
            <a:avLst>
              <a:gd name="adj1" fmla="val 7503020"/>
              <a:gd name="adj2" fmla="val 13369155"/>
            </a:avLst>
          </a:prstGeom>
          <a:noFill/>
          <a:ln w="50800" cap="flat" cmpd="sng" algn="ctr">
            <a:gradFill>
              <a:gsLst>
                <a:gs pos="0">
                  <a:srgbClr val="800080">
                    <a:alpha val="95000"/>
                  </a:srgbClr>
                </a:gs>
                <a:gs pos="20000">
                  <a:srgbClr val="800080">
                    <a:alpha val="95000"/>
                  </a:srgbClr>
                </a:gs>
                <a:gs pos="60000">
                  <a:schemeClr val="tx1">
                    <a:alpha val="95000"/>
                  </a:schemeClr>
                </a:gs>
                <a:gs pos="100000">
                  <a:schemeClr val="tx1"/>
                </a:gs>
              </a:gsLst>
              <a:lin ang="5400000" scaled="0"/>
            </a:gradFill>
            <a:prstDash val="solid"/>
            <a:round/>
            <a:headEnd type="stealth" w="med" len="med"/>
            <a:tailEnd type="none" w="med" len="sm"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000000"/>
              </a:solidFill>
            </a:endParaRPr>
          </a:p>
        </p:txBody>
      </p:sp>
      <p:cxnSp>
        <p:nvCxnSpPr>
          <p:cNvPr id="78" name="Straight Arrow Connector 77"/>
          <p:cNvCxnSpPr/>
          <p:nvPr/>
        </p:nvCxnSpPr>
        <p:spPr bwMode="auto">
          <a:xfrm flipV="1">
            <a:off x="5580118" y="5877272"/>
            <a:ext cx="1224136" cy="360040"/>
          </a:xfrm>
          <a:prstGeom prst="straightConnector1">
            <a:avLst/>
          </a:prstGeom>
          <a:solidFill>
            <a:schemeClr val="accent1"/>
          </a:solidFill>
          <a:ln w="63500" cap="flat" cmpd="sng" algn="ctr">
            <a:gradFill>
              <a:gsLst>
                <a:gs pos="0">
                  <a:srgbClr val="BD4F19"/>
                </a:gs>
                <a:gs pos="80000">
                  <a:srgbClr val="CDCDCD"/>
                </a:gs>
                <a:gs pos="100000">
                  <a:srgbClr val="CDCDCD"/>
                </a:gs>
              </a:gsLst>
              <a:lin ang="5400000" scaled="0"/>
            </a:gradFill>
            <a:prstDash val="solid"/>
            <a:round/>
            <a:headEnd type="none" w="med" len="med"/>
            <a:tailEnd type="stealth" w="med" len="med"/>
          </a:ln>
          <a:effectLst/>
        </p:spPr>
      </p:cxnSp>
      <p:sp>
        <p:nvSpPr>
          <p:cNvPr id="79" name="Arc 78"/>
          <p:cNvSpPr/>
          <p:nvPr/>
        </p:nvSpPr>
        <p:spPr bwMode="auto">
          <a:xfrm rot="20120983" flipH="1">
            <a:off x="3801544" y="2727808"/>
            <a:ext cx="2520000" cy="2520000"/>
          </a:xfrm>
          <a:prstGeom prst="arc">
            <a:avLst>
              <a:gd name="adj1" fmla="val 5818464"/>
              <a:gd name="adj2" fmla="val 10865473"/>
            </a:avLst>
          </a:prstGeom>
          <a:noFill/>
          <a:ln w="50800" cap="flat" cmpd="sng" algn="ctr">
            <a:gradFill>
              <a:gsLst>
                <a:gs pos="0">
                  <a:srgbClr val="004A48">
                    <a:alpha val="95000"/>
                  </a:srgbClr>
                </a:gs>
                <a:gs pos="20000">
                  <a:srgbClr val="004A48">
                    <a:alpha val="95000"/>
                  </a:srgbClr>
                </a:gs>
                <a:gs pos="60000">
                  <a:schemeClr val="tx1"/>
                </a:gs>
                <a:gs pos="100000">
                  <a:schemeClr val="tx1"/>
                </a:gs>
              </a:gsLst>
              <a:lin ang="0" scaled="0"/>
            </a:gradFill>
            <a:prstDash val="solid"/>
            <a:round/>
            <a:headEnd type="stealth" w="med" len="med"/>
            <a:tailEnd type="none" w="med" len="sm"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80" name="Rectangle 79"/>
          <p:cNvSpPr/>
          <p:nvPr/>
        </p:nvSpPr>
        <p:spPr>
          <a:xfrm>
            <a:off x="5004048" y="4938536"/>
            <a:ext cx="792000" cy="307777"/>
          </a:xfrm>
          <a:prstGeom prst="rect">
            <a:avLst/>
          </a:prstGeom>
          <a:noFill/>
        </p:spPr>
        <p:txBody>
          <a:bodyPr spcFirstLastPara="1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ln w="1905"/>
                <a:gradFill flip="none" rotWithShape="1">
                  <a:gsLst>
                    <a:gs pos="0">
                      <a:srgbClr val="000000"/>
                    </a:gs>
                    <a:gs pos="78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0000">
                        <a:lumMod val="75000"/>
                        <a:lumOff val="25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effectLst>
                  <a:glow rad="228600">
                    <a:srgbClr val="000000">
                      <a:lumMod val="75000"/>
                      <a:lumOff val="25000"/>
                      <a:alpha val="40000"/>
                    </a:srgbClr>
                  </a:glow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WP2</a:t>
            </a:r>
          </a:p>
        </p:txBody>
      </p:sp>
      <p:sp>
        <p:nvSpPr>
          <p:cNvPr id="81" name="Rectangle 80"/>
          <p:cNvSpPr/>
          <p:nvPr/>
        </p:nvSpPr>
        <p:spPr>
          <a:xfrm>
            <a:off x="4860032" y="5298616"/>
            <a:ext cx="792000" cy="307777"/>
          </a:xfrm>
          <a:prstGeom prst="rect">
            <a:avLst/>
          </a:prstGeom>
          <a:noFill/>
        </p:spPr>
        <p:txBody>
          <a:bodyPr spcFirstLastPara="1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ln w="1905"/>
                <a:gradFill flip="none" rotWithShape="1">
                  <a:gsLst>
                    <a:gs pos="0">
                      <a:srgbClr val="000000"/>
                    </a:gs>
                    <a:gs pos="78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0000">
                        <a:lumMod val="75000"/>
                        <a:lumOff val="25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effectLst>
                  <a:glow rad="228600">
                    <a:srgbClr val="000000">
                      <a:lumMod val="75000"/>
                      <a:lumOff val="25000"/>
                      <a:alpha val="40000"/>
                    </a:srgbClr>
                  </a:glow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WP3</a:t>
            </a:r>
          </a:p>
        </p:txBody>
      </p:sp>
      <p:sp>
        <p:nvSpPr>
          <p:cNvPr id="82" name="Rectangle 81"/>
          <p:cNvSpPr/>
          <p:nvPr/>
        </p:nvSpPr>
        <p:spPr>
          <a:xfrm>
            <a:off x="4716016" y="5658656"/>
            <a:ext cx="792000" cy="307777"/>
          </a:xfrm>
          <a:prstGeom prst="rect">
            <a:avLst/>
          </a:prstGeom>
          <a:noFill/>
        </p:spPr>
        <p:txBody>
          <a:bodyPr spcFirstLastPara="1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ln w="1905"/>
                <a:gradFill flip="none" rotWithShape="1">
                  <a:gsLst>
                    <a:gs pos="0">
                      <a:srgbClr val="000000"/>
                    </a:gs>
                    <a:gs pos="78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0000">
                        <a:lumMod val="75000"/>
                        <a:lumOff val="25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effectLst>
                  <a:glow rad="228600">
                    <a:srgbClr val="000000">
                      <a:lumMod val="75000"/>
                      <a:lumOff val="25000"/>
                      <a:alpha val="40000"/>
                    </a:srgbClr>
                  </a:glow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WP8</a:t>
            </a:r>
          </a:p>
        </p:txBody>
      </p:sp>
      <p:sp>
        <p:nvSpPr>
          <p:cNvPr id="83" name="Arc 82"/>
          <p:cNvSpPr/>
          <p:nvPr/>
        </p:nvSpPr>
        <p:spPr bwMode="auto">
          <a:xfrm rot="20120983" flipH="1">
            <a:off x="3336643" y="2622947"/>
            <a:ext cx="3024000" cy="3024000"/>
          </a:xfrm>
          <a:prstGeom prst="arc">
            <a:avLst>
              <a:gd name="adj1" fmla="val 5665816"/>
              <a:gd name="adj2" fmla="val 10865473"/>
            </a:avLst>
          </a:prstGeom>
          <a:noFill/>
          <a:ln w="50800" cap="flat" cmpd="sng" algn="ctr">
            <a:gradFill>
              <a:gsLst>
                <a:gs pos="0">
                  <a:srgbClr val="004A48"/>
                </a:gs>
                <a:gs pos="20000">
                  <a:srgbClr val="004A48"/>
                </a:gs>
                <a:gs pos="60000">
                  <a:schemeClr val="tx1"/>
                </a:gs>
                <a:gs pos="100000">
                  <a:schemeClr val="tx1"/>
                </a:gs>
              </a:gsLst>
              <a:lin ang="0" scaled="0"/>
            </a:gradFill>
            <a:prstDash val="solid"/>
            <a:round/>
            <a:headEnd type="stealth" w="med" len="med"/>
            <a:tailEnd type="none" w="med" len="sm"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84" name="Arc 83"/>
          <p:cNvSpPr/>
          <p:nvPr/>
        </p:nvSpPr>
        <p:spPr bwMode="auto">
          <a:xfrm rot="20120983" flipH="1">
            <a:off x="2848586" y="2479916"/>
            <a:ext cx="3564000" cy="3564000"/>
          </a:xfrm>
          <a:prstGeom prst="arc">
            <a:avLst>
              <a:gd name="adj1" fmla="val 5591234"/>
              <a:gd name="adj2" fmla="val 10865473"/>
            </a:avLst>
          </a:prstGeom>
          <a:noFill/>
          <a:ln w="50800" cap="flat" cmpd="sng" algn="ctr">
            <a:gradFill>
              <a:gsLst>
                <a:gs pos="0">
                  <a:srgbClr val="004A48"/>
                </a:gs>
                <a:gs pos="20000">
                  <a:srgbClr val="004A48"/>
                </a:gs>
                <a:gs pos="60000">
                  <a:schemeClr val="tx1">
                    <a:alpha val="95000"/>
                  </a:schemeClr>
                </a:gs>
                <a:gs pos="100000">
                  <a:schemeClr val="tx1"/>
                </a:gs>
              </a:gsLst>
              <a:lin ang="0" scaled="0"/>
            </a:gradFill>
            <a:prstDash val="solid"/>
            <a:round/>
            <a:headEnd type="stealth" w="med" len="med"/>
            <a:tailEnd type="none" w="med" len="sm"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000000"/>
              </a:solidFill>
            </a:endParaRPr>
          </a:p>
        </p:txBody>
      </p:sp>
      <p:sp>
        <p:nvSpPr>
          <p:cNvPr id="85" name="Rectangle 84"/>
          <p:cNvSpPr/>
          <p:nvPr/>
        </p:nvSpPr>
        <p:spPr>
          <a:xfrm>
            <a:off x="2195736" y="4715964"/>
            <a:ext cx="792000" cy="307777"/>
          </a:xfrm>
          <a:prstGeom prst="rect">
            <a:avLst/>
          </a:prstGeom>
          <a:noFill/>
        </p:spPr>
        <p:txBody>
          <a:bodyPr spcFirstLastPara="1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>
                <a:ln w="1905"/>
                <a:gradFill flip="none" rotWithShape="1">
                  <a:gsLst>
                    <a:gs pos="0">
                      <a:srgbClr val="000000"/>
                    </a:gs>
                    <a:gs pos="78000">
                      <a:srgbClr val="000000">
                        <a:lumMod val="85000"/>
                        <a:lumOff val="15000"/>
                      </a:srgbClr>
                    </a:gs>
                    <a:gs pos="100000">
                      <a:srgbClr val="000000">
                        <a:lumMod val="75000"/>
                        <a:lumOff val="25000"/>
                      </a:srgb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effectLst>
                  <a:glow rad="228600">
                    <a:srgbClr val="000000">
                      <a:lumMod val="75000"/>
                      <a:lumOff val="25000"/>
                      <a:alpha val="40000"/>
                    </a:srgbClr>
                  </a:glow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C4S</a:t>
            </a:r>
          </a:p>
        </p:txBody>
      </p:sp>
      <p:sp>
        <p:nvSpPr>
          <p:cNvPr id="25644" name="TextBox 85"/>
          <p:cNvSpPr txBox="1">
            <a:spLocks noChangeArrowheads="1"/>
          </p:cNvSpPr>
          <p:nvPr/>
        </p:nvSpPr>
        <p:spPr bwMode="auto">
          <a:xfrm>
            <a:off x="34927" y="919163"/>
            <a:ext cx="9072563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SzPct val="75000"/>
              <a:buFont typeface="Wingdings" pitchFamily="2" charset="2"/>
              <a:defRPr sz="2800">
                <a:solidFill>
                  <a:srgbClr val="00944B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EF4034"/>
              </a:buClr>
              <a:buSzPct val="75000"/>
              <a:buChar char="•"/>
              <a:defRPr sz="24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20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EF4034"/>
              </a:buClr>
              <a:buSzPct val="95000"/>
              <a:buChar char="•"/>
              <a:defRPr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just"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altLang="en-US" sz="1200" i="1" smtClean="0">
                <a:solidFill>
                  <a:srgbClr val="A6A6A6"/>
                </a:solidFill>
                <a:ea typeface="ヒラギノ角ゴ Pro W3"/>
                <a:cs typeface="ヒラギノ角ゴ Pro W3"/>
              </a:rPr>
              <a:t>...researchers..regulators...enforces...consumers...                                                 ...producers...distributers...processors...retailers...</a:t>
            </a:r>
          </a:p>
        </p:txBody>
      </p:sp>
      <p:grpSp>
        <p:nvGrpSpPr>
          <p:cNvPr id="25645" name="Group 57"/>
          <p:cNvGrpSpPr>
            <a:grpSpLocks/>
          </p:cNvGrpSpPr>
          <p:nvPr/>
        </p:nvGrpSpPr>
        <p:grpSpPr bwMode="auto">
          <a:xfrm>
            <a:off x="2339975" y="4138613"/>
            <a:ext cx="2808288" cy="2386012"/>
            <a:chOff x="2135334" y="4176376"/>
            <a:chExt cx="2954824" cy="2538447"/>
          </a:xfrm>
        </p:grpSpPr>
        <p:pic>
          <p:nvPicPr>
            <p:cNvPr id="44" name="Picture 43" descr="Europe_©koya979_Shutterstock.jpg"/>
            <p:cNvPicPr>
              <a:picLocks noChangeAspect="1"/>
            </p:cNvPicPr>
            <p:nvPr/>
          </p:nvPicPr>
          <p:blipFill>
            <a:blip r:embed="rId2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744984" y="4176376"/>
              <a:ext cx="1872208" cy="1584176"/>
            </a:xfrm>
            <a:prstGeom prst="rect">
              <a:avLst/>
            </a:prstGeom>
            <a:noFill/>
            <a:ln>
              <a:noFill/>
            </a:ln>
            <a:scene3d>
              <a:camera prst="orthographicFront"/>
              <a:lightRig rig="threePt" dir="t"/>
            </a:scene3d>
            <a:sp3d/>
          </p:spPr>
        </p:pic>
        <p:sp>
          <p:nvSpPr>
            <p:cNvPr id="45" name="Rectangle 44"/>
            <p:cNvSpPr/>
            <p:nvPr/>
          </p:nvSpPr>
          <p:spPr>
            <a:xfrm rot="433841">
              <a:off x="2135334" y="4463784"/>
              <a:ext cx="2954824" cy="2251039"/>
            </a:xfrm>
            <a:prstGeom prst="rect">
              <a:avLst/>
            </a:prstGeom>
            <a:noFill/>
            <a:scene3d>
              <a:camera prst="orthographicFront"/>
              <a:lightRig rig="threePt" dir="t"/>
            </a:scene3d>
            <a:sp3d/>
          </p:spPr>
          <p:txBody>
            <a:bodyPr spcFirstLastPara="1">
              <a:prstTxWarp prst="textArchUp">
                <a:avLst/>
              </a:prstTxWarp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b="1" dirty="0">
                  <a:ln w="1905"/>
                  <a:gradFill>
                    <a:gsLst>
                      <a:gs pos="0">
                        <a:srgbClr val="000000"/>
                      </a:gs>
                      <a:gs pos="39999">
                        <a:srgbClr val="0A128C"/>
                      </a:gs>
                      <a:gs pos="70000">
                        <a:srgbClr val="181CC7"/>
                      </a:gs>
                      <a:gs pos="88000">
                        <a:srgbClr val="7005D4"/>
                      </a:gs>
                      <a:gs pos="100000">
                        <a:srgbClr val="8C3D91"/>
                      </a:gs>
                    </a:gsLst>
                    <a:lin ang="5700000" scaled="0"/>
                  </a:gradFill>
                  <a:effectLst>
                    <a:glow rad="228600">
                      <a:srgbClr val="FFFFFF">
                        <a:lumMod val="75000"/>
                        <a:alpha val="40000"/>
                      </a:srgbClr>
                    </a:glow>
                    <a:innerShdw blurRad="69850" dist="43180" dir="5400000">
                      <a:srgbClr val="000000">
                        <a:alpha val="65000"/>
                      </a:srgbClr>
                    </a:innerShdw>
                  </a:effectLst>
                </a:rPr>
                <a:t>EU Food Fraud Network</a:t>
              </a:r>
            </a:p>
          </p:txBody>
        </p:sp>
      </p:grpSp>
      <p:pic>
        <p:nvPicPr>
          <p:cNvPr id="25646" name="Picture 2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8150" y="2"/>
            <a:ext cx="1192213" cy="989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Espace réservé du numéro de diapositive 1"/>
          <p:cNvSpPr>
            <a:spLocks noGrp="1"/>
          </p:cNvSpPr>
          <p:nvPr>
            <p:ph type="sldNum" sz="quarter" idx="12"/>
          </p:nvPr>
        </p:nvSpPr>
        <p:spPr bwMode="auto">
          <a:xfrm>
            <a:off x="457200" y="6356462"/>
            <a:ext cx="21336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Clr>
                <a:srgbClr val="CC0000"/>
              </a:buClr>
              <a:buSzPct val="75000"/>
              <a:buFont typeface="Wingdings" pitchFamily="2" charset="2"/>
              <a:defRPr sz="2800">
                <a:solidFill>
                  <a:srgbClr val="00944B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EF4034"/>
              </a:buClr>
              <a:buSzPct val="75000"/>
              <a:buChar char="•"/>
              <a:defRPr sz="24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20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EF4034"/>
              </a:buClr>
              <a:buSzPct val="95000"/>
              <a:buChar char="•"/>
              <a:defRPr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spcBef>
                <a:spcPct val="0"/>
              </a:spcBef>
              <a:buClrTx/>
              <a:buSzTx/>
              <a:buFontTx/>
              <a:buNone/>
            </a:pPr>
            <a:fld id="{03FE6A57-4D57-4C30-B51D-CB22EEE69548}" type="slidenum">
              <a:rPr lang="en-GB" altLang="en-US" sz="1800">
                <a:solidFill>
                  <a:srgbClr val="003366"/>
                </a:solidFill>
              </a:rPr>
              <a:pPr>
                <a:spcBef>
                  <a:spcPct val="0"/>
                </a:spcBef>
                <a:buClrTx/>
                <a:buSzTx/>
                <a:buFontTx/>
                <a:buNone/>
              </a:pPr>
              <a:t>87</a:t>
            </a:fld>
            <a:endParaRPr lang="en-GB" altLang="en-US" sz="1800">
              <a:solidFill>
                <a:srgbClr val="003366"/>
              </a:solidFill>
            </a:endParaRPr>
          </a:p>
        </p:txBody>
      </p:sp>
      <p:pic>
        <p:nvPicPr>
          <p:cNvPr id="26627" name="Picture 4" descr="C:\Users\mls\AppData\Local\Microsoft\Windows\Temporary Internet Files\Content.IE5\Y0BDVUVU\MC900437379[1]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2813" y="1139825"/>
            <a:ext cx="1674812" cy="1587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28" name="Rectangle 21"/>
          <p:cNvSpPr>
            <a:spLocks noChangeArrowheads="1"/>
          </p:cNvSpPr>
          <p:nvPr/>
        </p:nvSpPr>
        <p:spPr bwMode="auto">
          <a:xfrm>
            <a:off x="2665413" y="1125538"/>
            <a:ext cx="5794375" cy="163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342900" indent="-342900">
              <a:spcBef>
                <a:spcPct val="20000"/>
              </a:spcBef>
              <a:buClr>
                <a:srgbClr val="CC0000"/>
              </a:buClr>
              <a:buSzPct val="75000"/>
              <a:buFont typeface="Wingdings" pitchFamily="2" charset="2"/>
              <a:defRPr sz="2800">
                <a:solidFill>
                  <a:srgbClr val="00944B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EF4034"/>
              </a:buClr>
              <a:buSzPct val="75000"/>
              <a:buChar char="•"/>
              <a:defRPr sz="24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20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EF4034"/>
              </a:buClr>
              <a:buSzPct val="95000"/>
              <a:buChar char="•"/>
              <a:defRPr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</a:pPr>
            <a:r>
              <a:rPr lang="en-US" altLang="en-US" sz="2000" smtClean="0">
                <a:solidFill>
                  <a:srgbClr val="003366"/>
                </a:solidFill>
                <a:latin typeface="Calibri" pitchFamily="34" charset="0"/>
              </a:rPr>
              <a:t>Mapping of analytical methods for the detection of fraud and/or verification of integrity onto specific commodities or food authenticity issue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</a:pPr>
            <a:endParaRPr lang="en-US" altLang="en-US" sz="2000" smtClean="0">
              <a:solidFill>
                <a:srgbClr val="003366"/>
              </a:solidFill>
              <a:latin typeface="Calibri" pitchFamily="34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</a:pPr>
            <a:r>
              <a:rPr lang="en-US" altLang="en-US" sz="2000" smtClean="0">
                <a:solidFill>
                  <a:srgbClr val="003366"/>
                </a:solidFill>
                <a:latin typeface="Calibri" pitchFamily="34" charset="0"/>
              </a:rPr>
              <a:t>Open source for industry and control bodies</a:t>
            </a:r>
            <a:endParaRPr lang="fr-FR" altLang="en-US" sz="2000" smtClean="0">
              <a:solidFill>
                <a:srgbClr val="003366"/>
              </a:solidFill>
              <a:latin typeface="Calibri" pitchFamily="34" charset="0"/>
            </a:endParaRPr>
          </a:p>
        </p:txBody>
      </p:sp>
      <p:grpSp>
        <p:nvGrpSpPr>
          <p:cNvPr id="26629" name="Groupe 38"/>
          <p:cNvGrpSpPr>
            <a:grpSpLocks/>
          </p:cNvGrpSpPr>
          <p:nvPr/>
        </p:nvGrpSpPr>
        <p:grpSpPr bwMode="auto">
          <a:xfrm>
            <a:off x="2625781" y="2657475"/>
            <a:ext cx="3078163" cy="3240088"/>
            <a:chOff x="2626252" y="1844824"/>
            <a:chExt cx="3077636" cy="3240360"/>
          </a:xfrm>
        </p:grpSpPr>
        <p:sp>
          <p:nvSpPr>
            <p:cNvPr id="8" name="Rectangle à coins arrondis 7"/>
            <p:cNvSpPr/>
            <p:nvPr/>
          </p:nvSpPr>
          <p:spPr>
            <a:xfrm>
              <a:off x="2660082" y="3356992"/>
              <a:ext cx="3043806" cy="1728192"/>
            </a:xfrm>
            <a:prstGeom prst="roundRect">
              <a:avLst/>
            </a:prstGeom>
            <a:ln>
              <a:solidFill>
                <a:schemeClr val="bg2">
                  <a:lumMod val="50000"/>
                </a:schemeClr>
              </a:solidFill>
            </a:ln>
            <a:scene3d>
              <a:camera prst="isometricOffAxis1Top"/>
              <a:lightRig rig="threePt" dir="t"/>
            </a:scene3d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fr-FR">
                <a:solidFill>
                  <a:srgbClr val="003366"/>
                </a:solidFill>
              </a:endParaRPr>
            </a:p>
          </p:txBody>
        </p:sp>
        <p:grpSp>
          <p:nvGrpSpPr>
            <p:cNvPr id="26645" name="Groupe 37"/>
            <p:cNvGrpSpPr>
              <a:grpSpLocks/>
            </p:cNvGrpSpPr>
            <p:nvPr/>
          </p:nvGrpSpPr>
          <p:grpSpPr bwMode="auto">
            <a:xfrm>
              <a:off x="2626252" y="1844824"/>
              <a:ext cx="3077636" cy="2736304"/>
              <a:chOff x="2626252" y="1844824"/>
              <a:chExt cx="3077636" cy="2736304"/>
            </a:xfrm>
          </p:grpSpPr>
          <p:cxnSp>
            <p:nvCxnSpPr>
              <p:cNvPr id="10" name="Connecteur droit avec flèche 9"/>
              <p:cNvCxnSpPr/>
              <p:nvPr/>
            </p:nvCxnSpPr>
            <p:spPr>
              <a:xfrm flipH="1">
                <a:off x="2985574" y="3942275"/>
                <a:ext cx="4574" cy="493704"/>
              </a:xfrm>
              <a:prstGeom prst="straightConnector1">
                <a:avLst/>
              </a:prstGeom>
              <a:ln w="57150">
                <a:solidFill>
                  <a:schemeClr val="bg2">
                    <a:lumMod val="50000"/>
                  </a:schemeClr>
                </a:solidFill>
                <a:headEnd type="none" w="med" len="med"/>
                <a:tailEnd type="triangle" w="med" len="med"/>
              </a:ln>
              <a:scene3d>
                <a:camera prst="isometricRightUp"/>
                <a:lightRig rig="threePt" dir="t"/>
              </a:scene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Connecteur droit avec flèche 10"/>
              <p:cNvCxnSpPr/>
              <p:nvPr/>
            </p:nvCxnSpPr>
            <p:spPr>
              <a:xfrm flipH="1">
                <a:off x="5202220" y="3715899"/>
                <a:ext cx="4574" cy="493704"/>
              </a:xfrm>
              <a:prstGeom prst="straightConnector1">
                <a:avLst/>
              </a:prstGeom>
              <a:ln w="57150">
                <a:solidFill>
                  <a:schemeClr val="bg2">
                    <a:lumMod val="50000"/>
                  </a:schemeClr>
                </a:solidFill>
                <a:headEnd type="none" w="med" len="med"/>
                <a:tailEnd type="triangle" w="med" len="med"/>
              </a:ln>
              <a:scene3d>
                <a:camera prst="isometricRightUp"/>
                <a:lightRig rig="threePt" dir="t"/>
              </a:scene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" name="Rectangle à coins arrondis 11"/>
              <p:cNvSpPr/>
              <p:nvPr/>
            </p:nvSpPr>
            <p:spPr>
              <a:xfrm>
                <a:off x="2634682" y="2852936"/>
                <a:ext cx="3043806" cy="1728192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chemeClr val="bg2">
                    <a:lumMod val="50000"/>
                  </a:schemeClr>
                </a:solidFill>
              </a:ln>
              <a:scene3d>
                <a:camera prst="isometricOffAxis1Top"/>
                <a:lightRig rig="threePt" dir="t"/>
              </a:scene3d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fr-FR">
                  <a:solidFill>
                    <a:srgbClr val="003366"/>
                  </a:solidFill>
                </a:endParaRPr>
              </a:p>
            </p:txBody>
          </p:sp>
          <p:sp>
            <p:nvSpPr>
              <p:cNvPr id="13" name="Rectangle à coins arrondis 12"/>
              <p:cNvSpPr/>
              <p:nvPr/>
            </p:nvSpPr>
            <p:spPr>
              <a:xfrm>
                <a:off x="2664729" y="2365677"/>
                <a:ext cx="3039159" cy="1728192"/>
              </a:xfrm>
              <a:prstGeom prst="roundRect">
                <a:avLst/>
              </a:prstGeom>
              <a:ln>
                <a:solidFill>
                  <a:schemeClr val="bg2">
                    <a:lumMod val="50000"/>
                  </a:schemeClr>
                </a:solidFill>
              </a:ln>
              <a:scene3d>
                <a:camera prst="isometricOffAxis1Top"/>
                <a:lightRig rig="threePt" dir="t"/>
              </a:scene3d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fr-FR">
                  <a:solidFill>
                    <a:srgbClr val="003366"/>
                  </a:solidFill>
                </a:endParaRPr>
              </a:p>
            </p:txBody>
          </p:sp>
          <p:sp>
            <p:nvSpPr>
              <p:cNvPr id="14" name="Rectangle à coins arrondis 13"/>
              <p:cNvSpPr/>
              <p:nvPr/>
            </p:nvSpPr>
            <p:spPr>
              <a:xfrm>
                <a:off x="2626252" y="1844824"/>
                <a:ext cx="3052235" cy="1728192"/>
              </a:xfrm>
              <a:prstGeom prst="roundRect">
                <a:avLst/>
              </a:prstGeom>
              <a:solidFill>
                <a:schemeClr val="bg1"/>
              </a:solidFill>
              <a:ln>
                <a:solidFill>
                  <a:schemeClr val="bg2">
                    <a:lumMod val="50000"/>
                  </a:schemeClr>
                </a:solidFill>
              </a:ln>
              <a:scene3d>
                <a:camera prst="isometricOffAxis1Top"/>
                <a:lightRig rig="threePt" dir="t"/>
              </a:scene3d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  <p:txBody>
              <a:bodyPr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fr-FR">
                  <a:solidFill>
                    <a:srgbClr val="003366"/>
                  </a:solidFill>
                </a:endParaRPr>
              </a:p>
            </p:txBody>
          </p:sp>
          <p:cxnSp>
            <p:nvCxnSpPr>
              <p:cNvPr id="15" name="Connecteur droit avec flèche 14"/>
              <p:cNvCxnSpPr/>
              <p:nvPr/>
            </p:nvCxnSpPr>
            <p:spPr>
              <a:xfrm flipH="1">
                <a:off x="5222396" y="3284984"/>
                <a:ext cx="4574" cy="432048"/>
              </a:xfrm>
              <a:prstGeom prst="straightConnector1">
                <a:avLst/>
              </a:prstGeom>
              <a:ln w="57150">
                <a:solidFill>
                  <a:schemeClr val="bg2">
                    <a:lumMod val="50000"/>
                  </a:schemeClr>
                </a:solidFill>
                <a:headEnd type="none" w="med" len="med"/>
                <a:tailEnd type="triangle" w="med" len="med"/>
              </a:ln>
              <a:scene3d>
                <a:camera prst="isometricRightUp"/>
                <a:lightRig rig="threePt" dir="t"/>
              </a:scene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6" name="Connecteur droit avec flèche 15"/>
              <p:cNvCxnSpPr/>
              <p:nvPr/>
            </p:nvCxnSpPr>
            <p:spPr>
              <a:xfrm>
                <a:off x="2844273" y="2996952"/>
                <a:ext cx="0" cy="432048"/>
              </a:xfrm>
              <a:prstGeom prst="straightConnector1">
                <a:avLst/>
              </a:prstGeom>
              <a:ln w="57150">
                <a:solidFill>
                  <a:schemeClr val="bg2">
                    <a:lumMod val="50000"/>
                  </a:schemeClr>
                </a:solidFill>
                <a:headEnd type="none" w="med" len="med"/>
                <a:tailEnd type="triangle" w="med" len="med"/>
              </a:ln>
              <a:scene3d>
                <a:camera prst="isometricRightUp"/>
                <a:lightRig rig="threePt" dir="t"/>
              </a:scene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Connecteur droit avec flèche 16"/>
              <p:cNvCxnSpPr/>
              <p:nvPr/>
            </p:nvCxnSpPr>
            <p:spPr>
              <a:xfrm flipH="1">
                <a:off x="3005750" y="3501008"/>
                <a:ext cx="2287" cy="415582"/>
              </a:xfrm>
              <a:prstGeom prst="straightConnector1">
                <a:avLst/>
              </a:prstGeom>
              <a:ln w="57150">
                <a:solidFill>
                  <a:schemeClr val="bg2">
                    <a:lumMod val="50000"/>
                  </a:schemeClr>
                </a:solidFill>
                <a:headEnd type="none" w="med" len="med"/>
                <a:tailEnd type="triangle" w="med" len="med"/>
              </a:ln>
              <a:scene3d>
                <a:camera prst="isometricRightUp"/>
                <a:lightRig rig="threePt" dir="t"/>
              </a:scene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" name="Connecteur droit avec flèche 17"/>
              <p:cNvCxnSpPr/>
              <p:nvPr/>
            </p:nvCxnSpPr>
            <p:spPr>
              <a:xfrm>
                <a:off x="5068932" y="2780928"/>
                <a:ext cx="0" cy="432048"/>
              </a:xfrm>
              <a:prstGeom prst="straightConnector1">
                <a:avLst/>
              </a:prstGeom>
              <a:ln w="57150">
                <a:solidFill>
                  <a:schemeClr val="bg2">
                    <a:lumMod val="50000"/>
                  </a:schemeClr>
                </a:solidFill>
                <a:headEnd type="none" w="med" len="med"/>
                <a:tailEnd type="triangle" w="med" len="med"/>
              </a:ln>
              <a:scene3d>
                <a:camera prst="isometricRightUp"/>
                <a:lightRig rig="threePt" dir="t"/>
              </a:scene3d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6655" name="ZoneTexte 18"/>
              <p:cNvSpPr txBox="1">
                <a:spLocks noChangeArrowheads="1"/>
              </p:cNvSpPr>
              <p:nvPr/>
            </p:nvSpPr>
            <p:spPr bwMode="auto">
              <a:xfrm rot="21087112">
                <a:off x="3147531" y="2913830"/>
                <a:ext cx="2123317" cy="5848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CC0000"/>
                  </a:buClr>
                  <a:buSzPct val="75000"/>
                  <a:buFont typeface="Wingdings" pitchFamily="2" charset="2"/>
                  <a:defRPr sz="2800">
                    <a:solidFill>
                      <a:srgbClr val="00944B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rgbClr val="EF4034"/>
                  </a:buClr>
                  <a:buSzPct val="75000"/>
                  <a:buChar char="•"/>
                  <a:defRPr sz="24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EF4034"/>
                  </a:buClr>
                  <a:buSzPct val="85000"/>
                  <a:buChar char="•"/>
                  <a:defRPr sz="20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rgbClr val="EF4034"/>
                  </a:buClr>
                  <a:buSzPct val="95000"/>
                  <a:buChar char="•"/>
                  <a:defRPr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fr-FR" altLang="en-US" sz="1600" b="1" smtClean="0">
                    <a:solidFill>
                      <a:srgbClr val="003366"/>
                    </a:solidFill>
                    <a:latin typeface="Calibri" pitchFamily="34" charset="0"/>
                  </a:rPr>
                  <a:t>Fraud/Authenticity Issue</a:t>
                </a:r>
                <a:endParaRPr lang="fr-FR" altLang="en-US" sz="1600" smtClean="0">
                  <a:solidFill>
                    <a:srgbClr val="003366"/>
                  </a:solidFill>
                  <a:latin typeface="Calibri" pitchFamily="34" charset="0"/>
                </a:endParaRPr>
              </a:p>
            </p:txBody>
          </p:sp>
          <p:sp>
            <p:nvSpPr>
              <p:cNvPr id="26656" name="ZoneTexte 19"/>
              <p:cNvSpPr txBox="1">
                <a:spLocks noChangeArrowheads="1"/>
              </p:cNvSpPr>
              <p:nvPr/>
            </p:nvSpPr>
            <p:spPr bwMode="auto">
              <a:xfrm rot="-512888">
                <a:off x="2980875" y="3586758"/>
                <a:ext cx="2425391" cy="3385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CC0000"/>
                  </a:buClr>
                  <a:buSzPct val="75000"/>
                  <a:buFont typeface="Wingdings" pitchFamily="2" charset="2"/>
                  <a:defRPr sz="2800">
                    <a:solidFill>
                      <a:srgbClr val="00944B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rgbClr val="EF4034"/>
                  </a:buClr>
                  <a:buSzPct val="75000"/>
                  <a:buChar char="•"/>
                  <a:defRPr sz="24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EF4034"/>
                  </a:buClr>
                  <a:buSzPct val="85000"/>
                  <a:buChar char="•"/>
                  <a:defRPr sz="20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rgbClr val="EF4034"/>
                  </a:buClr>
                  <a:buSzPct val="95000"/>
                  <a:buChar char="•"/>
                  <a:defRPr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fr-FR" altLang="en-US" sz="1600" b="1" smtClean="0">
                    <a:solidFill>
                      <a:srgbClr val="003366"/>
                    </a:solidFill>
                    <a:latin typeface="Calibri" pitchFamily="34" charset="0"/>
                  </a:rPr>
                  <a:t>Analytical Method</a:t>
                </a:r>
                <a:endParaRPr lang="fr-FR" altLang="en-US" sz="1600" smtClean="0">
                  <a:solidFill>
                    <a:srgbClr val="003366"/>
                  </a:solidFill>
                  <a:latin typeface="Calibri" pitchFamily="34" charset="0"/>
                </a:endParaRPr>
              </a:p>
            </p:txBody>
          </p:sp>
          <p:sp>
            <p:nvSpPr>
              <p:cNvPr id="26657" name="ZoneTexte 20"/>
              <p:cNvSpPr txBox="1">
                <a:spLocks noChangeArrowheads="1"/>
              </p:cNvSpPr>
              <p:nvPr/>
            </p:nvSpPr>
            <p:spPr bwMode="auto">
              <a:xfrm rot="-512888">
                <a:off x="3049839" y="2404304"/>
                <a:ext cx="1937557" cy="5847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CC0000"/>
                  </a:buClr>
                  <a:buSzPct val="75000"/>
                  <a:buFont typeface="Wingdings" pitchFamily="2" charset="2"/>
                  <a:defRPr sz="2800">
                    <a:solidFill>
                      <a:srgbClr val="00944B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rgbClr val="EF4034"/>
                  </a:buClr>
                  <a:buSzPct val="75000"/>
                  <a:buChar char="•"/>
                  <a:defRPr sz="24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EF4034"/>
                  </a:buClr>
                  <a:buSzPct val="85000"/>
                  <a:buChar char="•"/>
                  <a:defRPr sz="20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rgbClr val="EF4034"/>
                  </a:buClr>
                  <a:buSzPct val="95000"/>
                  <a:buChar char="•"/>
                  <a:defRPr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fr-FR" altLang="en-US" sz="1600" b="1" smtClean="0">
                    <a:solidFill>
                      <a:srgbClr val="003366"/>
                    </a:solidFill>
                    <a:latin typeface="Calibri" pitchFamily="34" charset="0"/>
                  </a:rPr>
                  <a:t>Food Commodity or Ingredient</a:t>
                </a:r>
                <a:endParaRPr lang="fr-FR" altLang="en-US" sz="1600" smtClean="0">
                  <a:solidFill>
                    <a:srgbClr val="003366"/>
                  </a:solidFill>
                  <a:latin typeface="Calibri" pitchFamily="34" charset="0"/>
                </a:endParaRPr>
              </a:p>
            </p:txBody>
          </p:sp>
          <p:sp>
            <p:nvSpPr>
              <p:cNvPr id="26658" name="ZoneTexte 23"/>
              <p:cNvSpPr txBox="1">
                <a:spLocks noChangeArrowheads="1"/>
              </p:cNvSpPr>
              <p:nvPr/>
            </p:nvSpPr>
            <p:spPr bwMode="auto">
              <a:xfrm rot="-512888">
                <a:off x="2927023" y="4043648"/>
                <a:ext cx="2361004" cy="3385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CC0000"/>
                  </a:buClr>
                  <a:buSzPct val="75000"/>
                  <a:buFont typeface="Wingdings" pitchFamily="2" charset="2"/>
                  <a:defRPr sz="2800">
                    <a:solidFill>
                      <a:srgbClr val="00944B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rgbClr val="EF4034"/>
                  </a:buClr>
                  <a:buSzPct val="75000"/>
                  <a:buChar char="•"/>
                  <a:defRPr sz="24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EF4034"/>
                  </a:buClr>
                  <a:buSzPct val="85000"/>
                  <a:buChar char="•"/>
                  <a:defRPr sz="20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rgbClr val="EF4034"/>
                  </a:buClr>
                  <a:buSzPct val="95000"/>
                  <a:buChar char="•"/>
                  <a:defRPr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fr-FR" altLang="en-US" sz="1600" b="1" smtClean="0">
                    <a:solidFill>
                      <a:srgbClr val="003366"/>
                    </a:solidFill>
                    <a:latin typeface="Calibri" pitchFamily="34" charset="0"/>
                  </a:rPr>
                  <a:t>Analytical Reference data  </a:t>
                </a:r>
                <a:endParaRPr lang="fr-FR" altLang="en-US" sz="1600" smtClean="0">
                  <a:solidFill>
                    <a:srgbClr val="003366"/>
                  </a:solidFill>
                  <a:latin typeface="Calibri" pitchFamily="34" charset="0"/>
                </a:endParaRPr>
              </a:p>
            </p:txBody>
          </p:sp>
        </p:grpSp>
      </p:grpSp>
      <p:sp>
        <p:nvSpPr>
          <p:cNvPr id="26630" name="ZoneTexte 24"/>
          <p:cNvSpPr txBox="1">
            <a:spLocks noChangeArrowheads="1"/>
          </p:cNvSpPr>
          <p:nvPr/>
        </p:nvSpPr>
        <p:spPr bwMode="auto">
          <a:xfrm>
            <a:off x="912869" y="3292475"/>
            <a:ext cx="1787525" cy="1938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SzPct val="75000"/>
              <a:buFont typeface="Wingdings" pitchFamily="2" charset="2"/>
              <a:defRPr sz="2800">
                <a:solidFill>
                  <a:srgbClr val="00944B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EF4034"/>
              </a:buClr>
              <a:buSzPct val="75000"/>
              <a:buChar char="•"/>
              <a:defRPr sz="24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20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EF4034"/>
              </a:buClr>
              <a:buSzPct val="95000"/>
              <a:buChar char="•"/>
              <a:defRPr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en-US" sz="2000" smtClean="0">
                <a:solidFill>
                  <a:srgbClr val="003366"/>
                </a:solidFill>
                <a:latin typeface="Calibri" pitchFamily="34" charset="0"/>
              </a:rPr>
              <a:t>Is it organic? PDO, PGI?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en-US" sz="2000" smtClean="0">
                <a:solidFill>
                  <a:srgbClr val="003366"/>
                </a:solidFill>
                <a:latin typeface="Calibri" pitchFamily="34" charset="0"/>
              </a:rPr>
              <a:t>Adulterated? Diluted?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en-US" sz="2000" smtClean="0">
                <a:solidFill>
                  <a:srgbClr val="003366"/>
                </a:solidFill>
                <a:latin typeface="Calibri" pitchFamily="34" charset="0"/>
              </a:rPr>
              <a:t>Enhanced? Counterfeit? </a:t>
            </a:r>
          </a:p>
        </p:txBody>
      </p:sp>
      <p:sp>
        <p:nvSpPr>
          <p:cNvPr id="26" name="ZoneTexte 25"/>
          <p:cNvSpPr txBox="1"/>
          <p:nvPr/>
        </p:nvSpPr>
        <p:spPr>
          <a:xfrm>
            <a:off x="6599932" y="4442909"/>
            <a:ext cx="2374776" cy="646331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b="1" dirty="0" err="1">
                <a:solidFill>
                  <a:srgbClr val="FFFFFF"/>
                </a:solidFill>
                <a:latin typeface="Calibri" pitchFamily="34" charset="0"/>
              </a:rPr>
              <a:t>Inventory</a:t>
            </a:r>
            <a:r>
              <a:rPr lang="fr-FR" b="1" dirty="0">
                <a:solidFill>
                  <a:srgbClr val="FFFFFF"/>
                </a:solidFill>
                <a:latin typeface="Calibri" pitchFamily="34" charset="0"/>
              </a:rPr>
              <a:t> of </a:t>
            </a:r>
            <a:r>
              <a:rPr lang="fr-FR" b="1" dirty="0" err="1">
                <a:solidFill>
                  <a:srgbClr val="FFFFFF"/>
                </a:solidFill>
                <a:latin typeface="Calibri" pitchFamily="34" charset="0"/>
              </a:rPr>
              <a:t>existing</a:t>
            </a:r>
            <a:r>
              <a:rPr lang="fr-FR" b="1" dirty="0">
                <a:solidFill>
                  <a:srgbClr val="FFFFFF"/>
                </a:solidFill>
                <a:latin typeface="Calibri" pitchFamily="34" charset="0"/>
              </a:rPr>
              <a:t> </a:t>
            </a:r>
            <a:r>
              <a:rPr lang="fr-FR" b="1" dirty="0" err="1">
                <a:solidFill>
                  <a:srgbClr val="FFFFFF"/>
                </a:solidFill>
                <a:latin typeface="Calibri" pitchFamily="34" charset="0"/>
              </a:rPr>
              <a:t>analytical</a:t>
            </a:r>
            <a:r>
              <a:rPr lang="fr-FR" b="1" dirty="0">
                <a:solidFill>
                  <a:srgbClr val="FFFFFF"/>
                </a:solidFill>
                <a:latin typeface="Calibri" pitchFamily="34" charset="0"/>
              </a:rPr>
              <a:t> </a:t>
            </a:r>
            <a:r>
              <a:rPr lang="fr-FR" b="1" dirty="0" err="1">
                <a:solidFill>
                  <a:srgbClr val="FFFFFF"/>
                </a:solidFill>
                <a:latin typeface="Calibri" pitchFamily="34" charset="0"/>
              </a:rPr>
              <a:t>tools</a:t>
            </a:r>
            <a:endParaRPr lang="fr-FR" b="1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27" name="ZoneTexte 26"/>
          <p:cNvSpPr txBox="1"/>
          <p:nvPr/>
        </p:nvSpPr>
        <p:spPr>
          <a:xfrm>
            <a:off x="6599932" y="3541832"/>
            <a:ext cx="2374776" cy="646331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fr-FR" b="1" dirty="0" err="1">
                <a:solidFill>
                  <a:srgbClr val="FFFFFF"/>
                </a:solidFill>
                <a:latin typeface="Calibri" pitchFamily="34" charset="0"/>
              </a:rPr>
              <a:t>Inventory</a:t>
            </a:r>
            <a:r>
              <a:rPr lang="fr-FR" b="1" dirty="0">
                <a:solidFill>
                  <a:srgbClr val="FFFFFF"/>
                </a:solidFill>
                <a:latin typeface="Calibri" pitchFamily="34" charset="0"/>
              </a:rPr>
              <a:t> of </a:t>
            </a:r>
            <a:r>
              <a:rPr lang="fr-FR" b="1" dirty="0" err="1">
                <a:solidFill>
                  <a:srgbClr val="FFFFFF"/>
                </a:solidFill>
                <a:latin typeface="Calibri" pitchFamily="34" charset="0"/>
              </a:rPr>
              <a:t>authentic</a:t>
            </a:r>
            <a:r>
              <a:rPr lang="fr-FR" b="1" dirty="0">
                <a:solidFill>
                  <a:srgbClr val="FFFFFF"/>
                </a:solidFill>
                <a:latin typeface="Calibri" pitchFamily="34" charset="0"/>
              </a:rPr>
              <a:t> </a:t>
            </a:r>
            <a:r>
              <a:rPr lang="fr-FR" b="1" dirty="0" err="1">
                <a:solidFill>
                  <a:srgbClr val="FFFFFF"/>
                </a:solidFill>
                <a:latin typeface="Calibri" pitchFamily="34" charset="0"/>
              </a:rPr>
              <a:t>reference</a:t>
            </a:r>
            <a:r>
              <a:rPr lang="fr-FR" b="1" dirty="0">
                <a:solidFill>
                  <a:srgbClr val="FFFFFF"/>
                </a:solidFill>
                <a:latin typeface="Calibri" pitchFamily="34" charset="0"/>
              </a:rPr>
              <a:t> data sets</a:t>
            </a:r>
          </a:p>
        </p:txBody>
      </p:sp>
      <p:sp>
        <p:nvSpPr>
          <p:cNvPr id="30" name="Flèche droite 29"/>
          <p:cNvSpPr/>
          <p:nvPr/>
        </p:nvSpPr>
        <p:spPr>
          <a:xfrm>
            <a:off x="6129784" y="3835808"/>
            <a:ext cx="432048" cy="161150"/>
          </a:xfrm>
          <a:prstGeom prst="rightArrow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  <a:scene3d>
            <a:camera prst="orthographicFront"/>
            <a:lightRig rig="threePt" dir="t"/>
          </a:scene3d>
          <a:sp3d prstMaterial="plastic">
            <a:bevelT/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31" name="Flèche droite 30"/>
          <p:cNvSpPr/>
          <p:nvPr/>
        </p:nvSpPr>
        <p:spPr>
          <a:xfrm>
            <a:off x="6119366" y="4689040"/>
            <a:ext cx="432048" cy="161150"/>
          </a:xfrm>
          <a:prstGeom prst="rightArrow">
            <a:avLst/>
          </a:prstGeom>
          <a:solidFill>
            <a:srgbClr val="00B050"/>
          </a:solidFill>
          <a:ln>
            <a:solidFill>
              <a:srgbClr val="00B050"/>
            </a:solidFill>
          </a:ln>
          <a:scene3d>
            <a:camera prst="orthographicFront"/>
            <a:lightRig rig="threePt" dir="t"/>
          </a:scene3d>
          <a:sp3d prstMaterial="plastic">
            <a:bevelT/>
            <a:bevelB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26643" name="Rectangle 3"/>
          <p:cNvSpPr>
            <a:spLocks noChangeArrowheads="1"/>
          </p:cNvSpPr>
          <p:nvPr/>
        </p:nvSpPr>
        <p:spPr bwMode="auto">
          <a:xfrm>
            <a:off x="768350" y="216012"/>
            <a:ext cx="7691438" cy="747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ctr"/>
          <a:lstStyle>
            <a:lvl1pPr>
              <a:spcBef>
                <a:spcPct val="20000"/>
              </a:spcBef>
              <a:buClr>
                <a:srgbClr val="CC0000"/>
              </a:buClr>
              <a:buSzPct val="75000"/>
              <a:buFont typeface="Wingdings" pitchFamily="2" charset="2"/>
              <a:defRPr sz="2800">
                <a:solidFill>
                  <a:srgbClr val="00944B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EF4034"/>
              </a:buClr>
              <a:buSzPct val="75000"/>
              <a:buChar char="•"/>
              <a:defRPr sz="24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20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EF4034"/>
              </a:buClr>
              <a:buSzPct val="95000"/>
              <a:buChar char="•"/>
              <a:defRPr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fr-FR" altLang="de-DE" sz="3200" b="1" smtClean="0">
                <a:solidFill>
                  <a:srgbClr val="006838"/>
                </a:solidFill>
                <a:latin typeface="Calibri" pitchFamily="34" charset="0"/>
              </a:rPr>
              <a:t>The</a:t>
            </a:r>
            <a:r>
              <a:rPr lang="fr-FR" altLang="de-DE" sz="3200" b="1" smtClean="0">
                <a:solidFill>
                  <a:srgbClr val="CC6600"/>
                </a:solidFill>
                <a:latin typeface="Calibri" pitchFamily="34" charset="0"/>
              </a:rPr>
              <a:t> </a:t>
            </a:r>
            <a:r>
              <a:rPr lang="fr-FR" altLang="de-DE" sz="3200" b="1" smtClean="0">
                <a:solidFill>
                  <a:srgbClr val="006838"/>
                </a:solidFill>
                <a:latin typeface="Calibri" pitchFamily="34" charset="0"/>
              </a:rPr>
              <a:t>FoodIntegrity</a:t>
            </a:r>
            <a:r>
              <a:rPr lang="fr-FR" altLang="de-DE" sz="3200" b="1" smtClean="0">
                <a:solidFill>
                  <a:srgbClr val="CC6600"/>
                </a:solidFill>
                <a:latin typeface="Calibri" pitchFamily="34" charset="0"/>
              </a:rPr>
              <a:t> </a:t>
            </a:r>
            <a:r>
              <a:rPr lang="fr-FR" altLang="de-DE" sz="3200" b="1" smtClean="0">
                <a:solidFill>
                  <a:srgbClr val="006838"/>
                </a:solidFill>
                <a:latin typeface="Calibri" pitchFamily="34" charset="0"/>
              </a:rPr>
              <a:t>Knowledge</a:t>
            </a:r>
            <a:r>
              <a:rPr lang="fr-FR" altLang="de-DE" sz="3200" b="1" smtClean="0">
                <a:solidFill>
                  <a:srgbClr val="CC6600"/>
                </a:solidFill>
                <a:latin typeface="Calibri" pitchFamily="34" charset="0"/>
              </a:rPr>
              <a:t> </a:t>
            </a:r>
            <a:r>
              <a:rPr lang="fr-FR" altLang="de-DE" sz="3200" b="1" smtClean="0">
                <a:solidFill>
                  <a:srgbClr val="006838"/>
                </a:solidFill>
                <a:latin typeface="Calibri" pitchFamily="34" charset="0"/>
              </a:rPr>
              <a:t>Base (WP2)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8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650" name="Group 1"/>
          <p:cNvGrpSpPr>
            <a:grpSpLocks/>
          </p:cNvGrpSpPr>
          <p:nvPr/>
        </p:nvGrpSpPr>
        <p:grpSpPr bwMode="auto">
          <a:xfrm>
            <a:off x="828675" y="188913"/>
            <a:ext cx="8064500" cy="6210300"/>
            <a:chOff x="395288" y="188913"/>
            <a:chExt cx="8064500" cy="6210300"/>
          </a:xfrm>
        </p:grpSpPr>
        <p:sp>
          <p:nvSpPr>
            <p:cNvPr id="27651" name="TextBox 3"/>
            <p:cNvSpPr txBox="1">
              <a:spLocks noChangeArrowheads="1"/>
            </p:cNvSpPr>
            <p:nvPr/>
          </p:nvSpPr>
          <p:spPr bwMode="auto">
            <a:xfrm>
              <a:off x="3597402" y="279400"/>
              <a:ext cx="1930145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CC0000"/>
                </a:buClr>
                <a:buSzPct val="75000"/>
                <a:buFont typeface="Wingdings" pitchFamily="2" charset="2"/>
                <a:defRPr sz="2800">
                  <a:solidFill>
                    <a:srgbClr val="00944B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EF4034"/>
                </a:buClr>
                <a:buSzPct val="75000"/>
                <a:buChar char="•"/>
                <a:defRPr sz="24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20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EF4034"/>
                </a:buClr>
                <a:buSzPct val="95000"/>
                <a:buChar char="•"/>
                <a:defRPr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400" smtClean="0">
                  <a:solidFill>
                    <a:srgbClr val="000000"/>
                  </a:solidFill>
                  <a:latin typeface="Calibri" pitchFamily="34" charset="0"/>
                </a:rPr>
                <a:t>WP 2 – Knowledge Base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400" smtClean="0">
                  <a:solidFill>
                    <a:srgbClr val="000000"/>
                  </a:solidFill>
                  <a:latin typeface="Calibri" pitchFamily="34" charset="0"/>
                </a:rPr>
                <a:t>Data entry screen</a:t>
              </a:r>
            </a:p>
          </p:txBody>
        </p:sp>
        <p:sp>
          <p:nvSpPr>
            <p:cNvPr id="27652" name="TextBox 4"/>
            <p:cNvSpPr txBox="1">
              <a:spLocks noChangeArrowheads="1"/>
            </p:cNvSpPr>
            <p:nvPr/>
          </p:nvSpPr>
          <p:spPr bwMode="auto">
            <a:xfrm>
              <a:off x="733817" y="1289050"/>
              <a:ext cx="1568058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CC0000"/>
                </a:buClr>
                <a:buSzPct val="75000"/>
                <a:buFont typeface="Wingdings" pitchFamily="2" charset="2"/>
                <a:defRPr sz="2800">
                  <a:solidFill>
                    <a:srgbClr val="00944B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EF4034"/>
                </a:buClr>
                <a:buSzPct val="75000"/>
                <a:buChar char="•"/>
                <a:defRPr sz="24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20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EF4034"/>
                </a:buClr>
                <a:buSzPct val="95000"/>
                <a:buChar char="•"/>
                <a:defRPr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r"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200" smtClean="0">
                  <a:solidFill>
                    <a:srgbClr val="000000"/>
                  </a:solidFill>
                  <a:latin typeface="Calibri" pitchFamily="34" charset="0"/>
                </a:rPr>
                <a:t>Food Category</a:t>
              </a:r>
            </a:p>
            <a:p>
              <a:pPr algn="r"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000" smtClean="0">
                  <a:solidFill>
                    <a:srgbClr val="000000"/>
                  </a:solidFill>
                  <a:latin typeface="Calibri" pitchFamily="34" charset="0"/>
                </a:rPr>
                <a:t>Select from drop-down list</a:t>
              </a:r>
              <a:endParaRPr lang="en-GB" altLang="en-US" sz="900" smtClean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27653" name="TextBox 5"/>
            <p:cNvSpPr txBox="1">
              <a:spLocks noChangeArrowheads="1"/>
            </p:cNvSpPr>
            <p:nvPr/>
          </p:nvSpPr>
          <p:spPr bwMode="auto">
            <a:xfrm>
              <a:off x="4475296" y="1289050"/>
              <a:ext cx="1752467" cy="6771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CC0000"/>
                </a:buClr>
                <a:buSzPct val="75000"/>
                <a:buFont typeface="Wingdings" pitchFamily="2" charset="2"/>
                <a:defRPr sz="2800">
                  <a:solidFill>
                    <a:srgbClr val="00944B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EF4034"/>
                </a:buClr>
                <a:buSzPct val="75000"/>
                <a:buChar char="•"/>
                <a:defRPr sz="24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20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EF4034"/>
                </a:buClr>
                <a:buSzPct val="95000"/>
                <a:buChar char="•"/>
                <a:defRPr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r"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200" smtClean="0">
                  <a:solidFill>
                    <a:srgbClr val="000000"/>
                  </a:solidFill>
                  <a:latin typeface="Calibri" pitchFamily="34" charset="0"/>
                </a:rPr>
                <a:t>Commodity Detail</a:t>
              </a:r>
            </a:p>
            <a:p>
              <a:pPr algn="r"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000" smtClean="0">
                  <a:solidFill>
                    <a:srgbClr val="000000"/>
                  </a:solidFill>
                  <a:latin typeface="Calibri" pitchFamily="34" charset="0"/>
                </a:rPr>
                <a:t>Enter as free text – e.g. butter</a:t>
              </a:r>
            </a:p>
            <a:p>
              <a:pPr algn="r"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GB" altLang="en-US" sz="400" smtClean="0">
                <a:solidFill>
                  <a:srgbClr val="000000"/>
                </a:solidFill>
                <a:latin typeface="Calibri" pitchFamily="34" charset="0"/>
              </a:endParaRPr>
            </a:p>
            <a:p>
              <a:pPr algn="r"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200" smtClean="0">
                  <a:solidFill>
                    <a:srgbClr val="000000"/>
                  </a:solidFill>
                  <a:latin typeface="Calibri" pitchFamily="34" charset="0"/>
                </a:rPr>
                <a:t>CN</a:t>
              </a:r>
              <a:r>
                <a:rPr lang="en-GB" altLang="en-US" sz="1000" smtClean="0">
                  <a:solidFill>
                    <a:srgbClr val="000000"/>
                  </a:solidFill>
                  <a:latin typeface="Calibri" pitchFamily="34" charset="0"/>
                </a:rPr>
                <a:t> code</a:t>
              </a:r>
              <a:endParaRPr lang="en-GB" altLang="en-US" sz="900" smtClean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2301876" y="1358900"/>
              <a:ext cx="1909762" cy="2159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6227763" y="1358900"/>
              <a:ext cx="1911350" cy="2159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27656" name="TextBox 7">
              <a:hlinkClick r:id="rId2" action="ppaction://hlinksldjump"/>
            </p:cNvPr>
            <p:cNvSpPr txBox="1">
              <a:spLocks noChangeArrowheads="1"/>
            </p:cNvSpPr>
            <p:nvPr/>
          </p:nvSpPr>
          <p:spPr bwMode="auto">
            <a:xfrm>
              <a:off x="2274888" y="1343025"/>
              <a:ext cx="198483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CC0000"/>
                </a:buClr>
                <a:buSzPct val="75000"/>
                <a:buFont typeface="Wingdings" pitchFamily="2" charset="2"/>
                <a:defRPr sz="2800">
                  <a:solidFill>
                    <a:srgbClr val="00944B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EF4034"/>
                </a:buClr>
                <a:buSzPct val="75000"/>
                <a:buChar char="•"/>
                <a:defRPr sz="24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20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EF4034"/>
                </a:buClr>
                <a:buSzPct val="95000"/>
                <a:buChar char="•"/>
                <a:defRPr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000" smtClean="0">
                  <a:solidFill>
                    <a:srgbClr val="000000"/>
                  </a:solidFill>
                  <a:latin typeface="Calibri" pitchFamily="34" charset="0"/>
                </a:rPr>
                <a:t>(Select commodity)                       </a:t>
              </a:r>
              <a:r>
                <a:rPr lang="en-GB" altLang="en-US" sz="1000" smtClean="0">
                  <a:solidFill>
                    <a:srgbClr val="000000"/>
                  </a:solidFill>
                  <a:latin typeface="Calibri" pitchFamily="34" charset="0"/>
                  <a:sym typeface="Wingdings 3" pitchFamily="18" charset="2"/>
                </a:rPr>
                <a:t></a:t>
              </a:r>
              <a:endParaRPr lang="en-GB" altLang="en-US" sz="1000" smtClean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13" name="Rounded Rectangular Callout 12"/>
            <p:cNvSpPr/>
            <p:nvPr/>
          </p:nvSpPr>
          <p:spPr>
            <a:xfrm>
              <a:off x="1060451" y="188913"/>
              <a:ext cx="914400" cy="612775"/>
            </a:xfrm>
            <a:prstGeom prst="wedgeRoundRectCallout">
              <a:avLst>
                <a:gd name="adj1" fmla="val 273284"/>
                <a:gd name="adj2" fmla="val 156150"/>
                <a:gd name="adj3" fmla="val 16667"/>
              </a:avLst>
            </a:prstGeom>
            <a:solidFill>
              <a:srgbClr val="FFFF00">
                <a:alpha val="51000"/>
              </a:srgbClr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GB" sz="1000" dirty="0">
                  <a:solidFill>
                    <a:prstClr val="black"/>
                  </a:solidFill>
                </a:rPr>
                <a:t>Click on the down arrow to select from list </a:t>
              </a:r>
            </a:p>
          </p:txBody>
        </p:sp>
        <p:grpSp>
          <p:nvGrpSpPr>
            <p:cNvPr id="27658" name="Group 33"/>
            <p:cNvGrpSpPr>
              <a:grpSpLocks/>
            </p:cNvGrpSpPr>
            <p:nvPr/>
          </p:nvGrpSpPr>
          <p:grpSpPr bwMode="auto">
            <a:xfrm>
              <a:off x="1139237" y="2501899"/>
              <a:ext cx="6984000" cy="584775"/>
              <a:chOff x="1123872" y="2278033"/>
              <a:chExt cx="6983415" cy="583764"/>
            </a:xfrm>
          </p:grpSpPr>
          <p:sp>
            <p:nvSpPr>
              <p:cNvPr id="27700" name="TextBox 34"/>
              <p:cNvSpPr txBox="1">
                <a:spLocks noChangeArrowheads="1"/>
              </p:cNvSpPr>
              <p:nvPr/>
            </p:nvSpPr>
            <p:spPr bwMode="auto">
              <a:xfrm>
                <a:off x="1123872" y="2278033"/>
                <a:ext cx="1176826" cy="5837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CC0000"/>
                  </a:buClr>
                  <a:buSzPct val="75000"/>
                  <a:buFont typeface="Wingdings" pitchFamily="2" charset="2"/>
                  <a:defRPr sz="2800">
                    <a:solidFill>
                      <a:srgbClr val="00944B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rgbClr val="EF4034"/>
                  </a:buClr>
                  <a:buSzPct val="75000"/>
                  <a:buChar char="•"/>
                  <a:defRPr sz="24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EF4034"/>
                  </a:buClr>
                  <a:buSzPct val="85000"/>
                  <a:buChar char="•"/>
                  <a:defRPr sz="20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rgbClr val="EF4034"/>
                  </a:buClr>
                  <a:buSzPct val="95000"/>
                  <a:buChar char="•"/>
                  <a:defRPr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algn="r"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Description</a:t>
                </a:r>
              </a:p>
              <a:p>
                <a:pPr algn="r"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000" smtClean="0">
                    <a:solidFill>
                      <a:srgbClr val="000000"/>
                    </a:solidFill>
                    <a:latin typeface="Calibri" pitchFamily="34" charset="0"/>
                  </a:rPr>
                  <a:t>Add as free text to </a:t>
                </a:r>
              </a:p>
              <a:p>
                <a:pPr algn="r"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000" smtClean="0">
                    <a:solidFill>
                      <a:srgbClr val="000000"/>
                    </a:solidFill>
                    <a:latin typeface="Calibri" pitchFamily="34" charset="0"/>
                  </a:rPr>
                  <a:t>describe the issue</a:t>
                </a:r>
                <a:endParaRPr lang="en-GB" altLang="en-US" sz="900" smtClean="0">
                  <a:solidFill>
                    <a:srgbClr val="000000"/>
                  </a:solidFill>
                  <a:latin typeface="Calibri" pitchFamily="34" charset="0"/>
                </a:endParaRPr>
              </a:p>
            </p:txBody>
          </p:sp>
          <p:sp>
            <p:nvSpPr>
              <p:cNvPr id="36" name="Rounded Rectangle 35"/>
              <p:cNvSpPr/>
              <p:nvPr/>
            </p:nvSpPr>
            <p:spPr>
              <a:xfrm>
                <a:off x="2300698" y="2349347"/>
                <a:ext cx="5806589" cy="505536"/>
              </a:xfrm>
              <a:prstGeom prst="round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27659" name="Group 11"/>
            <p:cNvGrpSpPr>
              <a:grpSpLocks/>
            </p:cNvGrpSpPr>
            <p:nvPr/>
          </p:nvGrpSpPr>
          <p:grpSpPr bwMode="auto">
            <a:xfrm>
              <a:off x="896938" y="3160713"/>
              <a:ext cx="2882900" cy="2467342"/>
              <a:chOff x="-474764" y="4078233"/>
              <a:chExt cx="2883605" cy="2467709"/>
            </a:xfrm>
          </p:grpSpPr>
          <p:sp>
            <p:nvSpPr>
              <p:cNvPr id="27694" name="TextBox 36"/>
              <p:cNvSpPr txBox="1">
                <a:spLocks noChangeArrowheads="1"/>
              </p:cNvSpPr>
              <p:nvPr/>
            </p:nvSpPr>
            <p:spPr bwMode="auto">
              <a:xfrm>
                <a:off x="-474764" y="4078233"/>
                <a:ext cx="1854166" cy="24677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CC0000"/>
                  </a:buClr>
                  <a:buSzPct val="75000"/>
                  <a:buFont typeface="Wingdings" pitchFamily="2" charset="2"/>
                  <a:defRPr sz="2800">
                    <a:solidFill>
                      <a:srgbClr val="00944B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rgbClr val="EF4034"/>
                  </a:buClr>
                  <a:buSzPct val="75000"/>
                  <a:buChar char="•"/>
                  <a:defRPr sz="24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EF4034"/>
                  </a:buClr>
                  <a:buSzPct val="85000"/>
                  <a:buChar char="•"/>
                  <a:defRPr sz="20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rgbClr val="EF4034"/>
                  </a:buClr>
                  <a:buSzPct val="95000"/>
                  <a:buChar char="•"/>
                  <a:defRPr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Type of fraud</a:t>
                </a:r>
              </a:p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000" smtClean="0">
                    <a:solidFill>
                      <a:srgbClr val="000000"/>
                    </a:solidFill>
                    <a:latin typeface="Calibri" pitchFamily="34" charset="0"/>
                  </a:rPr>
                  <a:t>Select one</a:t>
                </a:r>
              </a:p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endParaRPr lang="en-GB" altLang="en-US" sz="1000" smtClean="0">
                  <a:solidFill>
                    <a:srgbClr val="000000"/>
                  </a:solidFill>
                  <a:latin typeface="Calibri" pitchFamily="34" charset="0"/>
                </a:endParaRPr>
              </a:p>
              <a:p>
                <a:pPr fontAlgn="base">
                  <a:lnSpc>
                    <a:spcPts val="165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Dilution</a:t>
                </a:r>
              </a:p>
              <a:p>
                <a:pPr fontAlgn="base">
                  <a:lnSpc>
                    <a:spcPts val="165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Substitution</a:t>
                </a:r>
              </a:p>
              <a:p>
                <a:pPr fontAlgn="base">
                  <a:lnSpc>
                    <a:spcPts val="165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Concealment</a:t>
                </a:r>
              </a:p>
              <a:p>
                <a:pPr fontAlgn="base">
                  <a:lnSpc>
                    <a:spcPts val="165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Mislabelling </a:t>
                </a:r>
              </a:p>
              <a:p>
                <a:pPr fontAlgn="base">
                  <a:lnSpc>
                    <a:spcPts val="165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Unapproved enhancement</a:t>
                </a:r>
              </a:p>
              <a:p>
                <a:pPr fontAlgn="base">
                  <a:lnSpc>
                    <a:spcPts val="165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Grey market</a:t>
                </a:r>
              </a:p>
              <a:p>
                <a:pPr fontAlgn="base">
                  <a:lnSpc>
                    <a:spcPts val="165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Counterfeiting</a:t>
                </a:r>
              </a:p>
              <a:p>
                <a:pPr fontAlgn="base">
                  <a:lnSpc>
                    <a:spcPts val="165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Other</a:t>
                </a:r>
              </a:p>
              <a:p>
                <a:pPr fontAlgn="base">
                  <a:spcBef>
                    <a:spcPct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</a:pPr>
                <a:endParaRPr lang="en-GB" altLang="en-US" sz="900" smtClean="0">
                  <a:solidFill>
                    <a:srgbClr val="000000"/>
                  </a:solidFill>
                  <a:latin typeface="Calibri" pitchFamily="34" charset="0"/>
                </a:endParaRPr>
              </a:p>
            </p:txBody>
          </p:sp>
          <p:pic>
            <p:nvPicPr>
              <p:cNvPr id="27695" name="Picture 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863" b="-2"/>
              <a:stretch>
                <a:fillRect/>
              </a:stretch>
            </p:blipFill>
            <p:spPr bwMode="auto">
              <a:xfrm>
                <a:off x="2267744" y="4654277"/>
                <a:ext cx="141097" cy="142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696" name="Picture 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863" b="-2"/>
              <a:stretch>
                <a:fillRect/>
              </a:stretch>
            </p:blipFill>
            <p:spPr bwMode="auto">
              <a:xfrm>
                <a:off x="2267744" y="4870301"/>
                <a:ext cx="141097" cy="142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697" name="Picture 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863" b="-2"/>
              <a:stretch>
                <a:fillRect/>
              </a:stretch>
            </p:blipFill>
            <p:spPr bwMode="auto">
              <a:xfrm>
                <a:off x="2267744" y="5086325"/>
                <a:ext cx="141097" cy="142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698" name="Picture 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863" b="-2"/>
              <a:stretch>
                <a:fillRect/>
              </a:stretch>
            </p:blipFill>
            <p:spPr bwMode="auto">
              <a:xfrm>
                <a:off x="2267744" y="5302349"/>
                <a:ext cx="141097" cy="142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699" name="Picture 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863" b="-2"/>
              <a:stretch>
                <a:fillRect/>
              </a:stretch>
            </p:blipFill>
            <p:spPr bwMode="auto">
              <a:xfrm>
                <a:off x="2267744" y="5518373"/>
                <a:ext cx="141097" cy="142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27660" name="Group 21"/>
            <p:cNvGrpSpPr>
              <a:grpSpLocks/>
            </p:cNvGrpSpPr>
            <p:nvPr/>
          </p:nvGrpSpPr>
          <p:grpSpPr bwMode="auto">
            <a:xfrm>
              <a:off x="4575175" y="3159125"/>
              <a:ext cx="2589213" cy="2031325"/>
              <a:chOff x="2990521" y="4077072"/>
              <a:chExt cx="2589591" cy="2030650"/>
            </a:xfrm>
          </p:grpSpPr>
          <p:sp>
            <p:nvSpPr>
              <p:cNvPr id="27691" name="TextBox 43"/>
              <p:cNvSpPr txBox="1">
                <a:spLocks noChangeArrowheads="1"/>
              </p:cNvSpPr>
              <p:nvPr/>
            </p:nvSpPr>
            <p:spPr bwMode="auto">
              <a:xfrm>
                <a:off x="2990521" y="4077072"/>
                <a:ext cx="2358041" cy="2030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CC0000"/>
                  </a:buClr>
                  <a:buSzPct val="75000"/>
                  <a:buFont typeface="Wingdings" pitchFamily="2" charset="2"/>
                  <a:defRPr sz="2800">
                    <a:solidFill>
                      <a:srgbClr val="00944B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rgbClr val="EF4034"/>
                  </a:buClr>
                  <a:buSzPct val="75000"/>
                  <a:buChar char="•"/>
                  <a:defRPr sz="24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EF4034"/>
                  </a:buClr>
                  <a:buSzPct val="85000"/>
                  <a:buChar char="•"/>
                  <a:defRPr sz="20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rgbClr val="EF4034"/>
                  </a:buClr>
                  <a:buSzPct val="95000"/>
                  <a:buChar char="•"/>
                  <a:defRPr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Issue</a:t>
                </a:r>
              </a:p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000" smtClean="0">
                    <a:solidFill>
                      <a:srgbClr val="000000"/>
                    </a:solidFill>
                    <a:latin typeface="Calibri" pitchFamily="34" charset="0"/>
                  </a:rPr>
                  <a:t>Select one or more</a:t>
                </a:r>
              </a:p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endParaRPr lang="en-GB" altLang="en-US" sz="1000" smtClean="0">
                  <a:solidFill>
                    <a:srgbClr val="000000"/>
                  </a:solidFill>
                  <a:latin typeface="Calibri" pitchFamily="34" charset="0"/>
                </a:endParaRPr>
              </a:p>
              <a:p>
                <a:pPr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Product composition</a:t>
                </a:r>
              </a:p>
              <a:p>
                <a:pPr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Geographical origin</a:t>
                </a:r>
              </a:p>
              <a:p>
                <a:pPr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Botanical/Cultivar/Varietal/Species</a:t>
                </a:r>
              </a:p>
              <a:p>
                <a:pPr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Production system/process</a:t>
                </a:r>
              </a:p>
              <a:p>
                <a:pPr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Product quality</a:t>
                </a:r>
              </a:p>
              <a:p>
                <a:pPr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Other issue</a:t>
                </a:r>
              </a:p>
              <a:p>
                <a:pPr fontAlgn="base">
                  <a:spcBef>
                    <a:spcPct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</a:pPr>
                <a:endParaRPr lang="en-GB" altLang="en-US" sz="900" smtClean="0">
                  <a:solidFill>
                    <a:srgbClr val="000000"/>
                  </a:solidFill>
                  <a:latin typeface="Calibri" pitchFamily="34" charset="0"/>
                </a:endParaRPr>
              </a:p>
            </p:txBody>
          </p:sp>
          <p:pic>
            <p:nvPicPr>
              <p:cNvPr id="27692" name="Picture 3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50705" y="4616708"/>
                <a:ext cx="228705" cy="6670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7693" name="Picture 3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51407" y="5267027"/>
                <a:ext cx="228705" cy="6670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27661" name="Group 47"/>
            <p:cNvGrpSpPr>
              <a:grpSpLocks/>
            </p:cNvGrpSpPr>
            <p:nvPr/>
          </p:nvGrpSpPr>
          <p:grpSpPr bwMode="auto">
            <a:xfrm>
              <a:off x="3924300" y="6122988"/>
              <a:ext cx="1223963" cy="276225"/>
              <a:chOff x="3275856" y="4699747"/>
              <a:chExt cx="1224136" cy="276999"/>
            </a:xfrm>
          </p:grpSpPr>
          <p:sp>
            <p:nvSpPr>
              <p:cNvPr id="62" name="Rounded Rectangle 61">
                <a:hlinkClick r:id="" action="ppaction://hlinkshowjump?jump=nextslide"/>
              </p:cNvPr>
              <p:cNvSpPr/>
              <p:nvPr/>
            </p:nvSpPr>
            <p:spPr>
              <a:xfrm>
                <a:off x="3275857" y="4725218"/>
                <a:ext cx="1224135" cy="216505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 w="12700"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>
                  <a:solidFill>
                    <a:prstClr val="white"/>
                  </a:solidFill>
                </a:endParaRPr>
              </a:p>
            </p:txBody>
          </p:sp>
          <p:sp>
            <p:nvSpPr>
              <p:cNvPr id="63" name="TextBox 62">
                <a:hlinkClick r:id="rId5" action="ppaction://hlinksldjump"/>
              </p:cNvPr>
              <p:cNvSpPr txBox="1"/>
              <p:nvPr/>
            </p:nvSpPr>
            <p:spPr>
              <a:xfrm>
                <a:off x="3347864" y="4699747"/>
                <a:ext cx="1096011" cy="276999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6350" h="31750"/>
                <a:bevelB w="0"/>
              </a:sp3d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GB" sz="1200" dirty="0">
                    <a:solidFill>
                      <a:prstClr val="black"/>
                    </a:solidFill>
                    <a:latin typeface="Calibri"/>
                  </a:rPr>
                  <a:t>Next screen</a:t>
                </a:r>
              </a:p>
            </p:txBody>
          </p:sp>
        </p:grpSp>
        <p:sp>
          <p:nvSpPr>
            <p:cNvPr id="33" name="Rectangle 32"/>
            <p:cNvSpPr/>
            <p:nvPr/>
          </p:nvSpPr>
          <p:spPr>
            <a:xfrm>
              <a:off x="395288" y="927100"/>
              <a:ext cx="8064500" cy="1079500"/>
            </a:xfrm>
            <a:prstGeom prst="rect">
              <a:avLst/>
            </a:prstGeom>
            <a:noFill/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395288" y="2151063"/>
              <a:ext cx="8064500" cy="3887787"/>
            </a:xfrm>
            <a:prstGeom prst="rect">
              <a:avLst/>
            </a:prstGeom>
            <a:noFill/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27664" name="TextBox 47"/>
            <p:cNvSpPr txBox="1">
              <a:spLocks noChangeArrowheads="1"/>
            </p:cNvSpPr>
            <p:nvPr/>
          </p:nvSpPr>
          <p:spPr bwMode="auto">
            <a:xfrm>
              <a:off x="395288" y="927100"/>
              <a:ext cx="2103717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CC0000"/>
                </a:buClr>
                <a:buSzPct val="75000"/>
                <a:buFont typeface="Wingdings" pitchFamily="2" charset="2"/>
                <a:defRPr sz="2800">
                  <a:solidFill>
                    <a:srgbClr val="00944B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EF4034"/>
                </a:buClr>
                <a:buSzPct val="75000"/>
                <a:buChar char="•"/>
                <a:defRPr sz="24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20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EF4034"/>
                </a:buClr>
                <a:buSzPct val="95000"/>
                <a:buChar char="•"/>
                <a:defRPr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600" b="1" smtClean="0">
                  <a:solidFill>
                    <a:srgbClr val="77933C"/>
                  </a:solidFill>
                  <a:latin typeface="Calibri" pitchFamily="34" charset="0"/>
                </a:rPr>
                <a:t>     FOOD COMMODITY</a:t>
              </a:r>
            </a:p>
          </p:txBody>
        </p:sp>
        <p:sp>
          <p:nvSpPr>
            <p:cNvPr id="27665" name="TextBox 68"/>
            <p:cNvSpPr txBox="1">
              <a:spLocks noChangeArrowheads="1"/>
            </p:cNvSpPr>
            <p:nvPr/>
          </p:nvSpPr>
          <p:spPr bwMode="auto">
            <a:xfrm>
              <a:off x="395288" y="2173288"/>
              <a:ext cx="2392322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CC0000"/>
                </a:buClr>
                <a:buSzPct val="75000"/>
                <a:buFont typeface="Wingdings" pitchFamily="2" charset="2"/>
                <a:defRPr sz="2800">
                  <a:solidFill>
                    <a:srgbClr val="00944B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EF4034"/>
                </a:buClr>
                <a:buSzPct val="75000"/>
                <a:buChar char="•"/>
                <a:defRPr sz="24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20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EF4034"/>
                </a:buClr>
                <a:buSzPct val="95000"/>
                <a:buChar char="•"/>
                <a:defRPr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600" b="1" smtClean="0">
                  <a:solidFill>
                    <a:srgbClr val="77933C"/>
                  </a:solidFill>
                  <a:latin typeface="Calibri" pitchFamily="34" charset="0"/>
                </a:rPr>
                <a:t>     FOOD INTEGRITY ISSUE</a:t>
              </a:r>
            </a:p>
          </p:txBody>
        </p:sp>
        <p:sp>
          <p:nvSpPr>
            <p:cNvPr id="56" name="Rounded Rectangle 55"/>
            <p:cNvSpPr/>
            <p:nvPr/>
          </p:nvSpPr>
          <p:spPr>
            <a:xfrm>
              <a:off x="6227763" y="1700213"/>
              <a:ext cx="1911350" cy="2159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>
                <a:solidFill>
                  <a:prstClr val="white"/>
                </a:solidFill>
              </a:endParaRPr>
            </a:p>
          </p:txBody>
        </p:sp>
        <p:pic>
          <p:nvPicPr>
            <p:cNvPr id="27667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863" b="-2"/>
            <a:stretch>
              <a:fillRect/>
            </a:stretch>
          </p:blipFill>
          <p:spPr bwMode="auto">
            <a:xfrm>
              <a:off x="3635375" y="4799013"/>
              <a:ext cx="141288" cy="142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668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863" b="-2"/>
            <a:stretch>
              <a:fillRect/>
            </a:stretch>
          </p:blipFill>
          <p:spPr bwMode="auto">
            <a:xfrm>
              <a:off x="3635375" y="5014913"/>
              <a:ext cx="141288" cy="142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669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863" b="-2"/>
            <a:stretch>
              <a:fillRect/>
            </a:stretch>
          </p:blipFill>
          <p:spPr bwMode="auto">
            <a:xfrm>
              <a:off x="3635375" y="5229225"/>
              <a:ext cx="141288" cy="142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5" name="Rounded Rectangle 64"/>
            <p:cNvSpPr/>
            <p:nvPr/>
          </p:nvSpPr>
          <p:spPr>
            <a:xfrm>
              <a:off x="3995738" y="5064125"/>
              <a:ext cx="4090988" cy="2159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>
                <a:solidFill>
                  <a:prstClr val="white"/>
                </a:solidFill>
              </a:endParaRPr>
            </a:p>
          </p:txBody>
        </p:sp>
        <p:grpSp>
          <p:nvGrpSpPr>
            <p:cNvPr id="27671" name="Group 92"/>
            <p:cNvGrpSpPr>
              <a:grpSpLocks/>
            </p:cNvGrpSpPr>
            <p:nvPr/>
          </p:nvGrpSpPr>
          <p:grpSpPr bwMode="auto">
            <a:xfrm>
              <a:off x="611188" y="5373691"/>
              <a:ext cx="7632700" cy="869469"/>
              <a:chOff x="611561" y="5373216"/>
              <a:chExt cx="7632847" cy="870577"/>
            </a:xfrm>
          </p:grpSpPr>
          <p:grpSp>
            <p:nvGrpSpPr>
              <p:cNvPr id="27672" name="Group 93"/>
              <p:cNvGrpSpPr>
                <a:grpSpLocks/>
              </p:cNvGrpSpPr>
              <p:nvPr/>
            </p:nvGrpSpPr>
            <p:grpSpPr bwMode="auto">
              <a:xfrm>
                <a:off x="3047151" y="5436653"/>
                <a:ext cx="5197257" cy="584635"/>
                <a:chOff x="3047151" y="5436653"/>
                <a:chExt cx="5197257" cy="584635"/>
              </a:xfrm>
            </p:grpSpPr>
            <p:grpSp>
              <p:nvGrpSpPr>
                <p:cNvPr id="27674" name="Group 95"/>
                <p:cNvGrpSpPr>
                  <a:grpSpLocks/>
                </p:cNvGrpSpPr>
                <p:nvPr/>
              </p:nvGrpSpPr>
              <p:grpSpPr bwMode="auto">
                <a:xfrm>
                  <a:off x="3179550" y="5436653"/>
                  <a:ext cx="3144941" cy="147943"/>
                  <a:chOff x="4090509" y="3250663"/>
                  <a:chExt cx="2636390" cy="147943"/>
                </a:xfrm>
              </p:grpSpPr>
              <p:pic>
                <p:nvPicPr>
                  <p:cNvPr id="27683" name="Picture 2"/>
                  <p:cNvPicPr>
                    <a:picLocks noChangeAspect="1" noChangeArrowheads="1"/>
                  </p:cNvPicPr>
                  <p:nvPr/>
                </p:nvPicPr>
                <p:blipFill>
                  <a:blip r:embed="rId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12863" b="-2"/>
                  <a:stretch>
                    <a:fillRect/>
                  </a:stretch>
                </p:blipFill>
                <p:spPr bwMode="auto">
                  <a:xfrm>
                    <a:off x="4090509" y="3255731"/>
                    <a:ext cx="141097" cy="1428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7684" name="Picture 2"/>
                  <p:cNvPicPr>
                    <a:picLocks noChangeAspect="1" noChangeArrowheads="1"/>
                  </p:cNvPicPr>
                  <p:nvPr/>
                </p:nvPicPr>
                <p:blipFill>
                  <a:blip r:embed="rId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12863" b="-2"/>
                  <a:stretch>
                    <a:fillRect/>
                  </a:stretch>
                </p:blipFill>
                <p:spPr bwMode="auto">
                  <a:xfrm>
                    <a:off x="4654154" y="3253197"/>
                    <a:ext cx="141097" cy="1428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7685" name="Picture 2"/>
                  <p:cNvPicPr>
                    <a:picLocks noChangeAspect="1" noChangeArrowheads="1"/>
                  </p:cNvPicPr>
                  <p:nvPr/>
                </p:nvPicPr>
                <p:blipFill>
                  <a:blip r:embed="rId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12863" b="-2"/>
                  <a:stretch>
                    <a:fillRect/>
                  </a:stretch>
                </p:blipFill>
                <p:spPr bwMode="auto">
                  <a:xfrm>
                    <a:off x="5137066" y="3250663"/>
                    <a:ext cx="141097" cy="1428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7686" name="Picture 2"/>
                  <p:cNvPicPr>
                    <a:picLocks noChangeAspect="1" noChangeArrowheads="1"/>
                  </p:cNvPicPr>
                  <p:nvPr/>
                </p:nvPicPr>
                <p:blipFill>
                  <a:blip r:embed="rId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12863" b="-2"/>
                  <a:stretch>
                    <a:fillRect/>
                  </a:stretch>
                </p:blipFill>
                <p:spPr bwMode="auto">
                  <a:xfrm>
                    <a:off x="6585802" y="3255731"/>
                    <a:ext cx="141097" cy="1428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</p:grpSp>
            <p:pic>
              <p:nvPicPr>
                <p:cNvPr id="27675" name="Picture 3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68332"/>
                <a:stretch>
                  <a:fillRect/>
                </a:stretch>
              </p:blipFill>
              <p:spPr bwMode="auto">
                <a:xfrm>
                  <a:off x="3623215" y="5589240"/>
                  <a:ext cx="228705" cy="21124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7676" name="Picture 3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68332"/>
                <a:stretch>
                  <a:fillRect/>
                </a:stretch>
              </p:blipFill>
              <p:spPr bwMode="auto">
                <a:xfrm>
                  <a:off x="5004048" y="5589240"/>
                  <a:ext cx="228705" cy="21124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7677" name="Picture 3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68332"/>
                <a:stretch>
                  <a:fillRect/>
                </a:stretch>
              </p:blipFill>
              <p:spPr bwMode="auto">
                <a:xfrm>
                  <a:off x="6444208" y="5589240"/>
                  <a:ext cx="228705" cy="21124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7678" name="Picture 3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68332"/>
                <a:stretch>
                  <a:fillRect/>
                </a:stretch>
              </p:blipFill>
              <p:spPr bwMode="auto">
                <a:xfrm>
                  <a:off x="7092280" y="5589240"/>
                  <a:ext cx="228705" cy="21124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7679" name="Picture 3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68332"/>
                <a:stretch>
                  <a:fillRect/>
                </a:stretch>
              </p:blipFill>
              <p:spPr bwMode="auto">
                <a:xfrm>
                  <a:off x="8015703" y="5589240"/>
                  <a:ext cx="228705" cy="21124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7680" name="Picture 3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68332"/>
                <a:stretch>
                  <a:fillRect/>
                </a:stretch>
              </p:blipFill>
              <p:spPr bwMode="auto">
                <a:xfrm>
                  <a:off x="3839239" y="5810044"/>
                  <a:ext cx="228705" cy="21124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7681" name="Picture 3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68332"/>
                <a:stretch>
                  <a:fillRect/>
                </a:stretch>
              </p:blipFill>
              <p:spPr bwMode="auto">
                <a:xfrm>
                  <a:off x="4788024" y="5805264"/>
                  <a:ext cx="228705" cy="21124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7682" name="Picture 3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68332"/>
                <a:stretch>
                  <a:fillRect/>
                </a:stretch>
              </p:blipFill>
              <p:spPr bwMode="auto">
                <a:xfrm>
                  <a:off x="3047151" y="5805264"/>
                  <a:ext cx="228705" cy="21124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sp>
            <p:nvSpPr>
              <p:cNvPr id="27673" name="TextBox 94"/>
              <p:cNvSpPr txBox="1">
                <a:spLocks noChangeArrowheads="1"/>
              </p:cNvSpPr>
              <p:nvPr/>
            </p:nvSpPr>
            <p:spPr bwMode="auto">
              <a:xfrm>
                <a:off x="611561" y="5373216"/>
                <a:ext cx="7554842" cy="8705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CC0000"/>
                  </a:buClr>
                  <a:buSzPct val="75000"/>
                  <a:buFont typeface="Wingdings" pitchFamily="2" charset="2"/>
                  <a:defRPr sz="2800">
                    <a:solidFill>
                      <a:srgbClr val="00944B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rgbClr val="EF4034"/>
                  </a:buClr>
                  <a:buSzPct val="75000"/>
                  <a:buChar char="•"/>
                  <a:defRPr sz="24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EF4034"/>
                  </a:buClr>
                  <a:buSzPct val="85000"/>
                  <a:buChar char="•"/>
                  <a:defRPr sz="20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rgbClr val="EF4034"/>
                  </a:buClr>
                  <a:buSzPct val="95000"/>
                  <a:buChar char="•"/>
                  <a:defRPr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Importance    Incidence:          very often        often          rare          no longer encountered</a:t>
                </a:r>
              </a:p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Location in supply chain:  Agricultural producer        Storage/transport       Food manufacturer       Trader        Distributer</a:t>
                </a:r>
              </a:p>
              <a:p>
                <a:pPr fontAlgn="base">
                  <a:spcBef>
                    <a:spcPts val="30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                                              Wholesaler        Retailer            Unknown</a:t>
                </a:r>
              </a:p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endParaRPr lang="en-GB" altLang="en-US" sz="1200" smtClean="0">
                  <a:solidFill>
                    <a:srgbClr val="000000"/>
                  </a:solidFill>
                  <a:latin typeface="Calibri" pitchFamily="34" charset="0"/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674" name="Group 2"/>
          <p:cNvGrpSpPr>
            <a:grpSpLocks/>
          </p:cNvGrpSpPr>
          <p:nvPr/>
        </p:nvGrpSpPr>
        <p:grpSpPr bwMode="auto">
          <a:xfrm>
            <a:off x="828675" y="157163"/>
            <a:ext cx="8064500" cy="6242050"/>
            <a:chOff x="395288" y="157163"/>
            <a:chExt cx="8064500" cy="6242050"/>
          </a:xfrm>
        </p:grpSpPr>
        <p:sp>
          <p:nvSpPr>
            <p:cNvPr id="28675" name="TextBox 3"/>
            <p:cNvSpPr txBox="1">
              <a:spLocks noChangeArrowheads="1"/>
            </p:cNvSpPr>
            <p:nvPr/>
          </p:nvSpPr>
          <p:spPr bwMode="auto">
            <a:xfrm>
              <a:off x="3597402" y="279400"/>
              <a:ext cx="1930145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CC0000"/>
                </a:buClr>
                <a:buSzPct val="75000"/>
                <a:buFont typeface="Wingdings" pitchFamily="2" charset="2"/>
                <a:defRPr sz="2800">
                  <a:solidFill>
                    <a:srgbClr val="00944B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EF4034"/>
                </a:buClr>
                <a:buSzPct val="75000"/>
                <a:buChar char="•"/>
                <a:defRPr sz="24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20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EF4034"/>
                </a:buClr>
                <a:buSzPct val="95000"/>
                <a:buChar char="•"/>
                <a:defRPr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400" smtClean="0">
                  <a:solidFill>
                    <a:srgbClr val="000000"/>
                  </a:solidFill>
                  <a:latin typeface="Calibri" pitchFamily="34" charset="0"/>
                </a:rPr>
                <a:t>WP 2 – Knowledge Base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400" smtClean="0">
                  <a:solidFill>
                    <a:srgbClr val="000000"/>
                  </a:solidFill>
                  <a:latin typeface="Calibri" pitchFamily="34" charset="0"/>
                </a:rPr>
                <a:t>Data entry screen</a:t>
              </a:r>
            </a:p>
          </p:txBody>
        </p:sp>
        <p:sp>
          <p:nvSpPr>
            <p:cNvPr id="28676" name="TextBox 4"/>
            <p:cNvSpPr txBox="1">
              <a:spLocks noChangeArrowheads="1"/>
            </p:cNvSpPr>
            <p:nvPr/>
          </p:nvSpPr>
          <p:spPr bwMode="auto">
            <a:xfrm>
              <a:off x="733817" y="1289050"/>
              <a:ext cx="1568058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CC0000"/>
                </a:buClr>
                <a:buSzPct val="75000"/>
                <a:buFont typeface="Wingdings" pitchFamily="2" charset="2"/>
                <a:defRPr sz="2800">
                  <a:solidFill>
                    <a:srgbClr val="00944B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EF4034"/>
                </a:buClr>
                <a:buSzPct val="75000"/>
                <a:buChar char="•"/>
                <a:defRPr sz="24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20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EF4034"/>
                </a:buClr>
                <a:buSzPct val="95000"/>
                <a:buChar char="•"/>
                <a:defRPr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r"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200" smtClean="0">
                  <a:solidFill>
                    <a:srgbClr val="000000"/>
                  </a:solidFill>
                  <a:latin typeface="Calibri" pitchFamily="34" charset="0"/>
                </a:rPr>
                <a:t>Food Category</a:t>
              </a:r>
            </a:p>
            <a:p>
              <a:pPr algn="r"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000" smtClean="0">
                  <a:solidFill>
                    <a:srgbClr val="000000"/>
                  </a:solidFill>
                  <a:latin typeface="Calibri" pitchFamily="34" charset="0"/>
                </a:rPr>
                <a:t>Select from drop-down list</a:t>
              </a:r>
              <a:endParaRPr lang="en-GB" altLang="en-US" sz="900" smtClean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28677" name="TextBox 5"/>
            <p:cNvSpPr txBox="1">
              <a:spLocks noChangeArrowheads="1"/>
            </p:cNvSpPr>
            <p:nvPr/>
          </p:nvSpPr>
          <p:spPr bwMode="auto">
            <a:xfrm>
              <a:off x="4475360" y="1289050"/>
              <a:ext cx="1752403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CC0000"/>
                </a:buClr>
                <a:buSzPct val="75000"/>
                <a:buFont typeface="Wingdings" pitchFamily="2" charset="2"/>
                <a:defRPr sz="2800">
                  <a:solidFill>
                    <a:srgbClr val="00944B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EF4034"/>
                </a:buClr>
                <a:buSzPct val="75000"/>
                <a:buChar char="•"/>
                <a:defRPr sz="24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20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EF4034"/>
                </a:buClr>
                <a:buSzPct val="95000"/>
                <a:buChar char="•"/>
                <a:defRPr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r"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200" smtClean="0">
                  <a:solidFill>
                    <a:srgbClr val="000000"/>
                  </a:solidFill>
                  <a:latin typeface="Calibri" pitchFamily="34" charset="0"/>
                </a:rPr>
                <a:t>Commodity Detail</a:t>
              </a:r>
            </a:p>
            <a:p>
              <a:pPr algn="r"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000" smtClean="0">
                  <a:solidFill>
                    <a:srgbClr val="000000"/>
                  </a:solidFill>
                  <a:latin typeface="Calibri" pitchFamily="34" charset="0"/>
                </a:rPr>
                <a:t>Enter as free text – e.g. butter</a:t>
              </a:r>
              <a:endParaRPr lang="en-GB" altLang="en-US" sz="900" smtClean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2301876" y="1358900"/>
              <a:ext cx="1909762" cy="2159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9" name="Rounded Rectangle 8">
              <a:hlinkClick r:id="rId2" action="ppaction://hlinksldjump"/>
            </p:cNvPr>
            <p:cNvSpPr/>
            <p:nvPr/>
          </p:nvSpPr>
          <p:spPr>
            <a:xfrm>
              <a:off x="6227763" y="1358900"/>
              <a:ext cx="1911350" cy="2159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>
                <a:defRPr/>
              </a:pPr>
              <a:endParaRPr lang="en-GB" sz="1400" dirty="0">
                <a:solidFill>
                  <a:prstClr val="black"/>
                </a:solidFill>
              </a:endParaRPr>
            </a:p>
          </p:txBody>
        </p:sp>
        <p:sp>
          <p:nvSpPr>
            <p:cNvPr id="28680" name="TextBox 7"/>
            <p:cNvSpPr txBox="1">
              <a:spLocks noChangeArrowheads="1"/>
            </p:cNvSpPr>
            <p:nvPr/>
          </p:nvSpPr>
          <p:spPr bwMode="auto">
            <a:xfrm>
              <a:off x="2274888" y="1343025"/>
              <a:ext cx="1984839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CC0000"/>
                </a:buClr>
                <a:buSzPct val="75000"/>
                <a:buFont typeface="Wingdings" pitchFamily="2" charset="2"/>
                <a:defRPr sz="2800">
                  <a:solidFill>
                    <a:srgbClr val="00944B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EF4034"/>
                </a:buClr>
                <a:buSzPct val="75000"/>
                <a:buChar char="•"/>
                <a:defRPr sz="24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20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EF4034"/>
                </a:buClr>
                <a:buSzPct val="95000"/>
                <a:buChar char="•"/>
                <a:defRPr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000" smtClean="0">
                  <a:solidFill>
                    <a:srgbClr val="000000"/>
                  </a:solidFill>
                  <a:latin typeface="Calibri" pitchFamily="34" charset="0"/>
                </a:rPr>
                <a:t>(Select commodity)                       </a:t>
              </a:r>
              <a:r>
                <a:rPr lang="en-GB" altLang="en-US" sz="1000" smtClean="0">
                  <a:solidFill>
                    <a:srgbClr val="000000"/>
                  </a:solidFill>
                  <a:latin typeface="Calibri" pitchFamily="34" charset="0"/>
                  <a:sym typeface="Wingdings 3" pitchFamily="18" charset="2"/>
                </a:rPr>
                <a:t></a:t>
              </a:r>
              <a:endParaRPr lang="en-GB" altLang="en-US" sz="1000" smtClean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2309813" y="1735138"/>
              <a:ext cx="1939925" cy="115887"/>
            </a:xfrm>
            <a:prstGeom prst="rect">
              <a:avLst/>
            </a:prstGeom>
            <a:solidFill>
              <a:schemeClr val="accent1">
                <a:alpha val="31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>
                <a:solidFill>
                  <a:prstClr val="white"/>
                </a:solidFill>
              </a:endParaRPr>
            </a:p>
          </p:txBody>
        </p:sp>
        <p:grpSp>
          <p:nvGrpSpPr>
            <p:cNvPr id="28682" name="Group 33"/>
            <p:cNvGrpSpPr>
              <a:grpSpLocks/>
            </p:cNvGrpSpPr>
            <p:nvPr/>
          </p:nvGrpSpPr>
          <p:grpSpPr bwMode="auto">
            <a:xfrm>
              <a:off x="1139237" y="2501899"/>
              <a:ext cx="6984000" cy="584775"/>
              <a:chOff x="1123872" y="2278033"/>
              <a:chExt cx="6983415" cy="583764"/>
            </a:xfrm>
          </p:grpSpPr>
          <p:sp>
            <p:nvSpPr>
              <p:cNvPr id="28718" name="TextBox 34"/>
              <p:cNvSpPr txBox="1">
                <a:spLocks noChangeArrowheads="1"/>
              </p:cNvSpPr>
              <p:nvPr/>
            </p:nvSpPr>
            <p:spPr bwMode="auto">
              <a:xfrm>
                <a:off x="1123872" y="2278033"/>
                <a:ext cx="1176826" cy="5837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CC0000"/>
                  </a:buClr>
                  <a:buSzPct val="75000"/>
                  <a:buFont typeface="Wingdings" pitchFamily="2" charset="2"/>
                  <a:defRPr sz="2800">
                    <a:solidFill>
                      <a:srgbClr val="00944B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rgbClr val="EF4034"/>
                  </a:buClr>
                  <a:buSzPct val="75000"/>
                  <a:buChar char="•"/>
                  <a:defRPr sz="24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EF4034"/>
                  </a:buClr>
                  <a:buSzPct val="85000"/>
                  <a:buChar char="•"/>
                  <a:defRPr sz="20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rgbClr val="EF4034"/>
                  </a:buClr>
                  <a:buSzPct val="95000"/>
                  <a:buChar char="•"/>
                  <a:defRPr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algn="r"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Description</a:t>
                </a:r>
              </a:p>
              <a:p>
                <a:pPr algn="r"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000" smtClean="0">
                    <a:solidFill>
                      <a:srgbClr val="000000"/>
                    </a:solidFill>
                    <a:latin typeface="Calibri" pitchFamily="34" charset="0"/>
                  </a:rPr>
                  <a:t>Add as free text to </a:t>
                </a:r>
              </a:p>
              <a:p>
                <a:pPr algn="r"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000" smtClean="0">
                    <a:solidFill>
                      <a:srgbClr val="000000"/>
                    </a:solidFill>
                    <a:latin typeface="Calibri" pitchFamily="34" charset="0"/>
                  </a:rPr>
                  <a:t>describe the issue</a:t>
                </a:r>
                <a:endParaRPr lang="en-GB" altLang="en-US" sz="900" smtClean="0">
                  <a:solidFill>
                    <a:srgbClr val="000000"/>
                  </a:solidFill>
                  <a:latin typeface="Calibri" pitchFamily="34" charset="0"/>
                </a:endParaRPr>
              </a:p>
            </p:txBody>
          </p:sp>
          <p:sp>
            <p:nvSpPr>
              <p:cNvPr id="36" name="Rounded Rectangle 35"/>
              <p:cNvSpPr/>
              <p:nvPr/>
            </p:nvSpPr>
            <p:spPr>
              <a:xfrm>
                <a:off x="2300698" y="2349347"/>
                <a:ext cx="5806589" cy="505536"/>
              </a:xfrm>
              <a:prstGeom prst="round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28683" name="Group 11"/>
            <p:cNvGrpSpPr>
              <a:grpSpLocks/>
            </p:cNvGrpSpPr>
            <p:nvPr/>
          </p:nvGrpSpPr>
          <p:grpSpPr bwMode="auto">
            <a:xfrm>
              <a:off x="1573213" y="3160712"/>
              <a:ext cx="2206625" cy="1813317"/>
              <a:chOff x="201703" y="4078233"/>
              <a:chExt cx="2207138" cy="1813830"/>
            </a:xfrm>
          </p:grpSpPr>
          <p:sp>
            <p:nvSpPr>
              <p:cNvPr id="28712" name="TextBox 36"/>
              <p:cNvSpPr txBox="1">
                <a:spLocks noChangeArrowheads="1"/>
              </p:cNvSpPr>
              <p:nvPr/>
            </p:nvSpPr>
            <p:spPr bwMode="auto">
              <a:xfrm>
                <a:off x="201703" y="4078233"/>
                <a:ext cx="1908980" cy="18138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CC0000"/>
                  </a:buClr>
                  <a:buSzPct val="75000"/>
                  <a:buFont typeface="Wingdings" pitchFamily="2" charset="2"/>
                  <a:defRPr sz="2800">
                    <a:solidFill>
                      <a:srgbClr val="00944B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rgbClr val="EF4034"/>
                  </a:buClr>
                  <a:buSzPct val="75000"/>
                  <a:buChar char="•"/>
                  <a:defRPr sz="24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EF4034"/>
                  </a:buClr>
                  <a:buSzPct val="85000"/>
                  <a:buChar char="•"/>
                  <a:defRPr sz="20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rgbClr val="EF4034"/>
                  </a:buClr>
                  <a:buSzPct val="95000"/>
                  <a:buChar char="•"/>
                  <a:defRPr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Type of fraud</a:t>
                </a:r>
              </a:p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000" smtClean="0">
                    <a:solidFill>
                      <a:srgbClr val="000000"/>
                    </a:solidFill>
                    <a:latin typeface="Calibri" pitchFamily="34" charset="0"/>
                  </a:rPr>
                  <a:t>Select one</a:t>
                </a:r>
              </a:p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endParaRPr lang="en-GB" altLang="en-US" sz="1000" smtClean="0">
                  <a:solidFill>
                    <a:srgbClr val="000000"/>
                  </a:solidFill>
                  <a:latin typeface="Calibri" pitchFamily="34" charset="0"/>
                </a:endParaRPr>
              </a:p>
              <a:p>
                <a:pPr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Dilution, substitution</a:t>
                </a:r>
              </a:p>
              <a:p>
                <a:pPr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Concealment</a:t>
                </a:r>
              </a:p>
              <a:p>
                <a:pPr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Unapproved enhancement</a:t>
                </a:r>
              </a:p>
              <a:p>
                <a:pPr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Mislabelling</a:t>
                </a:r>
              </a:p>
              <a:p>
                <a:pPr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Grey market, counterfeiting</a:t>
                </a:r>
              </a:p>
              <a:p>
                <a:pPr fontAlgn="base">
                  <a:spcBef>
                    <a:spcPct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</a:pPr>
                <a:endParaRPr lang="en-GB" altLang="en-US" sz="900" smtClean="0">
                  <a:solidFill>
                    <a:srgbClr val="000000"/>
                  </a:solidFill>
                  <a:latin typeface="Calibri" pitchFamily="34" charset="0"/>
                </a:endParaRPr>
              </a:p>
            </p:txBody>
          </p:sp>
          <p:pic>
            <p:nvPicPr>
              <p:cNvPr id="28713" name="Picture 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863" b="-2"/>
              <a:stretch>
                <a:fillRect/>
              </a:stretch>
            </p:blipFill>
            <p:spPr bwMode="auto">
              <a:xfrm>
                <a:off x="2267744" y="4654277"/>
                <a:ext cx="141097" cy="142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8714" name="Picture 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863" b="-2"/>
              <a:stretch>
                <a:fillRect/>
              </a:stretch>
            </p:blipFill>
            <p:spPr bwMode="auto">
              <a:xfrm>
                <a:off x="2267744" y="4870301"/>
                <a:ext cx="141097" cy="142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8715" name="Picture 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863" b="-2"/>
              <a:stretch>
                <a:fillRect/>
              </a:stretch>
            </p:blipFill>
            <p:spPr bwMode="auto">
              <a:xfrm>
                <a:off x="2267744" y="5086325"/>
                <a:ext cx="141097" cy="142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8716" name="Picture 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863" b="-2"/>
              <a:stretch>
                <a:fillRect/>
              </a:stretch>
            </p:blipFill>
            <p:spPr bwMode="auto">
              <a:xfrm>
                <a:off x="2267744" y="5302349"/>
                <a:ext cx="141097" cy="142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8717" name="Picture 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863" b="-2"/>
              <a:stretch>
                <a:fillRect/>
              </a:stretch>
            </p:blipFill>
            <p:spPr bwMode="auto">
              <a:xfrm>
                <a:off x="2267744" y="5518373"/>
                <a:ext cx="141097" cy="142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28684" name="Group 21"/>
            <p:cNvGrpSpPr>
              <a:grpSpLocks/>
            </p:cNvGrpSpPr>
            <p:nvPr/>
          </p:nvGrpSpPr>
          <p:grpSpPr bwMode="auto">
            <a:xfrm>
              <a:off x="4643438" y="3159125"/>
              <a:ext cx="2520950" cy="2249334"/>
              <a:chOff x="3059130" y="4077072"/>
              <a:chExt cx="2520982" cy="2249180"/>
            </a:xfrm>
          </p:grpSpPr>
          <p:sp>
            <p:nvSpPr>
              <p:cNvPr id="28708" name="TextBox 43"/>
              <p:cNvSpPr txBox="1">
                <a:spLocks noChangeArrowheads="1"/>
              </p:cNvSpPr>
              <p:nvPr/>
            </p:nvSpPr>
            <p:spPr bwMode="auto">
              <a:xfrm>
                <a:off x="3059130" y="4077072"/>
                <a:ext cx="2224676" cy="22491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CC0000"/>
                  </a:buClr>
                  <a:buSzPct val="75000"/>
                  <a:buFont typeface="Wingdings" pitchFamily="2" charset="2"/>
                  <a:defRPr sz="2800">
                    <a:solidFill>
                      <a:srgbClr val="00944B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rgbClr val="EF4034"/>
                  </a:buClr>
                  <a:buSzPct val="75000"/>
                  <a:buChar char="•"/>
                  <a:defRPr sz="24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EF4034"/>
                  </a:buClr>
                  <a:buSzPct val="85000"/>
                  <a:buChar char="•"/>
                  <a:defRPr sz="20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rgbClr val="EF4034"/>
                  </a:buClr>
                  <a:buSzPct val="95000"/>
                  <a:buChar char="•"/>
                  <a:defRPr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Issue</a:t>
                </a:r>
              </a:p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000" smtClean="0">
                    <a:solidFill>
                      <a:srgbClr val="000000"/>
                    </a:solidFill>
                    <a:latin typeface="Calibri" pitchFamily="34" charset="0"/>
                  </a:rPr>
                  <a:t>Select one or more</a:t>
                </a:r>
              </a:p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endParaRPr lang="en-GB" altLang="en-US" sz="1000" smtClean="0">
                  <a:solidFill>
                    <a:srgbClr val="000000"/>
                  </a:solidFill>
                  <a:latin typeface="Calibri" pitchFamily="34" charset="0"/>
                </a:endParaRPr>
              </a:p>
              <a:p>
                <a:pPr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Product composition</a:t>
                </a:r>
              </a:p>
              <a:p>
                <a:pPr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Geographical origin</a:t>
                </a:r>
              </a:p>
              <a:p>
                <a:pPr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Botanical/Cultivar/Varietal origin</a:t>
                </a:r>
              </a:p>
              <a:p>
                <a:pPr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Production system</a:t>
                </a:r>
              </a:p>
              <a:p>
                <a:pPr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Product processing</a:t>
                </a:r>
              </a:p>
              <a:p>
                <a:pPr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Product quality</a:t>
                </a:r>
              </a:p>
              <a:p>
                <a:pPr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Other issue</a:t>
                </a:r>
              </a:p>
              <a:p>
                <a:pPr fontAlgn="base">
                  <a:spcBef>
                    <a:spcPct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</a:pPr>
                <a:endParaRPr lang="en-GB" altLang="en-US" sz="900" smtClean="0">
                  <a:solidFill>
                    <a:srgbClr val="000000"/>
                  </a:solidFill>
                  <a:latin typeface="Calibri" pitchFamily="34" charset="0"/>
                </a:endParaRPr>
              </a:p>
            </p:txBody>
          </p:sp>
          <p:pic>
            <p:nvPicPr>
              <p:cNvPr id="28709" name="Picture 3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50705" y="4616708"/>
                <a:ext cx="228705" cy="6670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8710" name="Picture 3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51407" y="5267027"/>
                <a:ext cx="228705" cy="6670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8711" name="Picture 3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66324"/>
              <a:stretch>
                <a:fillRect/>
              </a:stretch>
            </p:blipFill>
            <p:spPr bwMode="auto">
              <a:xfrm>
                <a:off x="5351407" y="5917799"/>
                <a:ext cx="228705" cy="22463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28685" name="Group 23"/>
            <p:cNvGrpSpPr>
              <a:grpSpLocks/>
            </p:cNvGrpSpPr>
            <p:nvPr/>
          </p:nvGrpSpPr>
          <p:grpSpPr bwMode="auto">
            <a:xfrm>
              <a:off x="1787525" y="5321301"/>
              <a:ext cx="5734050" cy="646331"/>
              <a:chOff x="1787387" y="5548645"/>
              <a:chExt cx="5734022" cy="646549"/>
            </a:xfrm>
          </p:grpSpPr>
          <p:grpSp>
            <p:nvGrpSpPr>
              <p:cNvPr id="28699" name="Group 48"/>
              <p:cNvGrpSpPr>
                <a:grpSpLocks/>
              </p:cNvGrpSpPr>
              <p:nvPr/>
            </p:nvGrpSpPr>
            <p:grpSpPr bwMode="auto">
              <a:xfrm>
                <a:off x="1787387" y="5548645"/>
                <a:ext cx="5734022" cy="646549"/>
                <a:chOff x="1937775" y="3187226"/>
                <a:chExt cx="5734022" cy="646549"/>
              </a:xfrm>
            </p:grpSpPr>
            <p:sp>
              <p:nvSpPr>
                <p:cNvPr id="28702" name="TextBox 49"/>
                <p:cNvSpPr txBox="1">
                  <a:spLocks noChangeArrowheads="1"/>
                </p:cNvSpPr>
                <p:nvPr/>
              </p:nvSpPr>
              <p:spPr bwMode="auto">
                <a:xfrm>
                  <a:off x="1937775" y="3187226"/>
                  <a:ext cx="5680181" cy="646549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wrap="none">
                  <a:spAutoFit/>
                </a:bodyPr>
                <a:lstStyle>
                  <a:lvl1pPr>
                    <a:spcBef>
                      <a:spcPct val="20000"/>
                    </a:spcBef>
                    <a:buClr>
                      <a:srgbClr val="CC0000"/>
                    </a:buClr>
                    <a:buSzPct val="75000"/>
                    <a:buFont typeface="Wingdings" pitchFamily="2" charset="2"/>
                    <a:defRPr sz="2800">
                      <a:solidFill>
                        <a:srgbClr val="00944B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marL="742950" indent="-285750">
                    <a:spcBef>
                      <a:spcPct val="20000"/>
                    </a:spcBef>
                    <a:buClr>
                      <a:srgbClr val="EF4034"/>
                    </a:buClr>
                    <a:buSzPct val="75000"/>
                    <a:buChar char="•"/>
                    <a:defRPr sz="2400">
                      <a:solidFill>
                        <a:srgbClr val="5F5F5F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marL="1143000" indent="-228600">
                    <a:spcBef>
                      <a:spcPct val="20000"/>
                    </a:spcBef>
                    <a:buClr>
                      <a:srgbClr val="EF4034"/>
                    </a:buClr>
                    <a:buSzPct val="85000"/>
                    <a:buChar char="•"/>
                    <a:defRPr sz="2000">
                      <a:solidFill>
                        <a:srgbClr val="5F5F5F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marL="1600200" indent="-228600">
                    <a:spcBef>
                      <a:spcPct val="20000"/>
                    </a:spcBef>
                    <a:buClr>
                      <a:srgbClr val="EF4034"/>
                    </a:buClr>
                    <a:buSzPct val="95000"/>
                    <a:buChar char="•"/>
                    <a:defRPr>
                      <a:solidFill>
                        <a:srgbClr val="5F5F5F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marL="2057400" indent="-228600">
                    <a:spcBef>
                      <a:spcPct val="20000"/>
                    </a:spcBef>
                    <a:buClr>
                      <a:srgbClr val="EF4034"/>
                    </a:buClr>
                    <a:buSzPct val="85000"/>
                    <a:buChar char="•"/>
                    <a:defRPr sz="1600">
                      <a:solidFill>
                        <a:srgbClr val="5F5F5F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marL="25146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rgbClr val="EF4034"/>
                    </a:buClr>
                    <a:buSzPct val="85000"/>
                    <a:buChar char="•"/>
                    <a:defRPr sz="1600">
                      <a:solidFill>
                        <a:srgbClr val="5F5F5F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marL="29718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rgbClr val="EF4034"/>
                    </a:buClr>
                    <a:buSzPct val="85000"/>
                    <a:buChar char="•"/>
                    <a:defRPr sz="1600">
                      <a:solidFill>
                        <a:srgbClr val="5F5F5F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marL="34290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rgbClr val="EF4034"/>
                    </a:buClr>
                    <a:buSzPct val="85000"/>
                    <a:buChar char="•"/>
                    <a:defRPr sz="1600">
                      <a:solidFill>
                        <a:srgbClr val="5F5F5F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marL="3886200" indent="-22860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lr>
                      <a:srgbClr val="EF4034"/>
                    </a:buClr>
                    <a:buSzPct val="85000"/>
                    <a:buChar char="•"/>
                    <a:defRPr sz="1600">
                      <a:solidFill>
                        <a:srgbClr val="5F5F5F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</a:pPr>
                  <a:r>
                    <a:rPr lang="en-GB" altLang="en-US" sz="1200" smtClean="0">
                      <a:solidFill>
                        <a:srgbClr val="000000"/>
                      </a:solidFill>
                      <a:latin typeface="Calibri" pitchFamily="34" charset="0"/>
                    </a:rPr>
                    <a:t>Importance    Incidence:          very often        often          rare          no longer encountered</a:t>
                  </a:r>
                </a:p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</a:pPr>
                  <a:r>
                    <a:rPr lang="en-GB" altLang="en-US" sz="1200" smtClean="0">
                      <a:solidFill>
                        <a:srgbClr val="000000"/>
                      </a:solidFill>
                      <a:latin typeface="Calibri" pitchFamily="34" charset="0"/>
                    </a:rPr>
                    <a:t> </a:t>
                  </a:r>
                </a:p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</a:pPr>
                  <a:r>
                    <a:rPr lang="en-GB" altLang="en-US" sz="1200" smtClean="0">
                      <a:solidFill>
                        <a:srgbClr val="000000"/>
                      </a:solidFill>
                      <a:latin typeface="Calibri" pitchFamily="34" charset="0"/>
                    </a:rPr>
                    <a:t>                               Level:           consumer        producer       both                    </a:t>
                  </a:r>
                </a:p>
              </p:txBody>
            </p:sp>
            <p:pic>
              <p:nvPicPr>
                <p:cNvPr id="28703" name="Picture 2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2863" b="-2"/>
                <a:stretch>
                  <a:fillRect/>
                </a:stretch>
              </p:blipFill>
              <p:spPr bwMode="auto">
                <a:xfrm>
                  <a:off x="4509283" y="3255731"/>
                  <a:ext cx="141097" cy="14287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8704" name="Picture 2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2863" b="-2"/>
                <a:stretch>
                  <a:fillRect/>
                </a:stretch>
              </p:blipFill>
              <p:spPr bwMode="auto">
                <a:xfrm>
                  <a:off x="5157355" y="3253197"/>
                  <a:ext cx="141097" cy="14287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8705" name="Picture 2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2863" b="-2"/>
                <a:stretch>
                  <a:fillRect/>
                </a:stretch>
              </p:blipFill>
              <p:spPr bwMode="auto">
                <a:xfrm>
                  <a:off x="5733419" y="3250663"/>
                  <a:ext cx="141097" cy="14287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8706" name="Picture 2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2863" b="-2"/>
                <a:stretch>
                  <a:fillRect/>
                </a:stretch>
              </p:blipFill>
              <p:spPr bwMode="auto">
                <a:xfrm>
                  <a:off x="7530700" y="3255731"/>
                  <a:ext cx="141097" cy="14287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8707" name="Picture 2"/>
                <p:cNvPicPr>
                  <a:picLocks noChangeAspect="1" noChangeArrowheads="1"/>
                </p:cNvPicPr>
                <p:nvPr/>
              </p:nvPicPr>
              <p:blipFill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2863" b="-2"/>
                <a:stretch>
                  <a:fillRect/>
                </a:stretch>
              </p:blipFill>
              <p:spPr bwMode="auto">
                <a:xfrm>
                  <a:off x="4509283" y="3614494"/>
                  <a:ext cx="141097" cy="14287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pic>
            <p:nvPicPr>
              <p:cNvPr id="28700" name="Picture 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863" b="-2"/>
              <a:stretch>
                <a:fillRect/>
              </a:stretch>
            </p:blipFill>
            <p:spPr bwMode="auto">
              <a:xfrm>
                <a:off x="5190440" y="5980113"/>
                <a:ext cx="141097" cy="142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8701" name="Picture 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863" b="-2"/>
              <a:stretch>
                <a:fillRect/>
              </a:stretch>
            </p:blipFill>
            <p:spPr bwMode="auto">
              <a:xfrm>
                <a:off x="5727047" y="5980113"/>
                <a:ext cx="141097" cy="142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28686" name="Group 47"/>
            <p:cNvGrpSpPr>
              <a:grpSpLocks/>
            </p:cNvGrpSpPr>
            <p:nvPr/>
          </p:nvGrpSpPr>
          <p:grpSpPr bwMode="auto">
            <a:xfrm>
              <a:off x="3924300" y="6122988"/>
              <a:ext cx="1223963" cy="276225"/>
              <a:chOff x="3275856" y="4699747"/>
              <a:chExt cx="1224136" cy="276999"/>
            </a:xfrm>
          </p:grpSpPr>
          <p:sp>
            <p:nvSpPr>
              <p:cNvPr id="62" name="Rounded Rectangle 61">
                <a:hlinkClick r:id="" action="ppaction://hlinkshowjump?jump=nextslide"/>
              </p:cNvPr>
              <p:cNvSpPr/>
              <p:nvPr/>
            </p:nvSpPr>
            <p:spPr>
              <a:xfrm>
                <a:off x="3275857" y="4725218"/>
                <a:ext cx="1224135" cy="216505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 w="12700"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>
                  <a:solidFill>
                    <a:prstClr val="white"/>
                  </a:solidFill>
                </a:endParaRPr>
              </a:p>
            </p:txBody>
          </p:sp>
          <p:sp>
            <p:nvSpPr>
              <p:cNvPr id="63" name="TextBox 62">
                <a:hlinkClick r:id="rId5" action="ppaction://hlinksldjump"/>
              </p:cNvPr>
              <p:cNvSpPr txBox="1"/>
              <p:nvPr/>
            </p:nvSpPr>
            <p:spPr>
              <a:xfrm>
                <a:off x="3347864" y="4699747"/>
                <a:ext cx="1096011" cy="276999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6350" h="31750"/>
                <a:bevelB w="0"/>
              </a:sp3d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GB" sz="1200" dirty="0">
                    <a:solidFill>
                      <a:prstClr val="black"/>
                    </a:solidFill>
                    <a:latin typeface="Calibri"/>
                  </a:rPr>
                  <a:t>Next screen</a:t>
                </a:r>
              </a:p>
            </p:txBody>
          </p:sp>
        </p:grpSp>
        <p:sp>
          <p:nvSpPr>
            <p:cNvPr id="33" name="Rectangle 32"/>
            <p:cNvSpPr/>
            <p:nvPr/>
          </p:nvSpPr>
          <p:spPr>
            <a:xfrm>
              <a:off x="395288" y="927100"/>
              <a:ext cx="8064500" cy="1079500"/>
            </a:xfrm>
            <a:prstGeom prst="rect">
              <a:avLst/>
            </a:prstGeom>
            <a:noFill/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395288" y="2151063"/>
              <a:ext cx="8064500" cy="3887787"/>
            </a:xfrm>
            <a:prstGeom prst="rect">
              <a:avLst/>
            </a:prstGeom>
            <a:noFill/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28689" name="TextBox 47"/>
            <p:cNvSpPr txBox="1">
              <a:spLocks noChangeArrowheads="1"/>
            </p:cNvSpPr>
            <p:nvPr/>
          </p:nvSpPr>
          <p:spPr bwMode="auto">
            <a:xfrm>
              <a:off x="395288" y="927100"/>
              <a:ext cx="1871282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CC0000"/>
                </a:buClr>
                <a:buSzPct val="75000"/>
                <a:buFont typeface="Wingdings" pitchFamily="2" charset="2"/>
                <a:defRPr sz="2800">
                  <a:solidFill>
                    <a:srgbClr val="00944B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EF4034"/>
                </a:buClr>
                <a:buSzPct val="75000"/>
                <a:buChar char="•"/>
                <a:defRPr sz="24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20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EF4034"/>
                </a:buClr>
                <a:buSzPct val="95000"/>
                <a:buChar char="•"/>
                <a:defRPr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600" b="1" smtClean="0">
                  <a:solidFill>
                    <a:srgbClr val="77933C"/>
                  </a:solidFill>
                  <a:latin typeface="Calibri" pitchFamily="34" charset="0"/>
                </a:rPr>
                <a:t>FOOD COMMODITY</a:t>
              </a:r>
            </a:p>
          </p:txBody>
        </p:sp>
        <p:sp>
          <p:nvSpPr>
            <p:cNvPr id="28690" name="TextBox 68"/>
            <p:cNvSpPr txBox="1">
              <a:spLocks noChangeArrowheads="1"/>
            </p:cNvSpPr>
            <p:nvPr/>
          </p:nvSpPr>
          <p:spPr bwMode="auto">
            <a:xfrm>
              <a:off x="395288" y="2173288"/>
              <a:ext cx="2159887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CC0000"/>
                </a:buClr>
                <a:buSzPct val="75000"/>
                <a:buFont typeface="Wingdings" pitchFamily="2" charset="2"/>
                <a:defRPr sz="2800">
                  <a:solidFill>
                    <a:srgbClr val="00944B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EF4034"/>
                </a:buClr>
                <a:buSzPct val="75000"/>
                <a:buChar char="•"/>
                <a:defRPr sz="24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20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EF4034"/>
                </a:buClr>
                <a:buSzPct val="95000"/>
                <a:buChar char="•"/>
                <a:defRPr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600" b="1" smtClean="0">
                  <a:solidFill>
                    <a:srgbClr val="77933C"/>
                  </a:solidFill>
                  <a:latin typeface="Calibri" pitchFamily="34" charset="0"/>
                </a:rPr>
                <a:t>FOOD INTEGRITY ISSUE</a:t>
              </a:r>
            </a:p>
          </p:txBody>
        </p:sp>
        <p:sp>
          <p:nvSpPr>
            <p:cNvPr id="28691" name="TextBox 55"/>
            <p:cNvSpPr txBox="1">
              <a:spLocks noChangeArrowheads="1"/>
            </p:cNvSpPr>
            <p:nvPr/>
          </p:nvSpPr>
          <p:spPr bwMode="auto">
            <a:xfrm>
              <a:off x="2292350" y="1347788"/>
              <a:ext cx="1957388" cy="2247900"/>
            </a:xfrm>
            <a:prstGeom prst="rect">
              <a:avLst/>
            </a:prstGeom>
            <a:solidFill>
              <a:schemeClr val="bg1"/>
            </a:solidFill>
            <a:ln w="9525" cap="rnd">
              <a:solidFill>
                <a:schemeClr val="tx1"/>
              </a:solidFill>
              <a:miter lim="800000"/>
              <a:headEnd/>
              <a:tailEnd/>
            </a:ln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lr>
                  <a:srgbClr val="CC0000"/>
                </a:buClr>
                <a:buSzPct val="75000"/>
                <a:buFont typeface="Wingdings" pitchFamily="2" charset="2"/>
                <a:tabLst>
                  <a:tab pos="176213" algn="l"/>
                </a:tabLst>
                <a:defRPr sz="2800">
                  <a:solidFill>
                    <a:srgbClr val="00944B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EF4034"/>
                </a:buClr>
                <a:buSzPct val="75000"/>
                <a:buChar char="•"/>
                <a:tabLst>
                  <a:tab pos="176213" algn="l"/>
                </a:tabLst>
                <a:defRPr sz="24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tabLst>
                  <a:tab pos="176213" algn="l"/>
                </a:tabLst>
                <a:defRPr sz="20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EF4034"/>
                </a:buClr>
                <a:buSzPct val="95000"/>
                <a:buChar char="•"/>
                <a:tabLst>
                  <a:tab pos="176213" algn="l"/>
                </a:tabLst>
                <a:defRPr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tabLst>
                  <a:tab pos="176213" algn="l"/>
                </a:tabLst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tabLst>
                  <a:tab pos="176213" algn="l"/>
                </a:tabLst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tabLst>
                  <a:tab pos="176213" algn="l"/>
                </a:tabLst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tabLst>
                  <a:tab pos="176213" algn="l"/>
                </a:tabLst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tabLst>
                  <a:tab pos="176213" algn="l"/>
                </a:tabLst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000" smtClean="0">
                  <a:solidFill>
                    <a:srgbClr val="000000"/>
                  </a:solidFill>
                  <a:latin typeface="Calibri" pitchFamily="34" charset="0"/>
                </a:rPr>
                <a:t>Animal products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000" smtClean="0">
                  <a:solidFill>
                    <a:srgbClr val="000000"/>
                  </a:solidFill>
                  <a:latin typeface="Calibri" pitchFamily="34" charset="0"/>
                </a:rPr>
                <a:t>	Eggs and egg products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000" smtClean="0">
                  <a:solidFill>
                    <a:srgbClr val="000000"/>
                  </a:solidFill>
                  <a:latin typeface="Calibri" pitchFamily="34" charset="0"/>
                </a:rPr>
                <a:t>	Honey and royal jelly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000" smtClean="0">
                  <a:solidFill>
                    <a:srgbClr val="000000"/>
                  </a:solidFill>
                  <a:latin typeface="Calibri" pitchFamily="34" charset="0"/>
                </a:rPr>
                <a:t>	Meat and edible offal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000" smtClean="0">
                  <a:solidFill>
                    <a:srgbClr val="000000"/>
                  </a:solidFill>
                  <a:latin typeface="Calibri" pitchFamily="34" charset="0"/>
                </a:rPr>
                <a:t>	Milk and milk products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000" smtClean="0">
                  <a:solidFill>
                    <a:srgbClr val="000000"/>
                  </a:solidFill>
                  <a:latin typeface="Calibri" pitchFamily="34" charset="0"/>
                </a:rPr>
                <a:t>Seafood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000" smtClean="0">
                  <a:solidFill>
                    <a:srgbClr val="000000"/>
                  </a:solidFill>
                  <a:latin typeface="Calibri" pitchFamily="34" charset="0"/>
                </a:rPr>
                <a:t>	Bivalve molluscs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000" smtClean="0">
                  <a:solidFill>
                    <a:srgbClr val="000000"/>
                  </a:solidFill>
                  <a:latin typeface="Calibri" pitchFamily="34" charset="0"/>
                </a:rPr>
                <a:t>	Crustaceans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000" smtClean="0">
                  <a:solidFill>
                    <a:srgbClr val="000000"/>
                  </a:solidFill>
                  <a:latin typeface="Calibri" pitchFamily="34" charset="0"/>
                </a:rPr>
                <a:t>	Fish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000" smtClean="0">
                  <a:solidFill>
                    <a:srgbClr val="000000"/>
                  </a:solidFill>
                  <a:latin typeface="Calibri" pitchFamily="34" charset="0"/>
                </a:rPr>
                <a:t>	Seaweed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000" smtClean="0">
                  <a:solidFill>
                    <a:srgbClr val="000000"/>
                  </a:solidFill>
                  <a:latin typeface="Calibri" pitchFamily="34" charset="0"/>
                </a:rPr>
                <a:t>	Surimi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000" smtClean="0">
                  <a:solidFill>
                    <a:srgbClr val="000000"/>
                  </a:solidFill>
                  <a:latin typeface="Calibri" pitchFamily="34" charset="0"/>
                </a:rPr>
                <a:t>	Other sea food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000" smtClean="0">
                  <a:solidFill>
                    <a:srgbClr val="000000"/>
                  </a:solidFill>
                  <a:latin typeface="Calibri" pitchFamily="34" charset="0"/>
                </a:rPr>
                <a:t>Fruits and vegetables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endParaRPr lang="en-GB" altLang="en-US" sz="1000" smtClean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15" name="Rounded Rectangular Callout 14"/>
            <p:cNvSpPr/>
            <p:nvPr/>
          </p:nvSpPr>
          <p:spPr>
            <a:xfrm>
              <a:off x="1060451" y="188913"/>
              <a:ext cx="914400" cy="612775"/>
            </a:xfrm>
            <a:prstGeom prst="wedgeRoundRectCallout">
              <a:avLst>
                <a:gd name="adj1" fmla="val 109674"/>
                <a:gd name="adj2" fmla="val 207469"/>
                <a:gd name="adj3" fmla="val 16667"/>
              </a:avLst>
            </a:prstGeom>
            <a:solidFill>
              <a:srgbClr val="FFFF00">
                <a:alpha val="51000"/>
              </a:srgbClr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GB" sz="1000" dirty="0">
                  <a:solidFill>
                    <a:prstClr val="black"/>
                  </a:solidFill>
                </a:rPr>
                <a:t>Select commodity – Honey and royal jelly</a:t>
              </a:r>
            </a:p>
          </p:txBody>
        </p:sp>
        <p:sp>
          <p:nvSpPr>
            <p:cNvPr id="2" name="Rounded Rectangle 1"/>
            <p:cNvSpPr/>
            <p:nvPr/>
          </p:nvSpPr>
          <p:spPr>
            <a:xfrm>
              <a:off x="2301876" y="1719263"/>
              <a:ext cx="1958975" cy="131762"/>
            </a:xfrm>
            <a:prstGeom prst="roundRect">
              <a:avLst/>
            </a:prstGeom>
            <a:solidFill>
              <a:schemeClr val="accent1">
                <a:alpha val="2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60" name="Rounded Rectangular Callout 59"/>
            <p:cNvSpPr/>
            <p:nvPr/>
          </p:nvSpPr>
          <p:spPr>
            <a:xfrm>
              <a:off x="7183438" y="157163"/>
              <a:ext cx="914400" cy="612775"/>
            </a:xfrm>
            <a:prstGeom prst="wedgeRoundRectCallout">
              <a:avLst>
                <a:gd name="adj1" fmla="val -137201"/>
                <a:gd name="adj2" fmla="val 145280"/>
                <a:gd name="adj3" fmla="val 16667"/>
              </a:avLst>
            </a:prstGeom>
            <a:solidFill>
              <a:srgbClr val="FFFF00">
                <a:alpha val="51000"/>
              </a:srgbClr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GB" sz="1000" dirty="0">
                  <a:solidFill>
                    <a:prstClr val="black"/>
                  </a:solidFill>
                </a:rPr>
                <a:t>Then type in details about the commodity</a:t>
              </a: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26" name="Immagin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113" y="1300166"/>
            <a:ext cx="8867775" cy="493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Box 6"/>
          <p:cNvSpPr txBox="1"/>
          <p:nvPr/>
        </p:nvSpPr>
        <p:spPr>
          <a:xfrm>
            <a:off x="2914706" y="92075"/>
            <a:ext cx="3960813" cy="2603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050" dirty="0">
                <a:solidFill>
                  <a:srgbClr val="000000"/>
                </a:solidFill>
                <a:latin typeface="Arial" charset="0"/>
                <a:ea typeface="ＭＳ Ｐゴシック" pitchFamily="34" charset="-128"/>
              </a:rPr>
              <a:t>EUROPOL UNCLASSIFIED – BASIC PROTECTION LEVEL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>
              <p:cTn id="2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698" name="Group 9"/>
          <p:cNvGrpSpPr>
            <a:grpSpLocks/>
          </p:cNvGrpSpPr>
          <p:nvPr/>
        </p:nvGrpSpPr>
        <p:grpSpPr bwMode="auto">
          <a:xfrm>
            <a:off x="488954" y="141400"/>
            <a:ext cx="8331200" cy="6257925"/>
            <a:chOff x="128588" y="141288"/>
            <a:chExt cx="8331200" cy="6257925"/>
          </a:xfrm>
        </p:grpSpPr>
        <p:sp>
          <p:nvSpPr>
            <p:cNvPr id="29699" name="TextBox 3"/>
            <p:cNvSpPr txBox="1">
              <a:spLocks noChangeArrowheads="1"/>
            </p:cNvSpPr>
            <p:nvPr/>
          </p:nvSpPr>
          <p:spPr bwMode="auto">
            <a:xfrm>
              <a:off x="3597402" y="279400"/>
              <a:ext cx="1930145" cy="5232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CC0000"/>
                </a:buClr>
                <a:buSzPct val="75000"/>
                <a:buFont typeface="Wingdings" pitchFamily="2" charset="2"/>
                <a:defRPr sz="2800">
                  <a:solidFill>
                    <a:srgbClr val="00944B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EF4034"/>
                </a:buClr>
                <a:buSzPct val="75000"/>
                <a:buChar char="•"/>
                <a:defRPr sz="24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20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EF4034"/>
                </a:buClr>
                <a:buSzPct val="95000"/>
                <a:buChar char="•"/>
                <a:defRPr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400" smtClean="0">
                  <a:solidFill>
                    <a:srgbClr val="000000"/>
                  </a:solidFill>
                  <a:latin typeface="Calibri" pitchFamily="34" charset="0"/>
                </a:rPr>
                <a:t>WP 2 – Knowledge Base</a:t>
              </a:r>
            </a:p>
            <a:p>
              <a:pPr algn="ctr"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400" smtClean="0">
                  <a:solidFill>
                    <a:srgbClr val="000000"/>
                  </a:solidFill>
                  <a:latin typeface="Calibri" pitchFamily="34" charset="0"/>
                </a:rPr>
                <a:t>Data entry screen</a:t>
              </a:r>
            </a:p>
          </p:txBody>
        </p:sp>
        <p:sp>
          <p:nvSpPr>
            <p:cNvPr id="29700" name="TextBox 4"/>
            <p:cNvSpPr txBox="1">
              <a:spLocks noChangeArrowheads="1"/>
            </p:cNvSpPr>
            <p:nvPr/>
          </p:nvSpPr>
          <p:spPr bwMode="auto">
            <a:xfrm>
              <a:off x="733817" y="1289050"/>
              <a:ext cx="1568058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CC0000"/>
                </a:buClr>
                <a:buSzPct val="75000"/>
                <a:buFont typeface="Wingdings" pitchFamily="2" charset="2"/>
                <a:defRPr sz="2800">
                  <a:solidFill>
                    <a:srgbClr val="00944B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EF4034"/>
                </a:buClr>
                <a:buSzPct val="75000"/>
                <a:buChar char="•"/>
                <a:defRPr sz="24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20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EF4034"/>
                </a:buClr>
                <a:buSzPct val="95000"/>
                <a:buChar char="•"/>
                <a:defRPr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r"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200" smtClean="0">
                  <a:solidFill>
                    <a:srgbClr val="000000"/>
                  </a:solidFill>
                  <a:latin typeface="Calibri" pitchFamily="34" charset="0"/>
                </a:rPr>
                <a:t>Food Category</a:t>
              </a:r>
            </a:p>
            <a:p>
              <a:pPr algn="r"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000" smtClean="0">
                  <a:solidFill>
                    <a:srgbClr val="000000"/>
                  </a:solidFill>
                  <a:latin typeface="Calibri" pitchFamily="34" charset="0"/>
                </a:rPr>
                <a:t>Select from drop-down list</a:t>
              </a:r>
              <a:endParaRPr lang="en-GB" altLang="en-US" sz="900" smtClean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29701" name="TextBox 5"/>
            <p:cNvSpPr txBox="1">
              <a:spLocks noChangeArrowheads="1"/>
            </p:cNvSpPr>
            <p:nvPr/>
          </p:nvSpPr>
          <p:spPr bwMode="auto">
            <a:xfrm>
              <a:off x="4475360" y="1289050"/>
              <a:ext cx="1752403" cy="43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CC0000"/>
                </a:buClr>
                <a:buSzPct val="75000"/>
                <a:buFont typeface="Wingdings" pitchFamily="2" charset="2"/>
                <a:defRPr sz="2800">
                  <a:solidFill>
                    <a:srgbClr val="00944B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EF4034"/>
                </a:buClr>
                <a:buSzPct val="75000"/>
                <a:buChar char="•"/>
                <a:defRPr sz="24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20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EF4034"/>
                </a:buClr>
                <a:buSzPct val="95000"/>
                <a:buChar char="•"/>
                <a:defRPr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algn="r"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200" smtClean="0">
                  <a:solidFill>
                    <a:srgbClr val="000000"/>
                  </a:solidFill>
                  <a:latin typeface="Calibri" pitchFamily="34" charset="0"/>
                </a:rPr>
                <a:t>Commodity Detail</a:t>
              </a:r>
            </a:p>
            <a:p>
              <a:pPr algn="r"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000" smtClean="0">
                  <a:solidFill>
                    <a:srgbClr val="000000"/>
                  </a:solidFill>
                  <a:latin typeface="Calibri" pitchFamily="34" charset="0"/>
                </a:rPr>
                <a:t>Enter as free text – e.g. butter</a:t>
              </a:r>
              <a:endParaRPr lang="en-GB" altLang="en-US" sz="900" smtClean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7" name="Rounded Rectangle 6"/>
            <p:cNvSpPr/>
            <p:nvPr/>
          </p:nvSpPr>
          <p:spPr>
            <a:xfrm>
              <a:off x="2301876" y="1358900"/>
              <a:ext cx="1909762" cy="2159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6227763" y="1358900"/>
              <a:ext cx="1911350" cy="215900"/>
            </a:xfrm>
            <a:prstGeom prst="roundRect">
              <a:avLst/>
            </a:pr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29704" name="TextBox 7"/>
            <p:cNvSpPr txBox="1">
              <a:spLocks noChangeArrowheads="1"/>
            </p:cNvSpPr>
            <p:nvPr/>
          </p:nvSpPr>
          <p:spPr bwMode="auto">
            <a:xfrm>
              <a:off x="2274888" y="1343025"/>
              <a:ext cx="1273105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CC0000"/>
                </a:buClr>
                <a:buSzPct val="75000"/>
                <a:buFont typeface="Wingdings" pitchFamily="2" charset="2"/>
                <a:defRPr sz="2800">
                  <a:solidFill>
                    <a:srgbClr val="00944B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EF4034"/>
                </a:buClr>
                <a:buSzPct val="75000"/>
                <a:buChar char="•"/>
                <a:defRPr sz="24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20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EF4034"/>
                </a:buClr>
                <a:buSzPct val="95000"/>
                <a:buChar char="•"/>
                <a:defRPr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000" smtClean="0">
                  <a:solidFill>
                    <a:srgbClr val="000000"/>
                  </a:solidFill>
                  <a:latin typeface="Calibri" pitchFamily="34" charset="0"/>
                </a:rPr>
                <a:t>Honey and royal jelly</a:t>
              </a:r>
            </a:p>
          </p:txBody>
        </p:sp>
        <p:grpSp>
          <p:nvGrpSpPr>
            <p:cNvPr id="29705" name="Group 33"/>
            <p:cNvGrpSpPr>
              <a:grpSpLocks/>
            </p:cNvGrpSpPr>
            <p:nvPr/>
          </p:nvGrpSpPr>
          <p:grpSpPr bwMode="auto">
            <a:xfrm>
              <a:off x="1139237" y="2501899"/>
              <a:ext cx="6984000" cy="584775"/>
              <a:chOff x="1123872" y="2278033"/>
              <a:chExt cx="6983415" cy="583764"/>
            </a:xfrm>
          </p:grpSpPr>
          <p:sp>
            <p:nvSpPr>
              <p:cNvPr id="29751" name="TextBox 34"/>
              <p:cNvSpPr txBox="1">
                <a:spLocks noChangeArrowheads="1"/>
              </p:cNvSpPr>
              <p:nvPr/>
            </p:nvSpPr>
            <p:spPr bwMode="auto">
              <a:xfrm>
                <a:off x="1123872" y="2278033"/>
                <a:ext cx="1176826" cy="58376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CC0000"/>
                  </a:buClr>
                  <a:buSzPct val="75000"/>
                  <a:buFont typeface="Wingdings" pitchFamily="2" charset="2"/>
                  <a:defRPr sz="2800">
                    <a:solidFill>
                      <a:srgbClr val="00944B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rgbClr val="EF4034"/>
                  </a:buClr>
                  <a:buSzPct val="75000"/>
                  <a:buChar char="•"/>
                  <a:defRPr sz="24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EF4034"/>
                  </a:buClr>
                  <a:buSzPct val="85000"/>
                  <a:buChar char="•"/>
                  <a:defRPr sz="20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rgbClr val="EF4034"/>
                  </a:buClr>
                  <a:buSzPct val="95000"/>
                  <a:buChar char="•"/>
                  <a:defRPr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algn="r"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Description</a:t>
                </a:r>
              </a:p>
              <a:p>
                <a:pPr algn="r"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000" smtClean="0">
                    <a:solidFill>
                      <a:srgbClr val="000000"/>
                    </a:solidFill>
                    <a:latin typeface="Calibri" pitchFamily="34" charset="0"/>
                  </a:rPr>
                  <a:t>Add as free text to </a:t>
                </a:r>
              </a:p>
              <a:p>
                <a:pPr algn="r"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000" smtClean="0">
                    <a:solidFill>
                      <a:srgbClr val="000000"/>
                    </a:solidFill>
                    <a:latin typeface="Calibri" pitchFamily="34" charset="0"/>
                  </a:rPr>
                  <a:t>describe the issue</a:t>
                </a:r>
                <a:endParaRPr lang="en-GB" altLang="en-US" sz="900" smtClean="0">
                  <a:solidFill>
                    <a:srgbClr val="000000"/>
                  </a:solidFill>
                  <a:latin typeface="Calibri" pitchFamily="34" charset="0"/>
                </a:endParaRPr>
              </a:p>
            </p:txBody>
          </p:sp>
          <p:sp>
            <p:nvSpPr>
              <p:cNvPr id="36" name="Rounded Rectangle 35"/>
              <p:cNvSpPr/>
              <p:nvPr/>
            </p:nvSpPr>
            <p:spPr>
              <a:xfrm>
                <a:off x="2300698" y="2349347"/>
                <a:ext cx="5806589" cy="505536"/>
              </a:xfrm>
              <a:prstGeom prst="roundRect">
                <a:avLst/>
              </a:prstGeom>
              <a:noFill/>
              <a:ln w="635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29706" name="Group 11"/>
            <p:cNvGrpSpPr>
              <a:grpSpLocks/>
            </p:cNvGrpSpPr>
            <p:nvPr/>
          </p:nvGrpSpPr>
          <p:grpSpPr bwMode="auto">
            <a:xfrm>
              <a:off x="1531938" y="3160713"/>
              <a:ext cx="2247900" cy="2467342"/>
              <a:chOff x="161307" y="4078233"/>
              <a:chExt cx="2247534" cy="2467709"/>
            </a:xfrm>
          </p:grpSpPr>
          <p:sp>
            <p:nvSpPr>
              <p:cNvPr id="29745" name="TextBox 36"/>
              <p:cNvSpPr txBox="1">
                <a:spLocks noChangeArrowheads="1"/>
              </p:cNvSpPr>
              <p:nvPr/>
            </p:nvSpPr>
            <p:spPr bwMode="auto">
              <a:xfrm>
                <a:off x="161307" y="4078233"/>
                <a:ext cx="1853411" cy="246770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CC0000"/>
                  </a:buClr>
                  <a:buSzPct val="75000"/>
                  <a:buFont typeface="Wingdings" pitchFamily="2" charset="2"/>
                  <a:defRPr sz="2800">
                    <a:solidFill>
                      <a:srgbClr val="00944B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rgbClr val="EF4034"/>
                  </a:buClr>
                  <a:buSzPct val="75000"/>
                  <a:buChar char="•"/>
                  <a:defRPr sz="24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EF4034"/>
                  </a:buClr>
                  <a:buSzPct val="85000"/>
                  <a:buChar char="•"/>
                  <a:defRPr sz="20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rgbClr val="EF4034"/>
                  </a:buClr>
                  <a:buSzPct val="95000"/>
                  <a:buChar char="•"/>
                  <a:defRPr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Type of fraud</a:t>
                </a:r>
              </a:p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000" smtClean="0">
                    <a:solidFill>
                      <a:srgbClr val="000000"/>
                    </a:solidFill>
                    <a:latin typeface="Calibri" pitchFamily="34" charset="0"/>
                  </a:rPr>
                  <a:t>Select one</a:t>
                </a:r>
              </a:p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endParaRPr lang="en-GB" altLang="en-US" sz="1000" smtClean="0">
                  <a:solidFill>
                    <a:srgbClr val="000000"/>
                  </a:solidFill>
                  <a:latin typeface="Calibri" pitchFamily="34" charset="0"/>
                </a:endParaRPr>
              </a:p>
              <a:p>
                <a:pPr fontAlgn="base">
                  <a:lnSpc>
                    <a:spcPts val="165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Dilution</a:t>
                </a:r>
              </a:p>
              <a:p>
                <a:pPr fontAlgn="base">
                  <a:lnSpc>
                    <a:spcPts val="165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Substitution</a:t>
                </a:r>
              </a:p>
              <a:p>
                <a:pPr fontAlgn="base">
                  <a:lnSpc>
                    <a:spcPts val="165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Concealment</a:t>
                </a:r>
              </a:p>
              <a:p>
                <a:pPr fontAlgn="base">
                  <a:lnSpc>
                    <a:spcPts val="165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Mislabelling </a:t>
                </a:r>
              </a:p>
              <a:p>
                <a:pPr fontAlgn="base">
                  <a:lnSpc>
                    <a:spcPts val="165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Unapproved enhancement</a:t>
                </a:r>
              </a:p>
              <a:p>
                <a:pPr fontAlgn="base">
                  <a:lnSpc>
                    <a:spcPts val="165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Grey market</a:t>
                </a:r>
              </a:p>
              <a:p>
                <a:pPr fontAlgn="base">
                  <a:lnSpc>
                    <a:spcPts val="165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Counterfeiting</a:t>
                </a:r>
              </a:p>
              <a:p>
                <a:pPr fontAlgn="base">
                  <a:lnSpc>
                    <a:spcPts val="165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Other</a:t>
                </a:r>
              </a:p>
              <a:p>
                <a:pPr fontAlgn="base">
                  <a:spcBef>
                    <a:spcPct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</a:pPr>
                <a:endParaRPr lang="en-GB" altLang="en-US" sz="900" smtClean="0">
                  <a:solidFill>
                    <a:srgbClr val="000000"/>
                  </a:solidFill>
                  <a:latin typeface="Calibri" pitchFamily="34" charset="0"/>
                </a:endParaRPr>
              </a:p>
            </p:txBody>
          </p:sp>
          <p:pic>
            <p:nvPicPr>
              <p:cNvPr id="29746" name="Picture 2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863" b="-2"/>
              <a:stretch>
                <a:fillRect/>
              </a:stretch>
            </p:blipFill>
            <p:spPr bwMode="auto">
              <a:xfrm>
                <a:off x="2267744" y="4654277"/>
                <a:ext cx="141097" cy="142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9747" name="Picture 2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863" b="-2"/>
              <a:stretch>
                <a:fillRect/>
              </a:stretch>
            </p:blipFill>
            <p:spPr bwMode="auto">
              <a:xfrm>
                <a:off x="2267744" y="4870301"/>
                <a:ext cx="141097" cy="142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9748" name="Picture 2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863" b="-2"/>
              <a:stretch>
                <a:fillRect/>
              </a:stretch>
            </p:blipFill>
            <p:spPr bwMode="auto">
              <a:xfrm>
                <a:off x="2267744" y="5086325"/>
                <a:ext cx="141097" cy="142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9749" name="Picture 2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863" b="-2"/>
              <a:stretch>
                <a:fillRect/>
              </a:stretch>
            </p:blipFill>
            <p:spPr bwMode="auto">
              <a:xfrm>
                <a:off x="2267744" y="5302349"/>
                <a:ext cx="141097" cy="142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9750" name="Picture 2"/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2863" b="-2"/>
              <a:stretch>
                <a:fillRect/>
              </a:stretch>
            </p:blipFill>
            <p:spPr bwMode="auto">
              <a:xfrm>
                <a:off x="2267744" y="5518373"/>
                <a:ext cx="141097" cy="1428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29707" name="Group 21"/>
            <p:cNvGrpSpPr>
              <a:grpSpLocks/>
            </p:cNvGrpSpPr>
            <p:nvPr/>
          </p:nvGrpSpPr>
          <p:grpSpPr bwMode="auto">
            <a:xfrm>
              <a:off x="4597400" y="3159125"/>
              <a:ext cx="2566988" cy="2031325"/>
              <a:chOff x="3012963" y="4077072"/>
              <a:chExt cx="2567149" cy="2030650"/>
            </a:xfrm>
          </p:grpSpPr>
          <p:sp>
            <p:nvSpPr>
              <p:cNvPr id="29742" name="TextBox 43"/>
              <p:cNvSpPr txBox="1">
                <a:spLocks noChangeArrowheads="1"/>
              </p:cNvSpPr>
              <p:nvPr/>
            </p:nvSpPr>
            <p:spPr bwMode="auto">
              <a:xfrm>
                <a:off x="3012963" y="4077072"/>
                <a:ext cx="2357845" cy="20306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CC0000"/>
                  </a:buClr>
                  <a:buSzPct val="75000"/>
                  <a:buFont typeface="Wingdings" pitchFamily="2" charset="2"/>
                  <a:defRPr sz="2800">
                    <a:solidFill>
                      <a:srgbClr val="00944B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rgbClr val="EF4034"/>
                  </a:buClr>
                  <a:buSzPct val="75000"/>
                  <a:buChar char="•"/>
                  <a:defRPr sz="24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EF4034"/>
                  </a:buClr>
                  <a:buSzPct val="85000"/>
                  <a:buChar char="•"/>
                  <a:defRPr sz="20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rgbClr val="EF4034"/>
                  </a:buClr>
                  <a:buSzPct val="95000"/>
                  <a:buChar char="•"/>
                  <a:defRPr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Issue</a:t>
                </a:r>
              </a:p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000" smtClean="0">
                    <a:solidFill>
                      <a:srgbClr val="000000"/>
                    </a:solidFill>
                    <a:latin typeface="Calibri" pitchFamily="34" charset="0"/>
                  </a:rPr>
                  <a:t>Select one or more</a:t>
                </a:r>
              </a:p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endParaRPr lang="en-GB" altLang="en-US" sz="1000" smtClean="0">
                  <a:solidFill>
                    <a:srgbClr val="000000"/>
                  </a:solidFill>
                  <a:latin typeface="Calibri" pitchFamily="34" charset="0"/>
                </a:endParaRPr>
              </a:p>
              <a:p>
                <a:pPr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Product composition</a:t>
                </a:r>
              </a:p>
              <a:p>
                <a:pPr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Geographical origin</a:t>
                </a:r>
              </a:p>
              <a:p>
                <a:pPr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Botanical/Cultivar/Varietal/Species</a:t>
                </a:r>
              </a:p>
              <a:p>
                <a:pPr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Production system/process</a:t>
                </a:r>
              </a:p>
              <a:p>
                <a:pPr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Product quality</a:t>
                </a:r>
              </a:p>
              <a:p>
                <a:pPr fontAlgn="base">
                  <a:lnSpc>
                    <a:spcPts val="17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Other issue</a:t>
                </a:r>
              </a:p>
              <a:p>
                <a:pPr fontAlgn="base">
                  <a:spcBef>
                    <a:spcPct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</a:pPr>
                <a:endParaRPr lang="en-GB" altLang="en-US" sz="900" smtClean="0">
                  <a:solidFill>
                    <a:srgbClr val="000000"/>
                  </a:solidFill>
                  <a:latin typeface="Calibri" pitchFamily="34" charset="0"/>
                </a:endParaRPr>
              </a:p>
            </p:txBody>
          </p:sp>
          <p:pic>
            <p:nvPicPr>
              <p:cNvPr id="29743" name="Picture 3">
                <a:hlinkClick r:id="rId3" action="ppaction://hlinksldjump"/>
              </p:cNvPr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50705" y="4616708"/>
                <a:ext cx="228705" cy="6670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9744" name="Picture 3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51407" y="5267027"/>
                <a:ext cx="228705" cy="66705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29708" name="Group 47"/>
            <p:cNvGrpSpPr>
              <a:grpSpLocks/>
            </p:cNvGrpSpPr>
            <p:nvPr/>
          </p:nvGrpSpPr>
          <p:grpSpPr bwMode="auto">
            <a:xfrm>
              <a:off x="3924300" y="6122988"/>
              <a:ext cx="1223963" cy="276225"/>
              <a:chOff x="3275856" y="4699747"/>
              <a:chExt cx="1224136" cy="276999"/>
            </a:xfrm>
          </p:grpSpPr>
          <p:sp>
            <p:nvSpPr>
              <p:cNvPr id="62" name="Rounded Rectangle 61">
                <a:hlinkClick r:id="" action="ppaction://hlinkshowjump?jump=nextslide"/>
              </p:cNvPr>
              <p:cNvSpPr/>
              <p:nvPr/>
            </p:nvSpPr>
            <p:spPr>
              <a:xfrm>
                <a:off x="3275857" y="4725218"/>
                <a:ext cx="1224135" cy="216505"/>
              </a:xfrm>
              <a:prstGeom prst="roundRect">
                <a:avLst/>
              </a:prstGeom>
              <a:solidFill>
                <a:schemeClr val="bg1">
                  <a:lumMod val="85000"/>
                </a:schemeClr>
              </a:solidFill>
              <a:ln w="12700"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GB">
                  <a:solidFill>
                    <a:prstClr val="white"/>
                  </a:solidFill>
                </a:endParaRPr>
              </a:p>
            </p:txBody>
          </p:sp>
          <p:sp>
            <p:nvSpPr>
              <p:cNvPr id="63" name="TextBox 62">
                <a:hlinkClick r:id="rId5" action="ppaction://hlinksldjump"/>
              </p:cNvPr>
              <p:cNvSpPr txBox="1"/>
              <p:nvPr/>
            </p:nvSpPr>
            <p:spPr>
              <a:xfrm>
                <a:off x="3347864" y="4699747"/>
                <a:ext cx="1096011" cy="276999"/>
              </a:xfrm>
              <a:prstGeom prst="rect">
                <a:avLst/>
              </a:prstGeom>
              <a:noFill/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6350" h="31750"/>
                <a:bevelB w="0"/>
              </a:sp3d>
            </p:spPr>
            <p:txBody>
              <a:bodyPr>
                <a:spAutoFit/>
              </a:bodyPr>
              <a:lstStyle/>
              <a:p>
                <a:pPr algn="ctr">
                  <a:defRPr/>
                </a:pPr>
                <a:r>
                  <a:rPr lang="en-GB" sz="1200" dirty="0">
                    <a:solidFill>
                      <a:prstClr val="black"/>
                    </a:solidFill>
                    <a:latin typeface="Calibri"/>
                  </a:rPr>
                  <a:t>Next screen</a:t>
                </a:r>
              </a:p>
            </p:txBody>
          </p:sp>
        </p:grpSp>
        <p:sp>
          <p:nvSpPr>
            <p:cNvPr id="33" name="Rectangle 32"/>
            <p:cNvSpPr/>
            <p:nvPr/>
          </p:nvSpPr>
          <p:spPr>
            <a:xfrm>
              <a:off x="395288" y="927100"/>
              <a:ext cx="8064500" cy="1079500"/>
            </a:xfrm>
            <a:prstGeom prst="rect">
              <a:avLst/>
            </a:prstGeom>
            <a:noFill/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395288" y="2151063"/>
              <a:ext cx="8064500" cy="3887787"/>
            </a:xfrm>
            <a:prstGeom prst="rect">
              <a:avLst/>
            </a:prstGeom>
            <a:noFill/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GB">
                <a:solidFill>
                  <a:prstClr val="white"/>
                </a:solidFill>
              </a:endParaRPr>
            </a:p>
          </p:txBody>
        </p:sp>
        <p:sp>
          <p:nvSpPr>
            <p:cNvPr id="29711" name="TextBox 47"/>
            <p:cNvSpPr txBox="1">
              <a:spLocks noChangeArrowheads="1"/>
            </p:cNvSpPr>
            <p:nvPr/>
          </p:nvSpPr>
          <p:spPr bwMode="auto">
            <a:xfrm>
              <a:off x="395288" y="927100"/>
              <a:ext cx="1871282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CC0000"/>
                </a:buClr>
                <a:buSzPct val="75000"/>
                <a:buFont typeface="Wingdings" pitchFamily="2" charset="2"/>
                <a:defRPr sz="2800">
                  <a:solidFill>
                    <a:srgbClr val="00944B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EF4034"/>
                </a:buClr>
                <a:buSzPct val="75000"/>
                <a:buChar char="•"/>
                <a:defRPr sz="24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20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EF4034"/>
                </a:buClr>
                <a:buSzPct val="95000"/>
                <a:buChar char="•"/>
                <a:defRPr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600" b="1" smtClean="0">
                  <a:solidFill>
                    <a:srgbClr val="77933C"/>
                  </a:solidFill>
                  <a:latin typeface="Calibri" pitchFamily="34" charset="0"/>
                </a:rPr>
                <a:t>FOOD COMMODITY</a:t>
              </a:r>
            </a:p>
          </p:txBody>
        </p:sp>
        <p:sp>
          <p:nvSpPr>
            <p:cNvPr id="29712" name="TextBox 68"/>
            <p:cNvSpPr txBox="1">
              <a:spLocks noChangeArrowheads="1"/>
            </p:cNvSpPr>
            <p:nvPr/>
          </p:nvSpPr>
          <p:spPr bwMode="auto">
            <a:xfrm>
              <a:off x="395288" y="2173288"/>
              <a:ext cx="2159887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CC0000"/>
                </a:buClr>
                <a:buSzPct val="75000"/>
                <a:buFont typeface="Wingdings" pitchFamily="2" charset="2"/>
                <a:defRPr sz="2800">
                  <a:solidFill>
                    <a:srgbClr val="00944B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EF4034"/>
                </a:buClr>
                <a:buSzPct val="75000"/>
                <a:buChar char="•"/>
                <a:defRPr sz="24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20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EF4034"/>
                </a:buClr>
                <a:buSzPct val="95000"/>
                <a:buChar char="•"/>
                <a:defRPr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600" b="1" smtClean="0">
                  <a:solidFill>
                    <a:srgbClr val="77933C"/>
                  </a:solidFill>
                  <a:latin typeface="Calibri" pitchFamily="34" charset="0"/>
                </a:rPr>
                <a:t>FOOD INTEGRITY ISSUE</a:t>
              </a:r>
            </a:p>
          </p:txBody>
        </p:sp>
        <p:sp>
          <p:nvSpPr>
            <p:cNvPr id="29713" name="TextBox 1"/>
            <p:cNvSpPr txBox="1">
              <a:spLocks noChangeArrowheads="1"/>
            </p:cNvSpPr>
            <p:nvPr/>
          </p:nvSpPr>
          <p:spPr bwMode="auto">
            <a:xfrm>
              <a:off x="6227763" y="1341438"/>
              <a:ext cx="707245" cy="2462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spcBef>
                  <a:spcPct val="20000"/>
                </a:spcBef>
                <a:buClr>
                  <a:srgbClr val="CC0000"/>
                </a:buClr>
                <a:buSzPct val="75000"/>
                <a:buFont typeface="Wingdings" pitchFamily="2" charset="2"/>
                <a:defRPr sz="2800">
                  <a:solidFill>
                    <a:srgbClr val="00944B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EF4034"/>
                </a:buClr>
                <a:buSzPct val="75000"/>
                <a:buChar char="•"/>
                <a:defRPr sz="24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20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EF4034"/>
                </a:buClr>
                <a:buSzPct val="95000"/>
                <a:buChar char="•"/>
                <a:defRPr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000" smtClean="0">
                  <a:solidFill>
                    <a:srgbClr val="000000"/>
                  </a:solidFill>
                  <a:latin typeface="Calibri" pitchFamily="34" charset="0"/>
                </a:rPr>
                <a:t>Royal jelly</a:t>
              </a:r>
            </a:p>
          </p:txBody>
        </p:sp>
        <p:sp>
          <p:nvSpPr>
            <p:cNvPr id="57" name="Rounded Rectangular Callout 56"/>
            <p:cNvSpPr/>
            <p:nvPr/>
          </p:nvSpPr>
          <p:spPr>
            <a:xfrm>
              <a:off x="1997076" y="141288"/>
              <a:ext cx="914400" cy="612775"/>
            </a:xfrm>
            <a:prstGeom prst="wedgeRoundRectCallout">
              <a:avLst>
                <a:gd name="adj1" fmla="val 15924"/>
                <a:gd name="adj2" fmla="val 369161"/>
                <a:gd name="adj3" fmla="val 16667"/>
              </a:avLst>
            </a:prstGeom>
            <a:solidFill>
              <a:srgbClr val="FFFF00">
                <a:alpha val="51000"/>
              </a:srgbClr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GB" sz="1000" dirty="0">
                  <a:solidFill>
                    <a:prstClr val="black"/>
                  </a:solidFill>
                </a:rPr>
                <a:t>Then describe the issue in more detail</a:t>
              </a:r>
            </a:p>
          </p:txBody>
        </p:sp>
        <p:sp>
          <p:nvSpPr>
            <p:cNvPr id="29715" name="TextBox 2"/>
            <p:cNvSpPr txBox="1">
              <a:spLocks noChangeArrowheads="1"/>
            </p:cNvSpPr>
            <p:nvPr/>
          </p:nvSpPr>
          <p:spPr bwMode="auto">
            <a:xfrm>
              <a:off x="2454275" y="2708275"/>
              <a:ext cx="3357563" cy="247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spcBef>
                  <a:spcPct val="20000"/>
                </a:spcBef>
                <a:buClr>
                  <a:srgbClr val="CC0000"/>
                </a:buClr>
                <a:buSzPct val="75000"/>
                <a:buFont typeface="Wingdings" pitchFamily="2" charset="2"/>
                <a:defRPr sz="2800">
                  <a:solidFill>
                    <a:srgbClr val="00944B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spcBef>
                  <a:spcPct val="20000"/>
                </a:spcBef>
                <a:buClr>
                  <a:srgbClr val="EF4034"/>
                </a:buClr>
                <a:buSzPct val="75000"/>
                <a:buChar char="•"/>
                <a:defRPr sz="24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20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EF4034"/>
                </a:buClr>
                <a:buSzPct val="95000"/>
                <a:buChar char="•"/>
                <a:defRPr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spcBef>
                  <a:spcPct val="20000"/>
                </a:spcBef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EF4034"/>
                </a:buClr>
                <a:buSzPct val="85000"/>
                <a:buChar char="•"/>
                <a:defRPr sz="1600">
                  <a:solidFill>
                    <a:srgbClr val="5F5F5F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</a:pPr>
              <a:r>
                <a:rPr lang="en-GB" altLang="en-US" sz="1000" smtClean="0">
                  <a:solidFill>
                    <a:srgbClr val="000000"/>
                  </a:solidFill>
                  <a:latin typeface="Calibri" pitchFamily="34" charset="0"/>
                </a:rPr>
                <a:t>Royal jelly produced from non-authentic saccharide sources </a:t>
              </a:r>
            </a:p>
          </p:txBody>
        </p:sp>
        <p:sp>
          <p:nvSpPr>
            <p:cNvPr id="64" name="Rounded Rectangular Callout 63"/>
            <p:cNvSpPr/>
            <p:nvPr/>
          </p:nvSpPr>
          <p:spPr>
            <a:xfrm>
              <a:off x="128588" y="2470150"/>
              <a:ext cx="1011238" cy="971550"/>
            </a:xfrm>
            <a:prstGeom prst="wedgeRoundRectCallout">
              <a:avLst>
                <a:gd name="adj1" fmla="val 290962"/>
                <a:gd name="adj2" fmla="val 82249"/>
                <a:gd name="adj3" fmla="val 16667"/>
              </a:avLst>
            </a:prstGeom>
            <a:solidFill>
              <a:srgbClr val="FFFF00">
                <a:alpha val="51000"/>
              </a:srgbClr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GB" sz="1000" dirty="0">
                  <a:solidFill>
                    <a:prstClr val="black"/>
                  </a:solidFill>
                </a:rPr>
                <a:t>Define the type of fraud, round buttons allow only one choice</a:t>
              </a:r>
            </a:p>
          </p:txBody>
        </p:sp>
        <p:pic>
          <p:nvPicPr>
            <p:cNvPr id="29717" name="Picture 2">
              <a:hlinkClick r:id="rId3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199" t="12202" r="12201" b="18712"/>
            <a:stretch>
              <a:fillRect/>
            </a:stretch>
          </p:blipFill>
          <p:spPr bwMode="auto">
            <a:xfrm>
              <a:off x="3621088" y="3735388"/>
              <a:ext cx="165100" cy="1508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6" name="Rounded Rectangular Callout 55"/>
            <p:cNvSpPr/>
            <p:nvPr/>
          </p:nvSpPr>
          <p:spPr>
            <a:xfrm>
              <a:off x="7400926" y="3101975"/>
              <a:ext cx="1011237" cy="971550"/>
            </a:xfrm>
            <a:prstGeom prst="wedgeRoundRectCallout">
              <a:avLst>
                <a:gd name="adj1" fmla="val -73371"/>
                <a:gd name="adj2" fmla="val 21512"/>
                <a:gd name="adj3" fmla="val 16667"/>
              </a:avLst>
            </a:prstGeom>
            <a:solidFill>
              <a:srgbClr val="FFFF00">
                <a:alpha val="51000"/>
              </a:srgbClr>
            </a:solidFill>
            <a:ln w="1270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GB" sz="1000" dirty="0">
                  <a:solidFill>
                    <a:prstClr val="black"/>
                  </a:solidFill>
                </a:rPr>
                <a:t>Then define the issue, square boxes allow multiple  selections</a:t>
              </a:r>
            </a:p>
          </p:txBody>
        </p:sp>
        <p:pic>
          <p:nvPicPr>
            <p:cNvPr id="29719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863" b="-2"/>
            <a:stretch>
              <a:fillRect/>
            </a:stretch>
          </p:blipFill>
          <p:spPr bwMode="auto">
            <a:xfrm>
              <a:off x="3635375" y="4797425"/>
              <a:ext cx="141288" cy="142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720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863" b="-2"/>
            <a:stretch>
              <a:fillRect/>
            </a:stretch>
          </p:blipFill>
          <p:spPr bwMode="auto">
            <a:xfrm>
              <a:off x="3635375" y="5013325"/>
              <a:ext cx="141288" cy="142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721" name="Picture 2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863" b="-2"/>
            <a:stretch>
              <a:fillRect/>
            </a:stretch>
          </p:blipFill>
          <p:spPr bwMode="auto">
            <a:xfrm>
              <a:off x="3635375" y="5229225"/>
              <a:ext cx="141288" cy="142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29722" name="Group 69"/>
            <p:cNvGrpSpPr>
              <a:grpSpLocks/>
            </p:cNvGrpSpPr>
            <p:nvPr/>
          </p:nvGrpSpPr>
          <p:grpSpPr bwMode="auto">
            <a:xfrm>
              <a:off x="611188" y="5373691"/>
              <a:ext cx="7632700" cy="869469"/>
              <a:chOff x="611561" y="5373216"/>
              <a:chExt cx="7632847" cy="870577"/>
            </a:xfrm>
          </p:grpSpPr>
          <p:grpSp>
            <p:nvGrpSpPr>
              <p:cNvPr id="29723" name="Group 70"/>
              <p:cNvGrpSpPr>
                <a:grpSpLocks/>
              </p:cNvGrpSpPr>
              <p:nvPr/>
            </p:nvGrpSpPr>
            <p:grpSpPr bwMode="auto">
              <a:xfrm>
                <a:off x="3047151" y="5436653"/>
                <a:ext cx="5197257" cy="584635"/>
                <a:chOff x="3047151" y="5436653"/>
                <a:chExt cx="5197257" cy="584635"/>
              </a:xfrm>
            </p:grpSpPr>
            <p:grpSp>
              <p:nvGrpSpPr>
                <p:cNvPr id="29725" name="Group 72"/>
                <p:cNvGrpSpPr>
                  <a:grpSpLocks/>
                </p:cNvGrpSpPr>
                <p:nvPr/>
              </p:nvGrpSpPr>
              <p:grpSpPr bwMode="auto">
                <a:xfrm>
                  <a:off x="3179550" y="5436653"/>
                  <a:ext cx="3144941" cy="147943"/>
                  <a:chOff x="4090509" y="3250663"/>
                  <a:chExt cx="2636390" cy="147943"/>
                </a:xfrm>
              </p:grpSpPr>
              <p:pic>
                <p:nvPicPr>
                  <p:cNvPr id="29734" name="Picture 2"/>
                  <p:cNvPicPr>
                    <a:picLocks noChangeAspect="1" noChangeArrowheads="1"/>
                  </p:cNvPicPr>
                  <p:nvPr/>
                </p:nvPicPr>
                <p:blipFill>
                  <a:blip r:embed="rId2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12863" b="-2"/>
                  <a:stretch>
                    <a:fillRect/>
                  </a:stretch>
                </p:blipFill>
                <p:spPr bwMode="auto">
                  <a:xfrm>
                    <a:off x="4090509" y="3255731"/>
                    <a:ext cx="141097" cy="1428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9735" name="Picture 2"/>
                  <p:cNvPicPr>
                    <a:picLocks noChangeAspect="1" noChangeArrowheads="1"/>
                  </p:cNvPicPr>
                  <p:nvPr/>
                </p:nvPicPr>
                <p:blipFill>
                  <a:blip r:embed="rId2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12863" b="-2"/>
                  <a:stretch>
                    <a:fillRect/>
                  </a:stretch>
                </p:blipFill>
                <p:spPr bwMode="auto">
                  <a:xfrm>
                    <a:off x="4654154" y="3253197"/>
                    <a:ext cx="141097" cy="1428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9736" name="Picture 2"/>
                  <p:cNvPicPr>
                    <a:picLocks noChangeAspect="1" noChangeArrowheads="1"/>
                  </p:cNvPicPr>
                  <p:nvPr/>
                </p:nvPicPr>
                <p:blipFill>
                  <a:blip r:embed="rId2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12863" b="-2"/>
                  <a:stretch>
                    <a:fillRect/>
                  </a:stretch>
                </p:blipFill>
                <p:spPr bwMode="auto">
                  <a:xfrm>
                    <a:off x="5137066" y="3250663"/>
                    <a:ext cx="141097" cy="1428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pic>
                <p:nvPicPr>
                  <p:cNvPr id="29737" name="Picture 2"/>
                  <p:cNvPicPr>
                    <a:picLocks noChangeAspect="1" noChangeArrowheads="1"/>
                  </p:cNvPicPr>
                  <p:nvPr/>
                </p:nvPicPr>
                <p:blipFill>
                  <a:blip r:embed="rId2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l="12863" b="-2"/>
                  <a:stretch>
                    <a:fillRect/>
                  </a:stretch>
                </p:blipFill>
                <p:spPr bwMode="auto">
                  <a:xfrm>
                    <a:off x="6585802" y="3255731"/>
                    <a:ext cx="141097" cy="142875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</p:grpSp>
            <p:pic>
              <p:nvPicPr>
                <p:cNvPr id="29726" name="Picture 3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68332"/>
                <a:stretch>
                  <a:fillRect/>
                </a:stretch>
              </p:blipFill>
              <p:spPr bwMode="auto">
                <a:xfrm>
                  <a:off x="3623215" y="5589240"/>
                  <a:ext cx="228705" cy="21124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9727" name="Picture 3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68332"/>
                <a:stretch>
                  <a:fillRect/>
                </a:stretch>
              </p:blipFill>
              <p:spPr bwMode="auto">
                <a:xfrm>
                  <a:off x="5004048" y="5589240"/>
                  <a:ext cx="228705" cy="21124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9728" name="Picture 3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68332"/>
                <a:stretch>
                  <a:fillRect/>
                </a:stretch>
              </p:blipFill>
              <p:spPr bwMode="auto">
                <a:xfrm>
                  <a:off x="6444208" y="5589240"/>
                  <a:ext cx="228705" cy="21124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9729" name="Picture 3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68332"/>
                <a:stretch>
                  <a:fillRect/>
                </a:stretch>
              </p:blipFill>
              <p:spPr bwMode="auto">
                <a:xfrm>
                  <a:off x="7092280" y="5589240"/>
                  <a:ext cx="228705" cy="21124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9730" name="Picture 3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68332"/>
                <a:stretch>
                  <a:fillRect/>
                </a:stretch>
              </p:blipFill>
              <p:spPr bwMode="auto">
                <a:xfrm>
                  <a:off x="8015703" y="5589240"/>
                  <a:ext cx="228705" cy="21124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9731" name="Picture 3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68332"/>
                <a:stretch>
                  <a:fillRect/>
                </a:stretch>
              </p:blipFill>
              <p:spPr bwMode="auto">
                <a:xfrm>
                  <a:off x="3839239" y="5810044"/>
                  <a:ext cx="228705" cy="21124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9732" name="Picture 3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68332"/>
                <a:stretch>
                  <a:fillRect/>
                </a:stretch>
              </p:blipFill>
              <p:spPr bwMode="auto">
                <a:xfrm>
                  <a:off x="4788024" y="5805264"/>
                  <a:ext cx="228705" cy="21124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29733" name="Picture 3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68332"/>
                <a:stretch>
                  <a:fillRect/>
                </a:stretch>
              </p:blipFill>
              <p:spPr bwMode="auto">
                <a:xfrm>
                  <a:off x="3047151" y="5805264"/>
                  <a:ext cx="228705" cy="21124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sp>
            <p:nvSpPr>
              <p:cNvPr id="29724" name="TextBox 71"/>
              <p:cNvSpPr txBox="1">
                <a:spLocks noChangeArrowheads="1"/>
              </p:cNvSpPr>
              <p:nvPr/>
            </p:nvSpPr>
            <p:spPr bwMode="auto">
              <a:xfrm>
                <a:off x="611561" y="5373216"/>
                <a:ext cx="7554842" cy="8705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>
                <a:spAutoFit/>
              </a:bodyPr>
              <a:lstStyle>
                <a:lvl1pPr>
                  <a:spcBef>
                    <a:spcPct val="20000"/>
                  </a:spcBef>
                  <a:buClr>
                    <a:srgbClr val="CC0000"/>
                  </a:buClr>
                  <a:buSzPct val="75000"/>
                  <a:buFont typeface="Wingdings" pitchFamily="2" charset="2"/>
                  <a:defRPr sz="2800">
                    <a:solidFill>
                      <a:srgbClr val="00944B"/>
                    </a:solidFill>
                    <a:latin typeface="Arial" pitchFamily="34" charset="0"/>
                    <a:cs typeface="Arial" pitchFamily="34" charset="0"/>
                  </a:defRPr>
                </a:lvl1pPr>
                <a:lvl2pPr marL="742950" indent="-285750">
                  <a:spcBef>
                    <a:spcPct val="20000"/>
                  </a:spcBef>
                  <a:buClr>
                    <a:srgbClr val="EF4034"/>
                  </a:buClr>
                  <a:buSzPct val="75000"/>
                  <a:buChar char="•"/>
                  <a:defRPr sz="24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2pPr>
                <a:lvl3pPr marL="1143000" indent="-228600">
                  <a:spcBef>
                    <a:spcPct val="20000"/>
                  </a:spcBef>
                  <a:buClr>
                    <a:srgbClr val="EF4034"/>
                  </a:buClr>
                  <a:buSzPct val="85000"/>
                  <a:buChar char="•"/>
                  <a:defRPr sz="20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3pPr>
                <a:lvl4pPr marL="1600200" indent="-228600">
                  <a:spcBef>
                    <a:spcPct val="20000"/>
                  </a:spcBef>
                  <a:buClr>
                    <a:srgbClr val="EF4034"/>
                  </a:buClr>
                  <a:buSzPct val="95000"/>
                  <a:buChar char="•"/>
                  <a:defRPr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4pPr>
                <a:lvl5pPr marL="2057400" indent="-228600">
                  <a:spcBef>
                    <a:spcPct val="20000"/>
                  </a:spcBef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5pPr>
                <a:lvl6pPr marL="25146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6pPr>
                <a:lvl7pPr marL="29718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7pPr>
                <a:lvl8pPr marL="34290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8pPr>
                <a:lvl9pPr marL="3886200" indent="-22860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rgbClr val="EF4034"/>
                  </a:buClr>
                  <a:buSzPct val="85000"/>
                  <a:buChar char="•"/>
                  <a:defRPr sz="1600">
                    <a:solidFill>
                      <a:srgbClr val="5F5F5F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Importance    Incidence:          very often        often          rare          no longer encountered</a:t>
                </a:r>
              </a:p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Location in supply chain:  Agricultural producer        Storage/transport       Food manufacturer       Trader        Distributer</a:t>
                </a:r>
              </a:p>
              <a:p>
                <a:pPr fontAlgn="base">
                  <a:spcBef>
                    <a:spcPts val="30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r>
                  <a:rPr lang="en-GB" altLang="en-US" sz="1200" smtClean="0">
                    <a:solidFill>
                      <a:srgbClr val="000000"/>
                    </a:solidFill>
                    <a:latin typeface="Calibri" pitchFamily="34" charset="0"/>
                  </a:rPr>
                  <a:t>                                              Wholesaler        Retailer            Unknown</a:t>
                </a:r>
              </a:p>
              <a:p>
                <a:pPr fontAlgn="base"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</a:pPr>
                <a:endParaRPr lang="en-GB" altLang="en-US" sz="1200" smtClean="0">
                  <a:solidFill>
                    <a:srgbClr val="000000"/>
                  </a:solidFill>
                  <a:latin typeface="Calibri" pitchFamily="34" charset="0"/>
                </a:endParaRPr>
              </a:p>
            </p:txBody>
          </p:sp>
        </p:grp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722" name="Group 3"/>
          <p:cNvGrpSpPr>
            <a:grpSpLocks/>
          </p:cNvGrpSpPr>
          <p:nvPr/>
        </p:nvGrpSpPr>
        <p:grpSpPr bwMode="auto">
          <a:xfrm>
            <a:off x="0" y="0"/>
            <a:ext cx="9144000" cy="6858000"/>
            <a:chOff x="0" y="-1"/>
            <a:chExt cx="9144000" cy="6858001"/>
          </a:xfrm>
        </p:grpSpPr>
        <p:pic>
          <p:nvPicPr>
            <p:cNvPr id="30725" name="Picture 2">
              <a:hlinkClick r:id="rId2" action="ppaction://hlinksldjump"/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-1"/>
              <a:ext cx="9144000" cy="44277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726" name="Picture 3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660"/>
            <a:stretch>
              <a:fillRect/>
            </a:stretch>
          </p:blipFill>
          <p:spPr bwMode="auto">
            <a:xfrm>
              <a:off x="0" y="2647950"/>
              <a:ext cx="9144000" cy="4210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727" name="Picture 4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47663" y="2508340"/>
              <a:ext cx="6108135" cy="20058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" name="Rectangle 4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30724" name="TextBox 1"/>
          <p:cNvSpPr txBox="1">
            <a:spLocks noChangeArrowheads="1"/>
          </p:cNvSpPr>
          <p:nvPr/>
        </p:nvSpPr>
        <p:spPr bwMode="auto">
          <a:xfrm>
            <a:off x="2700338" y="260350"/>
            <a:ext cx="381635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SzPct val="75000"/>
              <a:buFont typeface="Wingdings" pitchFamily="2" charset="2"/>
              <a:defRPr sz="2800">
                <a:solidFill>
                  <a:srgbClr val="00944B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EF4034"/>
              </a:buClr>
              <a:buSzPct val="75000"/>
              <a:buChar char="•"/>
              <a:defRPr sz="24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20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EF4034"/>
              </a:buClr>
              <a:buSzPct val="95000"/>
              <a:buChar char="•"/>
              <a:defRPr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altLang="en-US" sz="1800" smtClean="0">
                <a:solidFill>
                  <a:srgbClr val="003366"/>
                </a:solidFill>
              </a:rPr>
              <a:t>Food Integrity Websit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Impact</a:t>
            </a:r>
            <a:endParaRPr lang="en-GB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4294967295"/>
          </p:nvPr>
        </p:nvGraphicFramePr>
        <p:xfrm>
          <a:off x="755657" y="762000"/>
          <a:ext cx="8388351" cy="6096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87379"/>
                <a:gridCol w="2656311"/>
                <a:gridCol w="3844661"/>
              </a:tblGrid>
              <a:tr h="622913">
                <a:tc>
                  <a:txBody>
                    <a:bodyPr/>
                    <a:lstStyle/>
                    <a:p>
                      <a:r>
                        <a:rPr lang="en-GB" dirty="0" smtClean="0"/>
                        <a:t>Expected</a:t>
                      </a:r>
                      <a:r>
                        <a:rPr lang="en-GB" baseline="0" dirty="0" smtClean="0"/>
                        <a:t> Impact</a:t>
                      </a:r>
                      <a:endParaRPr lang="en-GB" dirty="0"/>
                    </a:p>
                  </a:txBody>
                  <a:tcPr marL="91446" marR="91446"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FI</a:t>
                      </a:r>
                      <a:r>
                        <a:rPr lang="en-GB" baseline="0" dirty="0" smtClean="0"/>
                        <a:t> Impact</a:t>
                      </a:r>
                      <a:endParaRPr lang="en-GB" dirty="0"/>
                    </a:p>
                  </a:txBody>
                  <a:tcPr marL="91446" marR="91446"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Relevant FI Output</a:t>
                      </a:r>
                      <a:endParaRPr lang="en-GB" dirty="0"/>
                    </a:p>
                  </a:txBody>
                  <a:tcPr marL="91446" marR="91446"/>
                </a:tc>
              </a:tr>
              <a:tr h="919539">
                <a:tc>
                  <a:txBody>
                    <a:bodyPr/>
                    <a:lstStyle/>
                    <a:p>
                      <a:r>
                        <a:rPr lang="en-GB" sz="1400" b="1" dirty="0" smtClean="0"/>
                        <a:t>Increasing EU added value through the concept of Food Integrity</a:t>
                      </a:r>
                      <a:endParaRPr lang="en-GB" sz="1400" b="1" dirty="0"/>
                    </a:p>
                  </a:txBody>
                  <a:tcPr marL="91446" marR="91446"/>
                </a:tc>
                <a:tc>
                  <a:txBody>
                    <a:bodyPr/>
                    <a:lstStyle/>
                    <a:p>
                      <a:r>
                        <a:rPr lang="en-GB" sz="1400" i="1" dirty="0" smtClean="0"/>
                        <a:t>Improved capability of stakeholders </a:t>
                      </a:r>
                      <a:r>
                        <a:rPr lang="en-GB" sz="1400" i="1" dirty="0" err="1" smtClean="0"/>
                        <a:t>wrt</a:t>
                      </a:r>
                      <a:r>
                        <a:rPr lang="en-GB" sz="1400" i="1" dirty="0" smtClean="0"/>
                        <a:t> food fraud, </a:t>
                      </a:r>
                      <a:r>
                        <a:rPr lang="en-GB" sz="1400" i="1" dirty="0" err="1" smtClean="0"/>
                        <a:t>comms</a:t>
                      </a:r>
                      <a:r>
                        <a:rPr lang="en-GB" sz="1400" i="1" dirty="0" smtClean="0"/>
                        <a:t>, systems, methods, intelligence</a:t>
                      </a:r>
                      <a:endParaRPr lang="en-GB" sz="1400" i="1" dirty="0"/>
                    </a:p>
                  </a:txBody>
                  <a:tcPr marL="91446" marR="91446"/>
                </a:tc>
                <a:tc>
                  <a:txBody>
                    <a:bodyPr/>
                    <a:lstStyle/>
                    <a:p>
                      <a:r>
                        <a:rPr lang="en-GB" sz="1400" i="1" dirty="0" smtClean="0"/>
                        <a:t>KB, Network, workshops, Early Warning Systems (EWS), rapid methods, improved food assurance. Scientific Opinions, </a:t>
                      </a:r>
                      <a:r>
                        <a:rPr lang="en-GB" sz="1400" i="1" baseline="0" dirty="0" smtClean="0"/>
                        <a:t> Dissemination and promotion of FI concept.</a:t>
                      </a:r>
                      <a:endParaRPr lang="en-GB" sz="1400" i="1" dirty="0"/>
                    </a:p>
                  </a:txBody>
                  <a:tcPr marL="91446" marR="91446"/>
                </a:tc>
              </a:tr>
              <a:tr h="919539">
                <a:tc>
                  <a:txBody>
                    <a:bodyPr/>
                    <a:lstStyle/>
                    <a:p>
                      <a:r>
                        <a:rPr lang="en-GB" sz="1400" b="1" dirty="0" smtClean="0"/>
                        <a:t>Strengthen</a:t>
                      </a:r>
                      <a:r>
                        <a:rPr lang="en-GB" sz="1400" b="1" baseline="0" dirty="0" smtClean="0"/>
                        <a:t> the competitiveness of EU food producers</a:t>
                      </a:r>
                      <a:endParaRPr lang="en-GB" sz="1400" b="1" dirty="0"/>
                    </a:p>
                  </a:txBody>
                  <a:tcPr marL="91446" marR="91446"/>
                </a:tc>
                <a:tc>
                  <a:txBody>
                    <a:bodyPr/>
                    <a:lstStyle/>
                    <a:p>
                      <a:r>
                        <a:rPr lang="en-GB" sz="1400" i="1" dirty="0" smtClean="0"/>
                        <a:t>FI systems and outputs help protect industry added value.</a:t>
                      </a:r>
                      <a:endParaRPr lang="en-GB" sz="1400" i="1" dirty="0"/>
                    </a:p>
                  </a:txBody>
                  <a:tcPr marL="91446" marR="91446"/>
                </a:tc>
                <a:tc>
                  <a:txBody>
                    <a:bodyPr/>
                    <a:lstStyle/>
                    <a:p>
                      <a:r>
                        <a:rPr lang="en-GB" sz="1400" i="1" dirty="0" smtClean="0"/>
                        <a:t>Industry implementation.</a:t>
                      </a:r>
                      <a:r>
                        <a:rPr lang="en-GB" sz="1400" i="1" baseline="0" dirty="0" smtClean="0"/>
                        <a:t> </a:t>
                      </a:r>
                      <a:r>
                        <a:rPr lang="en-GB" sz="1400" i="1" dirty="0" smtClean="0"/>
                        <a:t>Rapid methods, assurance systems, EWS,</a:t>
                      </a:r>
                      <a:r>
                        <a:rPr lang="en-GB" sz="1400" i="1" baseline="0" dirty="0" smtClean="0"/>
                        <a:t> improved understanding of consumer attitudes to EU exports.</a:t>
                      </a:r>
                      <a:endParaRPr lang="en-GB" sz="1400" i="1" dirty="0"/>
                    </a:p>
                  </a:txBody>
                  <a:tcPr marL="91446" marR="91446"/>
                </a:tc>
              </a:tr>
              <a:tr h="919539">
                <a:tc>
                  <a:txBody>
                    <a:bodyPr/>
                    <a:lstStyle/>
                    <a:p>
                      <a:r>
                        <a:rPr lang="en-GB" sz="1400" b="1" dirty="0" smtClean="0"/>
                        <a:t>Improved communication of quality attributes</a:t>
                      </a:r>
                      <a:endParaRPr lang="en-GB" sz="1400" b="1" dirty="0"/>
                    </a:p>
                  </a:txBody>
                  <a:tcPr marL="91446" marR="91446"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Improved</a:t>
                      </a:r>
                      <a:r>
                        <a:rPr lang="en-GB" sz="1400" baseline="0" dirty="0" smtClean="0"/>
                        <a:t> understanding of attitudes, preferences and expectations for European and Chinese consumers </a:t>
                      </a:r>
                      <a:endParaRPr lang="en-GB" sz="1400" dirty="0"/>
                    </a:p>
                  </a:txBody>
                  <a:tcPr marL="91446" marR="91446"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Consumer behaviour</a:t>
                      </a:r>
                      <a:r>
                        <a:rPr lang="en-GB" sz="1400" baseline="0" dirty="0" smtClean="0"/>
                        <a:t> study in China. Toolbox for EU exporters to China</a:t>
                      </a:r>
                      <a:endParaRPr lang="en-GB" sz="1400" dirty="0"/>
                    </a:p>
                  </a:txBody>
                  <a:tcPr marL="91446" marR="91446"/>
                </a:tc>
              </a:tr>
              <a:tr h="919539">
                <a:tc>
                  <a:txBody>
                    <a:bodyPr/>
                    <a:lstStyle/>
                    <a:p>
                      <a:r>
                        <a:rPr lang="en-GB" sz="1400" b="1" dirty="0" smtClean="0"/>
                        <a:t>Reduce trading blocks</a:t>
                      </a:r>
                      <a:endParaRPr lang="en-GB" sz="1400" b="1" dirty="0"/>
                    </a:p>
                  </a:txBody>
                  <a:tcPr marL="91446" marR="91446"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Enhanced assurance of EU products will reduce likelihood</a:t>
                      </a:r>
                      <a:r>
                        <a:rPr lang="en-GB" sz="1400" baseline="0" dirty="0" smtClean="0"/>
                        <a:t> of counterfeit EU products being on sale in foreign markets.</a:t>
                      </a:r>
                      <a:endParaRPr lang="en-GB" sz="1400" dirty="0"/>
                    </a:p>
                  </a:txBody>
                  <a:tcPr marL="91446" marR="91446"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Fit for purpose</a:t>
                      </a:r>
                      <a:r>
                        <a:rPr lang="en-GB" sz="1400" baseline="0" dirty="0" smtClean="0"/>
                        <a:t> industry assurance applications and systems. Enhanced knowledge of food authenticity issues, risks and mitigation strategies.</a:t>
                      </a:r>
                      <a:endParaRPr lang="en-GB" sz="1400" dirty="0"/>
                    </a:p>
                  </a:txBody>
                  <a:tcPr marL="91446" marR="91446"/>
                </a:tc>
              </a:tr>
              <a:tr h="711901">
                <a:tc>
                  <a:txBody>
                    <a:bodyPr/>
                    <a:lstStyle/>
                    <a:p>
                      <a:r>
                        <a:rPr lang="en-GB" sz="1400" b="1" dirty="0" smtClean="0"/>
                        <a:t>Restore consumer confidence</a:t>
                      </a:r>
                      <a:endParaRPr lang="en-GB" sz="1400" b="1" dirty="0"/>
                    </a:p>
                  </a:txBody>
                  <a:tcPr marL="91446" marR="91446"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Stakeholders embrace FI concept and implement</a:t>
                      </a:r>
                      <a:r>
                        <a:rPr lang="en-GB" sz="1400" baseline="0" dirty="0" smtClean="0"/>
                        <a:t> strategy</a:t>
                      </a:r>
                      <a:endParaRPr lang="en-GB" sz="1400" dirty="0"/>
                    </a:p>
                  </a:txBody>
                  <a:tcPr marL="91446" marR="91446"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Dissemination and</a:t>
                      </a:r>
                      <a:r>
                        <a:rPr lang="en-GB" sz="1400" baseline="0" dirty="0" smtClean="0"/>
                        <a:t> engagement activities (network, workshops, social media) with input from Industry and Consumer groups (Which?)</a:t>
                      </a:r>
                      <a:endParaRPr lang="en-GB" sz="1400" dirty="0"/>
                    </a:p>
                  </a:txBody>
                  <a:tcPr marL="91446" marR="91446"/>
                </a:tc>
              </a:tr>
              <a:tr h="504263">
                <a:tc>
                  <a:txBody>
                    <a:bodyPr/>
                    <a:lstStyle/>
                    <a:p>
                      <a:r>
                        <a:rPr lang="en-GB" sz="1400" b="1" dirty="0" smtClean="0"/>
                        <a:t>Support EU Policies</a:t>
                      </a:r>
                      <a:endParaRPr lang="en-GB" sz="1400" b="1" dirty="0"/>
                    </a:p>
                  </a:txBody>
                  <a:tcPr marL="91446" marR="91446"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Provide input</a:t>
                      </a:r>
                      <a:r>
                        <a:rPr lang="en-GB" sz="1400" baseline="0" dirty="0" smtClean="0"/>
                        <a:t> into EU for and committees</a:t>
                      </a:r>
                      <a:endParaRPr lang="en-GB" sz="1400" dirty="0"/>
                    </a:p>
                  </a:txBody>
                  <a:tcPr marL="91446" marR="91446"/>
                </a:tc>
                <a:tc>
                  <a:txBody>
                    <a:bodyPr/>
                    <a:lstStyle/>
                    <a:p>
                      <a:r>
                        <a:rPr lang="en-GB" sz="1400" dirty="0" smtClean="0"/>
                        <a:t>Strong</a:t>
                      </a:r>
                      <a:r>
                        <a:rPr lang="en-GB" sz="1400" baseline="0" dirty="0" smtClean="0"/>
                        <a:t> active links with DG </a:t>
                      </a:r>
                      <a:r>
                        <a:rPr lang="en-GB" sz="1400" baseline="0" dirty="0" err="1" smtClean="0"/>
                        <a:t>Agri</a:t>
                      </a:r>
                      <a:r>
                        <a:rPr lang="en-GB" sz="1400" baseline="0" dirty="0" smtClean="0"/>
                        <a:t>, DG </a:t>
                      </a:r>
                      <a:r>
                        <a:rPr lang="en-GB" sz="1400" baseline="0" dirty="0" err="1" smtClean="0"/>
                        <a:t>Sante</a:t>
                      </a:r>
                      <a:r>
                        <a:rPr lang="en-GB" sz="1400" baseline="0" dirty="0" smtClean="0"/>
                        <a:t>, DG Research, JRC’s, EFSA.</a:t>
                      </a:r>
                      <a:endParaRPr lang="en-GB" sz="1400" dirty="0"/>
                    </a:p>
                  </a:txBody>
                  <a:tcPr marL="91446" marR="91446"/>
                </a:tc>
              </a:tr>
            </a:tbl>
          </a:graphicData>
        </a:graphic>
      </p:graphicFrame>
      <p:sp>
        <p:nvSpPr>
          <p:cNvPr id="31782" name="TextBox 3"/>
          <p:cNvSpPr txBox="1">
            <a:spLocks noChangeArrowheads="1"/>
          </p:cNvSpPr>
          <p:nvPr/>
        </p:nvSpPr>
        <p:spPr bwMode="auto">
          <a:xfrm>
            <a:off x="755706" y="188913"/>
            <a:ext cx="3529013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SzPct val="75000"/>
              <a:buFont typeface="Wingdings" pitchFamily="2" charset="2"/>
              <a:defRPr sz="2800">
                <a:solidFill>
                  <a:srgbClr val="00944B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EF4034"/>
              </a:buClr>
              <a:buSzPct val="75000"/>
              <a:buChar char="•"/>
              <a:defRPr sz="24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20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EF4034"/>
              </a:buClr>
              <a:buSzPct val="95000"/>
              <a:buChar char="•"/>
              <a:defRPr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altLang="en-US" sz="3200" b="1" smtClean="0">
                <a:solidFill>
                  <a:srgbClr val="003366"/>
                </a:solidFill>
              </a:rPr>
              <a:t>Impact</a:t>
            </a:r>
          </a:p>
        </p:txBody>
      </p:sp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9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/>
          </p:nvPr>
        </p:nvSpPr>
        <p:spPr>
          <a:xfrm>
            <a:off x="823913" y="44562"/>
            <a:ext cx="7924800" cy="720725"/>
          </a:xfrm>
        </p:spPr>
        <p:txBody>
          <a:bodyPr/>
          <a:lstStyle/>
          <a:p>
            <a:pPr eaLnBrk="1" hangingPunct="1"/>
            <a:r>
              <a:rPr lang="en-US" altLang="cs-CZ" b="1" smtClean="0">
                <a:latin typeface="Calibri" pitchFamily="34" charset="0"/>
              </a:rPr>
              <a:t>Lessons learnt</a:t>
            </a:r>
          </a:p>
        </p:txBody>
      </p:sp>
      <p:sp>
        <p:nvSpPr>
          <p:cNvPr id="32771" name="Rectangle 3"/>
          <p:cNvSpPr>
            <a:spLocks noGrp="1" noChangeArrowheads="1"/>
          </p:cNvSpPr>
          <p:nvPr>
            <p:ph idx="1"/>
          </p:nvPr>
        </p:nvSpPr>
        <p:spPr>
          <a:xfrm>
            <a:off x="912813" y="1196978"/>
            <a:ext cx="7835900" cy="4752975"/>
          </a:xfrm>
        </p:spPr>
        <p:txBody>
          <a:bodyPr/>
          <a:lstStyle/>
          <a:p>
            <a:pPr eaLnBrk="1" hangingPunct="1"/>
            <a:endParaRPr lang="en-US" altLang="cs-CZ" smtClean="0">
              <a:latin typeface="Calibri" pitchFamily="34" charset="0"/>
            </a:endParaRPr>
          </a:p>
        </p:txBody>
      </p:sp>
      <p:graphicFrame>
        <p:nvGraphicFramePr>
          <p:cNvPr id="2" name="Table 1"/>
          <p:cNvGraphicFramePr>
            <a:graphicFrameLocks noGrp="1"/>
          </p:cNvGraphicFramePr>
          <p:nvPr/>
        </p:nvGraphicFramePr>
        <p:xfrm>
          <a:off x="827089" y="1125543"/>
          <a:ext cx="8135938" cy="500889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7969"/>
                <a:gridCol w="4067969"/>
              </a:tblGrid>
              <a:tr h="630471">
                <a:tc>
                  <a:txBody>
                    <a:bodyPr/>
                    <a:lstStyle/>
                    <a:p>
                      <a:r>
                        <a:rPr lang="en-GB" sz="1800" dirty="0" smtClean="0"/>
                        <a:t>Successes</a:t>
                      </a:r>
                      <a:endParaRPr lang="en-GB" sz="1800" dirty="0"/>
                    </a:p>
                  </a:txBody>
                  <a:tcPr marL="91429" marR="91429" marT="45691" marB="45691"/>
                </a:tc>
                <a:tc>
                  <a:txBody>
                    <a:bodyPr/>
                    <a:lstStyle/>
                    <a:p>
                      <a:r>
                        <a:rPr lang="en-GB" sz="1800" dirty="0" smtClean="0"/>
                        <a:t>Challenges</a:t>
                      </a:r>
                      <a:endParaRPr lang="en-GB" sz="1800" dirty="0"/>
                    </a:p>
                  </a:txBody>
                  <a:tcPr marL="91429" marR="91429" marT="45691" marB="45691"/>
                </a:tc>
              </a:tr>
              <a:tr h="639966">
                <a:tc>
                  <a:txBody>
                    <a:bodyPr/>
                    <a:lstStyle/>
                    <a:p>
                      <a:r>
                        <a:rPr lang="en-GB" sz="1800" dirty="0" smtClean="0"/>
                        <a:t>Stakeholder engagement</a:t>
                      </a:r>
                      <a:endParaRPr lang="en-GB" sz="1800" dirty="0"/>
                    </a:p>
                  </a:txBody>
                  <a:tcPr marL="91429" marR="91429" marT="45691" marB="45691"/>
                </a:tc>
                <a:tc>
                  <a:txBody>
                    <a:bodyPr/>
                    <a:lstStyle/>
                    <a:p>
                      <a:r>
                        <a:rPr lang="en-GB" sz="1800" dirty="0" smtClean="0"/>
                        <a:t>Stakeholder</a:t>
                      </a:r>
                      <a:r>
                        <a:rPr lang="en-GB" sz="1800" baseline="0" dirty="0" smtClean="0"/>
                        <a:t> patience (research project not operational activity)</a:t>
                      </a:r>
                      <a:endParaRPr lang="en-GB" sz="1800" dirty="0"/>
                    </a:p>
                  </a:txBody>
                  <a:tcPr marL="91429" marR="91429" marT="45691" marB="45691"/>
                </a:tc>
              </a:tr>
              <a:tr h="639966">
                <a:tc>
                  <a:txBody>
                    <a:bodyPr/>
                    <a:lstStyle/>
                    <a:p>
                      <a:r>
                        <a:rPr lang="en-GB" sz="1800" dirty="0" smtClean="0"/>
                        <a:t>Excellent consortium- delivering</a:t>
                      </a:r>
                      <a:endParaRPr lang="en-GB" sz="1800" dirty="0"/>
                    </a:p>
                  </a:txBody>
                  <a:tcPr marL="91429" marR="91429" marT="45691" marB="45691"/>
                </a:tc>
                <a:tc>
                  <a:txBody>
                    <a:bodyPr/>
                    <a:lstStyle/>
                    <a:p>
                      <a:r>
                        <a:rPr lang="en-GB" sz="1800" dirty="0" smtClean="0"/>
                        <a:t>Procurement of new</a:t>
                      </a:r>
                      <a:r>
                        <a:rPr lang="en-GB" sz="1800" baseline="0" dirty="0" smtClean="0"/>
                        <a:t> research (€3M) slow and resource intensive</a:t>
                      </a:r>
                      <a:endParaRPr lang="en-GB" sz="1800" dirty="0"/>
                    </a:p>
                  </a:txBody>
                  <a:tcPr marL="91429" marR="91429" marT="45691" marB="45691"/>
                </a:tc>
              </a:tr>
              <a:tr h="914258">
                <a:tc>
                  <a:txBody>
                    <a:bodyPr/>
                    <a:lstStyle/>
                    <a:p>
                      <a:r>
                        <a:rPr lang="en-GB" sz="1800" dirty="0" smtClean="0"/>
                        <a:t>Bringing together</a:t>
                      </a:r>
                      <a:r>
                        <a:rPr lang="en-GB" sz="1800" baseline="0" dirty="0" smtClean="0"/>
                        <a:t> of the disparate actors in the food chain to assure the food supply</a:t>
                      </a:r>
                      <a:endParaRPr lang="en-GB" sz="1800" dirty="0"/>
                    </a:p>
                  </a:txBody>
                  <a:tcPr marL="91429" marR="91429" marT="45691" marB="45691"/>
                </a:tc>
                <a:tc>
                  <a:txBody>
                    <a:bodyPr/>
                    <a:lstStyle/>
                    <a:p>
                      <a:r>
                        <a:rPr lang="en-GB" sz="1800" dirty="0" smtClean="0"/>
                        <a:t>Financial inefficiency of the procedures available to incorporate new partners into FI </a:t>
                      </a:r>
                      <a:endParaRPr lang="en-GB" sz="1800" dirty="0"/>
                    </a:p>
                  </a:txBody>
                  <a:tcPr marL="91429" marR="91429" marT="45691" marB="45691"/>
                </a:tc>
              </a:tr>
              <a:tr h="639966">
                <a:tc>
                  <a:txBody>
                    <a:bodyPr/>
                    <a:lstStyle/>
                    <a:p>
                      <a:r>
                        <a:rPr lang="en-GB" sz="1800" dirty="0" smtClean="0"/>
                        <a:t>Exporting Food</a:t>
                      </a:r>
                      <a:r>
                        <a:rPr lang="en-GB" sz="1800" baseline="0" dirty="0" smtClean="0"/>
                        <a:t>Integrity- strong links with China, SE Asia, US</a:t>
                      </a:r>
                      <a:endParaRPr lang="en-GB" sz="1800" dirty="0"/>
                    </a:p>
                  </a:txBody>
                  <a:tcPr marL="91429" marR="91429" marT="45691" marB="45691"/>
                </a:tc>
                <a:tc>
                  <a:txBody>
                    <a:bodyPr/>
                    <a:lstStyle/>
                    <a:p>
                      <a:r>
                        <a:rPr lang="en-GB" sz="1800" dirty="0" smtClean="0"/>
                        <a:t>Yet to engage</a:t>
                      </a:r>
                      <a:r>
                        <a:rPr lang="en-GB" sz="1800" baseline="0" dirty="0" smtClean="0"/>
                        <a:t> with India, Russia,</a:t>
                      </a:r>
                      <a:endParaRPr lang="en-GB" sz="1800" dirty="0"/>
                    </a:p>
                  </a:txBody>
                  <a:tcPr marL="91429" marR="91429" marT="45691" marB="45691"/>
                </a:tc>
              </a:tr>
              <a:tr h="914258">
                <a:tc>
                  <a:txBody>
                    <a:bodyPr/>
                    <a:lstStyle/>
                    <a:p>
                      <a:r>
                        <a:rPr lang="en-GB" sz="1800" dirty="0" smtClean="0"/>
                        <a:t>Exploiting the</a:t>
                      </a:r>
                      <a:r>
                        <a:rPr lang="en-GB" sz="1800" baseline="0" dirty="0" smtClean="0"/>
                        <a:t> relatively large resources available to FI- ability to influence/act</a:t>
                      </a:r>
                      <a:endParaRPr lang="en-GB" sz="1800" dirty="0"/>
                    </a:p>
                  </a:txBody>
                  <a:tcPr marL="91429" marR="91429" marT="45691" marB="45691"/>
                </a:tc>
                <a:tc>
                  <a:txBody>
                    <a:bodyPr/>
                    <a:lstStyle/>
                    <a:p>
                      <a:r>
                        <a:rPr lang="en-GB" sz="1800" dirty="0" smtClean="0"/>
                        <a:t>Bureaucracy associated with managing 38 soon to be 63 partners</a:t>
                      </a:r>
                      <a:endParaRPr lang="en-GB" sz="1800" dirty="0"/>
                    </a:p>
                  </a:txBody>
                  <a:tcPr marL="91429" marR="91429" marT="45691" marB="45691"/>
                </a:tc>
              </a:tr>
              <a:tr h="629678">
                <a:tc>
                  <a:txBody>
                    <a:bodyPr/>
                    <a:lstStyle/>
                    <a:p>
                      <a:r>
                        <a:rPr lang="en-GB" sz="1800" dirty="0" smtClean="0"/>
                        <a:t>Sustainability of project components</a:t>
                      </a:r>
                      <a:endParaRPr lang="en-GB" sz="1800" dirty="0"/>
                    </a:p>
                  </a:txBody>
                  <a:tcPr marL="91429" marR="91429" marT="45691" marB="45691"/>
                </a:tc>
                <a:tc>
                  <a:txBody>
                    <a:bodyPr/>
                    <a:lstStyle/>
                    <a:p>
                      <a:r>
                        <a:rPr lang="en-GB" sz="1800" dirty="0" smtClean="0"/>
                        <a:t>Sustainability</a:t>
                      </a:r>
                      <a:r>
                        <a:rPr lang="en-GB" sz="1800" baseline="0" dirty="0" smtClean="0"/>
                        <a:t> of project components</a:t>
                      </a:r>
                      <a:endParaRPr lang="en-GB" sz="1800" dirty="0"/>
                    </a:p>
                  </a:txBody>
                  <a:tcPr marL="91429" marR="91429" marT="45691" marB="45691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794" name="Group 4"/>
          <p:cNvGrpSpPr>
            <a:grpSpLocks/>
          </p:cNvGrpSpPr>
          <p:nvPr/>
        </p:nvGrpSpPr>
        <p:grpSpPr bwMode="auto">
          <a:xfrm>
            <a:off x="-1588" y="112"/>
            <a:ext cx="9145588" cy="576263"/>
            <a:chOff x="-1980" y="0"/>
            <a:chExt cx="9145980" cy="576000"/>
          </a:xfrm>
        </p:grpSpPr>
        <p:sp>
          <p:nvSpPr>
            <p:cNvPr id="6" name="Rectangle 5"/>
            <p:cNvSpPr/>
            <p:nvPr/>
          </p:nvSpPr>
          <p:spPr>
            <a:xfrm>
              <a:off x="-1980" y="0"/>
              <a:ext cx="9145980" cy="576000"/>
            </a:xfrm>
            <a:prstGeom prst="rect">
              <a:avLst/>
            </a:prstGeom>
            <a:solidFill>
              <a:srgbClr val="92D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92000" tIns="36000" rIns="36000" bIns="36000" anchor="ctr"/>
            <a:lstStyle/>
            <a:p>
              <a:pPr>
                <a:defRPr/>
              </a:pPr>
              <a:r>
                <a:rPr lang="en-GB" sz="2800" b="1" dirty="0">
                  <a:solidFill>
                    <a:prstClr val="white"/>
                  </a:solidFill>
                </a:rPr>
                <a:t>How to Get Involved </a:t>
              </a:r>
            </a:p>
          </p:txBody>
        </p:sp>
        <p:pic>
          <p:nvPicPr>
            <p:cNvPr id="33824" name="Picture 6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5498" y="44624"/>
              <a:ext cx="606754" cy="504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3795" name="Group 2"/>
          <p:cNvGrpSpPr>
            <a:grpSpLocks/>
          </p:cNvGrpSpPr>
          <p:nvPr/>
        </p:nvGrpSpPr>
        <p:grpSpPr bwMode="auto">
          <a:xfrm>
            <a:off x="4716519" y="1522413"/>
            <a:ext cx="4321175" cy="3562350"/>
            <a:chOff x="2559843" y="1398551"/>
            <a:chExt cx="4024312" cy="4060896"/>
          </a:xfrm>
        </p:grpSpPr>
        <p:sp>
          <p:nvSpPr>
            <p:cNvPr id="4" name="Freeform 3"/>
            <p:cNvSpPr/>
            <p:nvPr/>
          </p:nvSpPr>
          <p:spPr>
            <a:xfrm>
              <a:off x="3887866" y="1416403"/>
              <a:ext cx="2696289" cy="1219489"/>
            </a:xfrm>
            <a:custGeom>
              <a:avLst/>
              <a:gdLst>
                <a:gd name="connsiteX0" fmla="*/ 0 w 2696289"/>
                <a:gd name="connsiteY0" fmla="*/ 0 h 1219488"/>
                <a:gd name="connsiteX1" fmla="*/ 2696289 w 2696289"/>
                <a:gd name="connsiteY1" fmla="*/ 0 h 1219488"/>
                <a:gd name="connsiteX2" fmla="*/ 2696289 w 2696289"/>
                <a:gd name="connsiteY2" fmla="*/ 1219488 h 1219488"/>
                <a:gd name="connsiteX3" fmla="*/ 0 w 2696289"/>
                <a:gd name="connsiteY3" fmla="*/ 1219488 h 1219488"/>
                <a:gd name="connsiteX4" fmla="*/ 0 w 2696289"/>
                <a:gd name="connsiteY4" fmla="*/ 0 h 1219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96289" h="1219488">
                  <a:moveTo>
                    <a:pt x="0" y="0"/>
                  </a:moveTo>
                  <a:lnTo>
                    <a:pt x="2696289" y="0"/>
                  </a:lnTo>
                  <a:lnTo>
                    <a:pt x="2696289" y="1219488"/>
                  </a:lnTo>
                  <a:lnTo>
                    <a:pt x="0" y="12194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2D050"/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99060" tIns="99060" rIns="99060" bIns="99060" spcCol="1270" anchor="ctr"/>
            <a:lstStyle/>
            <a:p>
              <a:pPr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GB" dirty="0">
                  <a:solidFill>
                    <a:prstClr val="black"/>
                  </a:solidFill>
                </a:rPr>
                <a:t>Join FoodIntegrity </a:t>
              </a:r>
              <a:r>
                <a:rPr lang="en-GB" b="1" dirty="0">
                  <a:solidFill>
                    <a:prstClr val="black"/>
                  </a:solidFill>
                </a:rPr>
                <a:t>network 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2559843" y="1398551"/>
              <a:ext cx="1207293" cy="1219488"/>
            </a:xfrm>
            <a:prstGeom prst="rect">
              <a:avLst/>
            </a:prstGeom>
            <a:blipFill dpi="0" rotWithShape="1">
              <a:blip r:embed="rId3">
                <a:duotone>
                  <a:schemeClr val="accent3">
                    <a:shade val="45000"/>
                    <a:satMod val="135000"/>
                  </a:schemeClr>
                  <a:prstClr val="white"/>
                </a:duotone>
              </a:blip>
              <a:srcRect/>
              <a:stretch>
                <a:fillRect l="-4000" t="-20000" b="-45000"/>
              </a:stretch>
            </a:blipFill>
            <a:ln>
              <a:solidFill>
                <a:srgbClr val="92D050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Freeform 24"/>
            <p:cNvSpPr/>
            <p:nvPr/>
          </p:nvSpPr>
          <p:spPr>
            <a:xfrm>
              <a:off x="2559843" y="2819255"/>
              <a:ext cx="2696289" cy="1219488"/>
            </a:xfrm>
            <a:custGeom>
              <a:avLst/>
              <a:gdLst>
                <a:gd name="connsiteX0" fmla="*/ 0 w 2696289"/>
                <a:gd name="connsiteY0" fmla="*/ 0 h 1219488"/>
                <a:gd name="connsiteX1" fmla="*/ 2696289 w 2696289"/>
                <a:gd name="connsiteY1" fmla="*/ 0 h 1219488"/>
                <a:gd name="connsiteX2" fmla="*/ 2696289 w 2696289"/>
                <a:gd name="connsiteY2" fmla="*/ 1219488 h 1219488"/>
                <a:gd name="connsiteX3" fmla="*/ 0 w 2696289"/>
                <a:gd name="connsiteY3" fmla="*/ 1219488 h 1219488"/>
                <a:gd name="connsiteX4" fmla="*/ 0 w 2696289"/>
                <a:gd name="connsiteY4" fmla="*/ 0 h 1219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96289" h="1219488">
                  <a:moveTo>
                    <a:pt x="0" y="0"/>
                  </a:moveTo>
                  <a:lnTo>
                    <a:pt x="2696289" y="0"/>
                  </a:lnTo>
                  <a:lnTo>
                    <a:pt x="2696289" y="1219488"/>
                  </a:lnTo>
                  <a:lnTo>
                    <a:pt x="0" y="12194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2D050"/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99060" tIns="99060" rIns="99060" bIns="99060" spcCol="1270" anchor="ctr"/>
            <a:lstStyle/>
            <a:p>
              <a:pPr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GB" dirty="0">
                  <a:solidFill>
                    <a:prstClr val="black"/>
                  </a:solidFill>
                </a:rPr>
                <a:t>Visit FoodIntegrity </a:t>
              </a:r>
              <a:r>
                <a:rPr lang="en-GB" b="1" dirty="0">
                  <a:solidFill>
                    <a:prstClr val="black"/>
                  </a:solidFill>
                </a:rPr>
                <a:t>website </a:t>
              </a:r>
            </a:p>
            <a:p>
              <a:pPr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GB" sz="1600" dirty="0">
                  <a:solidFill>
                    <a:prstClr val="white"/>
                  </a:solidFill>
                  <a:hlinkClick r:id="rId4"/>
                </a:rPr>
                <a:t>www.foodintegrity.eu</a:t>
              </a:r>
              <a:endParaRPr lang="en-GB" sz="1600" b="1" dirty="0">
                <a:solidFill>
                  <a:prstClr val="black"/>
                </a:solidFill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5376862" y="2819255"/>
              <a:ext cx="1207293" cy="1219488"/>
            </a:xfrm>
            <a:prstGeom prst="rect">
              <a:avLst/>
            </a:prstGeom>
            <a:blipFill dpi="0" rotWithShape="1">
              <a:blip r:embed="rId5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</a:blip>
              <a:srcRect/>
              <a:stretch>
                <a:fillRect l="2000" t="5000" b="5000"/>
              </a:stretch>
            </a:blipFill>
            <a:ln>
              <a:solidFill>
                <a:srgbClr val="92D050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Freeform 26"/>
            <p:cNvSpPr/>
            <p:nvPr/>
          </p:nvSpPr>
          <p:spPr>
            <a:xfrm>
              <a:off x="3887866" y="4239959"/>
              <a:ext cx="2696289" cy="1219488"/>
            </a:xfrm>
            <a:custGeom>
              <a:avLst/>
              <a:gdLst>
                <a:gd name="connsiteX0" fmla="*/ 0 w 2696289"/>
                <a:gd name="connsiteY0" fmla="*/ 0 h 1219488"/>
                <a:gd name="connsiteX1" fmla="*/ 2696289 w 2696289"/>
                <a:gd name="connsiteY1" fmla="*/ 0 h 1219488"/>
                <a:gd name="connsiteX2" fmla="*/ 2696289 w 2696289"/>
                <a:gd name="connsiteY2" fmla="*/ 1219488 h 1219488"/>
                <a:gd name="connsiteX3" fmla="*/ 0 w 2696289"/>
                <a:gd name="connsiteY3" fmla="*/ 1219488 h 1219488"/>
                <a:gd name="connsiteX4" fmla="*/ 0 w 2696289"/>
                <a:gd name="connsiteY4" fmla="*/ 0 h 12194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96289" h="1219488">
                  <a:moveTo>
                    <a:pt x="0" y="0"/>
                  </a:moveTo>
                  <a:lnTo>
                    <a:pt x="2696289" y="0"/>
                  </a:lnTo>
                  <a:lnTo>
                    <a:pt x="2696289" y="1219488"/>
                  </a:lnTo>
                  <a:lnTo>
                    <a:pt x="0" y="121948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2D050"/>
            </a:solidFill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lIns="99060" tIns="99060" rIns="99060" bIns="99060" spcCol="1270" anchor="ctr"/>
            <a:lstStyle/>
            <a:p>
              <a:pPr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GB" b="1" dirty="0">
                  <a:solidFill>
                    <a:prstClr val="black"/>
                  </a:solidFill>
                </a:rPr>
                <a:t>E-mail </a:t>
              </a:r>
              <a:r>
                <a:rPr lang="en-GB" dirty="0">
                  <a:solidFill>
                    <a:prstClr val="black"/>
                  </a:solidFill>
                </a:rPr>
                <a:t>FoodIntegrity</a:t>
              </a:r>
            </a:p>
            <a:p>
              <a:pPr algn="ctr" defTabSz="11557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defRPr/>
              </a:pPr>
              <a:r>
                <a:rPr lang="en-GB" sz="1600" dirty="0">
                  <a:solidFill>
                    <a:prstClr val="white"/>
                  </a:solidFill>
                  <a:hlinkClick r:id="rId6"/>
                </a:rPr>
                <a:t>foodintegrity@fera.gsi.gov.uk</a:t>
              </a:r>
              <a:endParaRPr lang="en-GB" sz="1600" dirty="0">
                <a:solidFill>
                  <a:prstClr val="white"/>
                </a:solidFill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2559843" y="4239959"/>
              <a:ext cx="1207293" cy="1219488"/>
            </a:xfrm>
            <a:prstGeom prst="rect">
              <a:avLst/>
            </a:prstGeom>
            <a:blipFill dpi="0" rotWithShape="1">
              <a:blip r:embed="rId7">
                <a:duotone>
                  <a:prstClr val="black"/>
                  <a:schemeClr val="accent3">
                    <a:tint val="45000"/>
                    <a:satMod val="400000"/>
                  </a:schemeClr>
                </a:duotone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5000" t="10000" r="5000" b="10000"/>
              </a:stretch>
            </a:blipFill>
            <a:ln>
              <a:solidFill>
                <a:srgbClr val="92D050"/>
              </a:solidFill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</p:grpSp>
      <p:pic>
        <p:nvPicPr>
          <p:cNvPr id="33796" name="Picture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620825"/>
            <a:ext cx="4210050" cy="3157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3797" name="Group 2"/>
          <p:cNvGrpSpPr>
            <a:grpSpLocks/>
          </p:cNvGrpSpPr>
          <p:nvPr/>
        </p:nvGrpSpPr>
        <p:grpSpPr bwMode="auto">
          <a:xfrm>
            <a:off x="371475" y="3405300"/>
            <a:ext cx="2825750" cy="3336925"/>
            <a:chOff x="5724128" y="2560637"/>
            <a:chExt cx="3435350" cy="4098925"/>
          </a:xfrm>
        </p:grpSpPr>
        <p:pic>
          <p:nvPicPr>
            <p:cNvPr id="33798" name="Picture 2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24128" y="2560637"/>
              <a:ext cx="2520950" cy="3184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799" name="Picture 2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76528" y="2713037"/>
              <a:ext cx="2520950" cy="3184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00" name="Picture 2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28928" y="2865437"/>
              <a:ext cx="2520950" cy="3184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01" name="Picture 2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81328" y="3017837"/>
              <a:ext cx="2520950" cy="3184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02" name="Picture 2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33728" y="3170237"/>
              <a:ext cx="2520950" cy="3184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03" name="Picture 2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86128" y="3322637"/>
              <a:ext cx="2520950" cy="3184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804" name="Picture 2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38528" y="3475037"/>
              <a:ext cx="2520950" cy="3184525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Titolo 1"/>
          <p:cNvSpPr>
            <a:spLocks noGrp="1"/>
          </p:cNvSpPr>
          <p:nvPr>
            <p:ph type="ctrTitle"/>
          </p:nvPr>
        </p:nvSpPr>
        <p:spPr>
          <a:xfrm>
            <a:off x="581025" y="4097450"/>
            <a:ext cx="7772400" cy="1470025"/>
          </a:xfrm>
        </p:spPr>
        <p:txBody>
          <a:bodyPr/>
          <a:lstStyle/>
          <a:p>
            <a:pPr eaLnBrk="1" hangingPunct="1"/>
            <a:r>
              <a:rPr lang="it-IT" altLang="en-US" smtClean="0"/>
              <a:t>Parma, Italy </a:t>
            </a:r>
            <a:r>
              <a:rPr lang="it-IT" altLang="en-US" sz="3600" smtClean="0"/>
              <a:t>10-11</a:t>
            </a:r>
            <a:r>
              <a:rPr lang="it-IT" altLang="en-US" smtClean="0"/>
              <a:t> May 2017</a:t>
            </a:r>
          </a:p>
        </p:txBody>
      </p:sp>
      <p:pic>
        <p:nvPicPr>
          <p:cNvPr id="34819" name="Immagine 3" descr="siteialogo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763" y="5408725"/>
            <a:ext cx="1263650" cy="1449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0" name="Immagine 4" descr="logoUPcolori2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3838" y="5754688"/>
            <a:ext cx="3652837" cy="863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1" name="Immagine 6" descr="sala.jp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" y="17463"/>
            <a:ext cx="3560763" cy="2570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2" name="Immagine 7" descr="1158337089.jp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8188" y="0"/>
            <a:ext cx="2627312" cy="1970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3" name="Immagin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4451" y="5603875"/>
            <a:ext cx="2357438" cy="1220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4" name="Immagine 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70200"/>
            <a:ext cx="9144000" cy="9096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4825" name="Immagine 1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9050" y="96838"/>
            <a:ext cx="2311400" cy="1776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AutoShape 3"/>
          <p:cNvSpPr>
            <a:spLocks noChangeAspect="1" noChangeArrowheads="1" noTextEdit="1"/>
          </p:cNvSpPr>
          <p:nvPr/>
        </p:nvSpPr>
        <p:spPr bwMode="auto">
          <a:xfrm>
            <a:off x="1520830" y="3590925"/>
            <a:ext cx="5689600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457200">
              <a:defRPr/>
            </a:pPr>
            <a:endParaRPr lang="en-GB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317754" y="2990850"/>
            <a:ext cx="5500688" cy="13843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defTabSz="457200">
              <a:defRPr/>
            </a:pPr>
            <a:r>
              <a:rPr lang="en-GB" sz="36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FOOD</a:t>
            </a:r>
            <a:r>
              <a:rPr lang="en-GB" sz="3600" dirty="0">
                <a:solidFill>
                  <a:srgbClr val="9BBB59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INTEGRITY</a:t>
            </a:r>
            <a:r>
              <a:rPr lang="en-GB" sz="3600" dirty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en-GB" sz="3600" dirty="0">
                <a:solidFill>
                  <a:srgbClr val="F79646">
                    <a:lumMod val="75000"/>
                  </a:srgb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2017</a:t>
            </a:r>
          </a:p>
          <a:p>
            <a:pPr defTabSz="457200">
              <a:defRPr/>
            </a:pPr>
            <a:r>
              <a:rPr lang="en-GB" sz="2400" dirty="0">
                <a:solidFill>
                  <a:srgbClr val="C0504D">
                    <a:lumMod val="50000"/>
                  </a:srgbClr>
                </a:solidFill>
                <a:cs typeface="Arial" pitchFamily="34" charset="0"/>
              </a:rPr>
              <a:t>“Assuring the integrity of the food chain: turning science into solutions”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84150" y="3217863"/>
            <a:ext cx="2020888" cy="107791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>
            <a:spAutoFit/>
          </a:bodyPr>
          <a:lstStyle/>
          <a:p>
            <a:pPr defTabSz="457200">
              <a:defRPr/>
            </a:pPr>
            <a:r>
              <a:rPr lang="en-GB" sz="3200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SAVE THE DATE!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2" name="Title 4"/>
          <p:cNvSpPr>
            <a:spLocks noGrp="1"/>
          </p:cNvSpPr>
          <p:nvPr>
            <p:ph type="title"/>
          </p:nvPr>
        </p:nvSpPr>
        <p:spPr>
          <a:xfrm>
            <a:off x="1042988" y="908162"/>
            <a:ext cx="7924800" cy="936625"/>
          </a:xfrm>
        </p:spPr>
        <p:txBody>
          <a:bodyPr/>
          <a:lstStyle/>
          <a:p>
            <a:pPr eaLnBrk="1" hangingPunct="1"/>
            <a:r>
              <a:rPr lang="en-GB" altLang="en-US" smtClean="0"/>
              <a:t>Acknowledgements</a:t>
            </a:r>
          </a:p>
        </p:txBody>
      </p:sp>
      <p:pic>
        <p:nvPicPr>
          <p:cNvPr id="3584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8275" y="1914531"/>
            <a:ext cx="2636838" cy="34591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844" name="Picture 3" descr="C:\Users\pbrereto\AppData\Local\Microsoft\Windows\Temporary Internet Files\Content.Outlook\N3JX086Q\drap_cmyk (2)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015" y="3484563"/>
            <a:ext cx="2735262" cy="181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5845" name="TextBox 2"/>
          <p:cNvSpPr txBox="1">
            <a:spLocks noChangeArrowheads="1"/>
          </p:cNvSpPr>
          <p:nvPr/>
        </p:nvSpPr>
        <p:spPr bwMode="auto">
          <a:xfrm>
            <a:off x="1043044" y="5457937"/>
            <a:ext cx="7850187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CC0000"/>
              </a:buClr>
              <a:buSzPct val="75000"/>
              <a:buFont typeface="Wingdings" pitchFamily="2" charset="2"/>
              <a:defRPr sz="2800">
                <a:solidFill>
                  <a:srgbClr val="00944B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EF4034"/>
              </a:buClr>
              <a:buSzPct val="75000"/>
              <a:buChar char="•"/>
              <a:defRPr sz="24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20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EF4034"/>
              </a:buClr>
              <a:buSzPct val="95000"/>
              <a:buChar char="•"/>
              <a:defRPr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F4034"/>
              </a:buClr>
              <a:buSzPct val="85000"/>
              <a:buChar char="•"/>
              <a:defRPr sz="1600">
                <a:solidFill>
                  <a:srgbClr val="5F5F5F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GB" altLang="en-US" sz="1800" smtClean="0">
                <a:solidFill>
                  <a:srgbClr val="003366"/>
                </a:solidFill>
              </a:rPr>
              <a:t>This project has received funding from the European Union’s Seventh Framework Programme for research, technological development and demonstration under grant agreement n</a:t>
            </a:r>
            <a:r>
              <a:rPr lang="en-GB" altLang="en-US" sz="1800" baseline="30000" smtClean="0">
                <a:solidFill>
                  <a:srgbClr val="003366"/>
                </a:solidFill>
              </a:rPr>
              <a:t>o</a:t>
            </a:r>
            <a:r>
              <a:rPr lang="en-GB" altLang="en-US" sz="1800" smtClean="0">
                <a:solidFill>
                  <a:srgbClr val="003366"/>
                </a:solidFill>
              </a:rPr>
              <a:t> 613688</a:t>
            </a:r>
            <a:endParaRPr lang="en-GB" altLang="en-US" sz="1800" baseline="30000" smtClean="0">
              <a:solidFill>
                <a:srgbClr val="003366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155" y="1529568"/>
            <a:ext cx="2294142" cy="32539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27" y="4776770"/>
            <a:ext cx="2075651" cy="1982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9564" y="2564904"/>
            <a:ext cx="2180468" cy="2687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05966" y="5174269"/>
            <a:ext cx="1986086" cy="17071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1758" y="1485232"/>
            <a:ext cx="1876218" cy="29833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1" name="Picture 7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1470" y="4636049"/>
            <a:ext cx="2036794" cy="167338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2" name="Picture 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36512" y="11942"/>
            <a:ext cx="2952328" cy="13288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3" name="Picture 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5934" y="4961255"/>
            <a:ext cx="1753868" cy="17244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38" name="Picture 14" descr="C:\Users\A.DAMARIO.lenovo\Desktop\European-Livestock-And-Meat-Trading-Union-UECBV-logo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8" y="3284984"/>
            <a:ext cx="1329129" cy="1000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9" name="Picture 15" descr="C:\Users\A.DAMARIO.lenovo\Desktop\CELCAA.jp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9" y="2563672"/>
            <a:ext cx="2088231" cy="361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C:\Users\A.DAMARIO.lenovo\Desktop\eurocoop.png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0761" y="1821288"/>
            <a:ext cx="2159967" cy="4873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1" name="Picture 17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5675" y="267979"/>
            <a:ext cx="2129921" cy="13864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7346" name="Picture 2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9564" y="1479823"/>
            <a:ext cx="1820428" cy="11225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04815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CDtPWCmk6mWArKQa5n_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f_Su99kU.8aaNXHJwFA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CDtPWCmk6mWArKQa5n_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f_Su99kU.8aaNXHJwFA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CDtPWCmk6mWArKQa5n_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f_Su99kU.8aaNXHJwFA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CDtPWCmk6mWArKQa5n_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f_Su99kU.8aaNXHJwFA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CDtPWCmk6mWArKQa5n_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f_Su99kU.8aaNXHJwFA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CDtPWCmk6mWArKQa5n_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f_Su99kU.8aaNXHJwFA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f_Su99kU.8aaNXHJwFA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CDtPWCmk6mWArKQa5n_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f_Su99kU.8aaNXHJwFA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CDtPWCmk6mWArKQa5n_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f_Su99kU.8aaNXHJwF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CDtPWCmk6mWArKQa5n_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f_Su99kU.8aaNXHJwFA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CDtPWCmk6mWArKQa5n_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4_FSA Corporate">
  <a:themeElements>
    <a:clrScheme name="FSA">
      <a:dk1>
        <a:sysClr val="windowText" lastClr="000000"/>
      </a:dk1>
      <a:lt1>
        <a:sysClr val="window" lastClr="FFFFFF"/>
      </a:lt1>
      <a:dk2>
        <a:srgbClr val="0080B1"/>
      </a:dk2>
      <a:lt2>
        <a:srgbClr val="F3F7FB"/>
      </a:lt2>
      <a:accent1>
        <a:srgbClr val="F15D22"/>
      </a:accent1>
      <a:accent2>
        <a:srgbClr val="FF1C3B"/>
      </a:accent2>
      <a:accent3>
        <a:srgbClr val="0080B1"/>
      </a:accent3>
      <a:accent4>
        <a:srgbClr val="FDB913"/>
      </a:accent4>
      <a:accent5>
        <a:srgbClr val="9E218A"/>
      </a:accent5>
      <a:accent6>
        <a:srgbClr val="00B2A9"/>
      </a:accent6>
      <a:hlink>
        <a:srgbClr val="4F81BD"/>
      </a:hlink>
      <a:folHlink>
        <a:srgbClr val="F15D2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5_FSA Corporate">
  <a:themeElements>
    <a:clrScheme name="FSA">
      <a:dk1>
        <a:sysClr val="windowText" lastClr="000000"/>
      </a:dk1>
      <a:lt1>
        <a:sysClr val="window" lastClr="FFFFFF"/>
      </a:lt1>
      <a:dk2>
        <a:srgbClr val="0080B1"/>
      </a:dk2>
      <a:lt2>
        <a:srgbClr val="F3F7FB"/>
      </a:lt2>
      <a:accent1>
        <a:srgbClr val="F15D22"/>
      </a:accent1>
      <a:accent2>
        <a:srgbClr val="FF1C3B"/>
      </a:accent2>
      <a:accent3>
        <a:srgbClr val="0080B1"/>
      </a:accent3>
      <a:accent4>
        <a:srgbClr val="FDB913"/>
      </a:accent4>
      <a:accent5>
        <a:srgbClr val="9E218A"/>
      </a:accent5>
      <a:accent6>
        <a:srgbClr val="00B2A9"/>
      </a:accent6>
      <a:hlink>
        <a:srgbClr val="4F81BD"/>
      </a:hlink>
      <a:folHlink>
        <a:srgbClr val="F15D2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6_FSA Corporate">
  <a:themeElements>
    <a:clrScheme name="FSA">
      <a:dk1>
        <a:sysClr val="windowText" lastClr="000000"/>
      </a:dk1>
      <a:lt1>
        <a:sysClr val="window" lastClr="FFFFFF"/>
      </a:lt1>
      <a:dk2>
        <a:srgbClr val="0080B1"/>
      </a:dk2>
      <a:lt2>
        <a:srgbClr val="F3F7FB"/>
      </a:lt2>
      <a:accent1>
        <a:srgbClr val="F15D22"/>
      </a:accent1>
      <a:accent2>
        <a:srgbClr val="FF1C3B"/>
      </a:accent2>
      <a:accent3>
        <a:srgbClr val="0080B1"/>
      </a:accent3>
      <a:accent4>
        <a:srgbClr val="FDB913"/>
      </a:accent4>
      <a:accent5>
        <a:srgbClr val="9E218A"/>
      </a:accent5>
      <a:accent6>
        <a:srgbClr val="00B2A9"/>
      </a:accent6>
      <a:hlink>
        <a:srgbClr val="4F81BD"/>
      </a:hlink>
      <a:folHlink>
        <a:srgbClr val="F15D2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7_FSA Corporate">
  <a:themeElements>
    <a:clrScheme name="FSA">
      <a:dk1>
        <a:sysClr val="windowText" lastClr="000000"/>
      </a:dk1>
      <a:lt1>
        <a:sysClr val="window" lastClr="FFFFFF"/>
      </a:lt1>
      <a:dk2>
        <a:srgbClr val="0080B1"/>
      </a:dk2>
      <a:lt2>
        <a:srgbClr val="F3F7FB"/>
      </a:lt2>
      <a:accent1>
        <a:srgbClr val="F15D22"/>
      </a:accent1>
      <a:accent2>
        <a:srgbClr val="FF1C3B"/>
      </a:accent2>
      <a:accent3>
        <a:srgbClr val="0080B1"/>
      </a:accent3>
      <a:accent4>
        <a:srgbClr val="FDB913"/>
      </a:accent4>
      <a:accent5>
        <a:srgbClr val="9E218A"/>
      </a:accent5>
      <a:accent6>
        <a:srgbClr val="00B2A9"/>
      </a:accent6>
      <a:hlink>
        <a:srgbClr val="4F81BD"/>
      </a:hlink>
      <a:folHlink>
        <a:srgbClr val="F15D2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8_FSA Corporate">
  <a:themeElements>
    <a:clrScheme name="FSA">
      <a:dk1>
        <a:sysClr val="windowText" lastClr="000000"/>
      </a:dk1>
      <a:lt1>
        <a:sysClr val="window" lastClr="FFFFFF"/>
      </a:lt1>
      <a:dk2>
        <a:srgbClr val="0080B1"/>
      </a:dk2>
      <a:lt2>
        <a:srgbClr val="F3F7FB"/>
      </a:lt2>
      <a:accent1>
        <a:srgbClr val="F15D22"/>
      </a:accent1>
      <a:accent2>
        <a:srgbClr val="FF1C3B"/>
      </a:accent2>
      <a:accent3>
        <a:srgbClr val="0080B1"/>
      </a:accent3>
      <a:accent4>
        <a:srgbClr val="FDB913"/>
      </a:accent4>
      <a:accent5>
        <a:srgbClr val="9E218A"/>
      </a:accent5>
      <a:accent6>
        <a:srgbClr val="00B2A9"/>
      </a:accent6>
      <a:hlink>
        <a:srgbClr val="4F81BD"/>
      </a:hlink>
      <a:folHlink>
        <a:srgbClr val="F15D2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5.xml><?xml version="1.0" encoding="utf-8"?>
<a:theme xmlns:a="http://schemas.openxmlformats.org/drawingml/2006/main" name="9_FSA Corporate">
  <a:themeElements>
    <a:clrScheme name="FSA">
      <a:dk1>
        <a:sysClr val="windowText" lastClr="000000"/>
      </a:dk1>
      <a:lt1>
        <a:sysClr val="window" lastClr="FFFFFF"/>
      </a:lt1>
      <a:dk2>
        <a:srgbClr val="0080B1"/>
      </a:dk2>
      <a:lt2>
        <a:srgbClr val="F3F7FB"/>
      </a:lt2>
      <a:accent1>
        <a:srgbClr val="F15D22"/>
      </a:accent1>
      <a:accent2>
        <a:srgbClr val="FF1C3B"/>
      </a:accent2>
      <a:accent3>
        <a:srgbClr val="0080B1"/>
      </a:accent3>
      <a:accent4>
        <a:srgbClr val="FDB913"/>
      </a:accent4>
      <a:accent5>
        <a:srgbClr val="9E218A"/>
      </a:accent5>
      <a:accent6>
        <a:srgbClr val="00B2A9"/>
      </a:accent6>
      <a:hlink>
        <a:srgbClr val="4F81BD"/>
      </a:hlink>
      <a:folHlink>
        <a:srgbClr val="F15D2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10_FSA Corporate">
  <a:themeElements>
    <a:clrScheme name="FSA">
      <a:dk1>
        <a:sysClr val="windowText" lastClr="000000"/>
      </a:dk1>
      <a:lt1>
        <a:sysClr val="window" lastClr="FFFFFF"/>
      </a:lt1>
      <a:dk2>
        <a:srgbClr val="0080B1"/>
      </a:dk2>
      <a:lt2>
        <a:srgbClr val="F3F7FB"/>
      </a:lt2>
      <a:accent1>
        <a:srgbClr val="F15D22"/>
      </a:accent1>
      <a:accent2>
        <a:srgbClr val="FF1C3B"/>
      </a:accent2>
      <a:accent3>
        <a:srgbClr val="0080B1"/>
      </a:accent3>
      <a:accent4>
        <a:srgbClr val="FDB913"/>
      </a:accent4>
      <a:accent5>
        <a:srgbClr val="9E218A"/>
      </a:accent5>
      <a:accent6>
        <a:srgbClr val="00B2A9"/>
      </a:accent6>
      <a:hlink>
        <a:srgbClr val="4F81BD"/>
      </a:hlink>
      <a:folHlink>
        <a:srgbClr val="F15D2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7.xml><?xml version="1.0" encoding="utf-8"?>
<a:theme xmlns:a="http://schemas.openxmlformats.org/drawingml/2006/main" name="11_FSA Corporate">
  <a:themeElements>
    <a:clrScheme name="FSA">
      <a:dk1>
        <a:sysClr val="windowText" lastClr="000000"/>
      </a:dk1>
      <a:lt1>
        <a:sysClr val="window" lastClr="FFFFFF"/>
      </a:lt1>
      <a:dk2>
        <a:srgbClr val="0080B1"/>
      </a:dk2>
      <a:lt2>
        <a:srgbClr val="F3F7FB"/>
      </a:lt2>
      <a:accent1>
        <a:srgbClr val="F15D22"/>
      </a:accent1>
      <a:accent2>
        <a:srgbClr val="FF1C3B"/>
      </a:accent2>
      <a:accent3>
        <a:srgbClr val="0080B1"/>
      </a:accent3>
      <a:accent4>
        <a:srgbClr val="FDB913"/>
      </a:accent4>
      <a:accent5>
        <a:srgbClr val="9E218A"/>
      </a:accent5>
      <a:accent6>
        <a:srgbClr val="00B2A9"/>
      </a:accent6>
      <a:hlink>
        <a:srgbClr val="4F81BD"/>
      </a:hlink>
      <a:folHlink>
        <a:srgbClr val="F15D2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nanolyse">
  <a:themeElements>
    <a:clrScheme name="nanolyse 1">
      <a:dk1>
        <a:srgbClr val="003366"/>
      </a:dk1>
      <a:lt1>
        <a:srgbClr val="FFFFFF"/>
      </a:lt1>
      <a:dk2>
        <a:srgbClr val="006666"/>
      </a:dk2>
      <a:lt2>
        <a:srgbClr val="666699"/>
      </a:lt2>
      <a:accent1>
        <a:srgbClr val="33CCCC"/>
      </a:accent1>
      <a:accent2>
        <a:srgbClr val="99CC99"/>
      </a:accent2>
      <a:accent3>
        <a:srgbClr val="FFFFFF"/>
      </a:accent3>
      <a:accent4>
        <a:srgbClr val="002A56"/>
      </a:accent4>
      <a:accent5>
        <a:srgbClr val="ADE2E2"/>
      </a:accent5>
      <a:accent6>
        <a:srgbClr val="8AB98A"/>
      </a:accent6>
      <a:hlink>
        <a:srgbClr val="003366"/>
      </a:hlink>
      <a:folHlink>
        <a:srgbClr val="CC99FF"/>
      </a:folHlink>
    </a:clrScheme>
    <a:fontScheme name="nanolyse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nanolyse 1">
        <a:dk1>
          <a:srgbClr val="003366"/>
        </a:dk1>
        <a:lt1>
          <a:srgbClr val="FFFFFF"/>
        </a:lt1>
        <a:dk2>
          <a:srgbClr val="006666"/>
        </a:dk2>
        <a:lt2>
          <a:srgbClr val="666699"/>
        </a:lt2>
        <a:accent1>
          <a:srgbClr val="33CCCC"/>
        </a:accent1>
        <a:accent2>
          <a:srgbClr val="99CC99"/>
        </a:accent2>
        <a:accent3>
          <a:srgbClr val="FFFFFF"/>
        </a:accent3>
        <a:accent4>
          <a:srgbClr val="002A56"/>
        </a:accent4>
        <a:accent5>
          <a:srgbClr val="ADE2E2"/>
        </a:accent5>
        <a:accent6>
          <a:srgbClr val="8AB98A"/>
        </a:accent6>
        <a:hlink>
          <a:srgbClr val="003366"/>
        </a:hlink>
        <a:folHlink>
          <a:srgbClr val="CC99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nolyse 2">
        <a:dk1>
          <a:srgbClr val="000000"/>
        </a:dk1>
        <a:lt1>
          <a:srgbClr val="FFFFFF"/>
        </a:lt1>
        <a:dk2>
          <a:srgbClr val="000000"/>
        </a:dk2>
        <a:lt2>
          <a:srgbClr val="808000"/>
        </a:lt2>
        <a:accent1>
          <a:srgbClr val="FFCC99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FFE2CA"/>
        </a:accent5>
        <a:accent6>
          <a:srgbClr val="8AB900"/>
        </a:accent6>
        <a:hlink>
          <a:srgbClr val="336600"/>
        </a:hlink>
        <a:folHlink>
          <a:srgbClr val="FF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nolyse 3">
        <a:dk1>
          <a:srgbClr val="006699"/>
        </a:dk1>
        <a:lt1>
          <a:srgbClr val="FFFFFF"/>
        </a:lt1>
        <a:dk2>
          <a:srgbClr val="6699FF"/>
        </a:dk2>
        <a:lt2>
          <a:srgbClr val="FFFFFF"/>
        </a:lt2>
        <a:accent1>
          <a:srgbClr val="33CCCC"/>
        </a:accent1>
        <a:accent2>
          <a:srgbClr val="006699"/>
        </a:accent2>
        <a:accent3>
          <a:srgbClr val="B8CAFF"/>
        </a:accent3>
        <a:accent4>
          <a:srgbClr val="DADADA"/>
        </a:accent4>
        <a:accent5>
          <a:srgbClr val="ADE2E2"/>
        </a:accent5>
        <a:accent6>
          <a:srgbClr val="005C8A"/>
        </a:accent6>
        <a:hlink>
          <a:srgbClr val="99CC00"/>
        </a:hlink>
        <a:folHlink>
          <a:srgbClr val="FFFF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nolyse 4">
        <a:dk1>
          <a:srgbClr val="000000"/>
        </a:dk1>
        <a:lt1>
          <a:srgbClr val="FFFFFF"/>
        </a:lt1>
        <a:dk2>
          <a:srgbClr val="9900CC"/>
        </a:dk2>
        <a:lt2>
          <a:srgbClr val="006600"/>
        </a:lt2>
        <a:accent1>
          <a:srgbClr val="33CC33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ADE2AD"/>
        </a:accent5>
        <a:accent6>
          <a:srgbClr val="E7B95C"/>
        </a:accent6>
        <a:hlink>
          <a:srgbClr val="0033CC"/>
        </a:hlink>
        <a:folHlink>
          <a:srgbClr val="CC00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anolyse 5">
        <a:dk1>
          <a:srgbClr val="000066"/>
        </a:dk1>
        <a:lt1>
          <a:srgbClr val="FFFFFF"/>
        </a:lt1>
        <a:dk2>
          <a:srgbClr val="336699"/>
        </a:dk2>
        <a:lt2>
          <a:srgbClr val="FFFFEB"/>
        </a:lt2>
        <a:accent1>
          <a:srgbClr val="99CCFF"/>
        </a:accent1>
        <a:accent2>
          <a:srgbClr val="9999FF"/>
        </a:accent2>
        <a:accent3>
          <a:srgbClr val="ADB8CA"/>
        </a:accent3>
        <a:accent4>
          <a:srgbClr val="DADADA"/>
        </a:accent4>
        <a:accent5>
          <a:srgbClr val="CAE2FF"/>
        </a:accent5>
        <a:accent6>
          <a:srgbClr val="8A8AE7"/>
        </a:accent6>
        <a:hlink>
          <a:srgbClr val="CCCCFF"/>
        </a:hlink>
        <a:folHlink>
          <a:srgbClr val="C68D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nolyse 6">
        <a:dk1>
          <a:srgbClr val="808000"/>
        </a:dk1>
        <a:lt1>
          <a:srgbClr val="FFFFFF"/>
        </a:lt1>
        <a:dk2>
          <a:srgbClr val="006666"/>
        </a:dk2>
        <a:lt2>
          <a:srgbClr val="FFFFFF"/>
        </a:lt2>
        <a:accent1>
          <a:srgbClr val="FFCC66"/>
        </a:accent1>
        <a:accent2>
          <a:srgbClr val="00ACA8"/>
        </a:accent2>
        <a:accent3>
          <a:srgbClr val="AAB8B8"/>
        </a:accent3>
        <a:accent4>
          <a:srgbClr val="DADADA"/>
        </a:accent4>
        <a:accent5>
          <a:srgbClr val="FFE2B8"/>
        </a:accent5>
        <a:accent6>
          <a:srgbClr val="009B98"/>
        </a:accent6>
        <a:hlink>
          <a:srgbClr val="CCCC00"/>
        </a:hlink>
        <a:folHlink>
          <a:srgbClr val="33CCC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nolyse 7">
        <a:dk1>
          <a:srgbClr val="FFFFCC"/>
        </a:dk1>
        <a:lt1>
          <a:srgbClr val="FFFFFF"/>
        </a:lt1>
        <a:dk2>
          <a:srgbClr val="660033"/>
        </a:dk2>
        <a:lt2>
          <a:srgbClr val="FFFFFF"/>
        </a:lt2>
        <a:accent1>
          <a:srgbClr val="FF9900"/>
        </a:accent1>
        <a:accent2>
          <a:srgbClr val="CC3300"/>
        </a:accent2>
        <a:accent3>
          <a:srgbClr val="B8AAAD"/>
        </a:accent3>
        <a:accent4>
          <a:srgbClr val="DADADA"/>
        </a:accent4>
        <a:accent5>
          <a:srgbClr val="FFCAAA"/>
        </a:accent5>
        <a:accent6>
          <a:srgbClr val="B92D00"/>
        </a:accent6>
        <a:hlink>
          <a:srgbClr val="FFCC00"/>
        </a:hlink>
        <a:folHlink>
          <a:srgbClr val="FFCC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nanolyse 8">
        <a:dk1>
          <a:srgbClr val="FF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CC00"/>
        </a:accent1>
        <a:accent2>
          <a:srgbClr val="CC3300"/>
        </a:accent2>
        <a:accent3>
          <a:srgbClr val="AAAAAA"/>
        </a:accent3>
        <a:accent4>
          <a:srgbClr val="DADADA"/>
        </a:accent4>
        <a:accent5>
          <a:srgbClr val="FFE2AA"/>
        </a:accent5>
        <a:accent6>
          <a:srgbClr val="B92D00"/>
        </a:accent6>
        <a:hlink>
          <a:srgbClr val="FF6600"/>
        </a:hlink>
        <a:folHlink>
          <a:srgbClr val="FF7C8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Europol template2">
  <a:themeElements>
    <a:clrScheme name="Europol template2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Europol template2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5875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5875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Europol template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uropol template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uropol template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uropol template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uropol template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uropol template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uropol template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uropol template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uropol template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uropol template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uropol template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uropol template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1.xml><?xml version="1.0" encoding="utf-8"?>
<a:theme xmlns:a="http://schemas.openxmlformats.org/drawingml/2006/main" name="blank">
  <a:themeElements>
    <a:clrScheme name="Vion">
      <a:dk1>
        <a:srgbClr val="262626"/>
      </a:dk1>
      <a:lt1>
        <a:srgbClr val="FFFFFF"/>
      </a:lt1>
      <a:dk2>
        <a:srgbClr val="3378B3"/>
      </a:dk2>
      <a:lt2>
        <a:srgbClr val="84B617"/>
      </a:lt2>
      <a:accent1>
        <a:srgbClr val="A5C8E5"/>
      </a:accent1>
      <a:accent2>
        <a:srgbClr val="A5C8E5"/>
      </a:accent2>
      <a:accent3>
        <a:srgbClr val="FFFFFF"/>
      </a:accent3>
      <a:accent4>
        <a:srgbClr val="1F1F1F"/>
      </a:accent4>
      <a:accent5>
        <a:srgbClr val="CFE0F0"/>
      </a:accent5>
      <a:accent6>
        <a:srgbClr val="3378B3"/>
      </a:accent6>
      <a:hlink>
        <a:srgbClr val="1C255F"/>
      </a:hlink>
      <a:folHlink>
        <a:srgbClr val="3378B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4D4D4D"/>
        </a:solidFill>
        <a:ln w="9525">
          <a:solidFill>
            <a:srgbClr val="4D4D4D"/>
          </a:solidFill>
          <a:headEnd type="none"/>
          <a:tailEnd type="none"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</a:theme>
</file>

<file path=ppt/theme/theme22.xml><?xml version="1.0" encoding="utf-8"?>
<a:theme xmlns:a="http://schemas.openxmlformats.org/drawingml/2006/main" name="1_blank">
  <a:themeElements>
    <a:clrScheme name="Vion">
      <a:dk1>
        <a:srgbClr val="262626"/>
      </a:dk1>
      <a:lt1>
        <a:srgbClr val="FFFFFF"/>
      </a:lt1>
      <a:dk2>
        <a:srgbClr val="3378B3"/>
      </a:dk2>
      <a:lt2>
        <a:srgbClr val="84B617"/>
      </a:lt2>
      <a:accent1>
        <a:srgbClr val="A5C8E5"/>
      </a:accent1>
      <a:accent2>
        <a:srgbClr val="A5C8E5"/>
      </a:accent2>
      <a:accent3>
        <a:srgbClr val="FFFFFF"/>
      </a:accent3>
      <a:accent4>
        <a:srgbClr val="1F1F1F"/>
      </a:accent4>
      <a:accent5>
        <a:srgbClr val="CFE0F0"/>
      </a:accent5>
      <a:accent6>
        <a:srgbClr val="3378B3"/>
      </a:accent6>
      <a:hlink>
        <a:srgbClr val="1C255F"/>
      </a:hlink>
      <a:folHlink>
        <a:srgbClr val="3378B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4D4D4D"/>
        </a:solidFill>
        <a:ln w="9525">
          <a:solidFill>
            <a:srgbClr val="4D4D4D"/>
          </a:solidFill>
          <a:headEnd type="none"/>
          <a:tailEnd type="none"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</a:theme>
</file>

<file path=ppt/theme/theme23.xml><?xml version="1.0" encoding="utf-8"?>
<a:theme xmlns:a="http://schemas.openxmlformats.org/drawingml/2006/main" name="2_blank">
  <a:themeElements>
    <a:clrScheme name="Vion">
      <a:dk1>
        <a:srgbClr val="262626"/>
      </a:dk1>
      <a:lt1>
        <a:srgbClr val="FFFFFF"/>
      </a:lt1>
      <a:dk2>
        <a:srgbClr val="3378B3"/>
      </a:dk2>
      <a:lt2>
        <a:srgbClr val="84B617"/>
      </a:lt2>
      <a:accent1>
        <a:srgbClr val="A5C8E5"/>
      </a:accent1>
      <a:accent2>
        <a:srgbClr val="A5C8E5"/>
      </a:accent2>
      <a:accent3>
        <a:srgbClr val="FFFFFF"/>
      </a:accent3>
      <a:accent4>
        <a:srgbClr val="1F1F1F"/>
      </a:accent4>
      <a:accent5>
        <a:srgbClr val="CFE0F0"/>
      </a:accent5>
      <a:accent6>
        <a:srgbClr val="3378B3"/>
      </a:accent6>
      <a:hlink>
        <a:srgbClr val="1C255F"/>
      </a:hlink>
      <a:folHlink>
        <a:srgbClr val="3378B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4D4D4D"/>
        </a:solidFill>
        <a:ln w="9525">
          <a:solidFill>
            <a:srgbClr val="4D4D4D"/>
          </a:solidFill>
          <a:headEnd type="none"/>
          <a:tailEnd type="none"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</a:theme>
</file>

<file path=ppt/theme/theme24.xml><?xml version="1.0" encoding="utf-8"?>
<a:theme xmlns:a="http://schemas.openxmlformats.org/drawingml/2006/main" name="3_blank">
  <a:themeElements>
    <a:clrScheme name="Vion">
      <a:dk1>
        <a:srgbClr val="262626"/>
      </a:dk1>
      <a:lt1>
        <a:srgbClr val="FFFFFF"/>
      </a:lt1>
      <a:dk2>
        <a:srgbClr val="3378B3"/>
      </a:dk2>
      <a:lt2>
        <a:srgbClr val="84B617"/>
      </a:lt2>
      <a:accent1>
        <a:srgbClr val="A5C8E5"/>
      </a:accent1>
      <a:accent2>
        <a:srgbClr val="A5C8E5"/>
      </a:accent2>
      <a:accent3>
        <a:srgbClr val="FFFFFF"/>
      </a:accent3>
      <a:accent4>
        <a:srgbClr val="1F1F1F"/>
      </a:accent4>
      <a:accent5>
        <a:srgbClr val="CFE0F0"/>
      </a:accent5>
      <a:accent6>
        <a:srgbClr val="3378B3"/>
      </a:accent6>
      <a:hlink>
        <a:srgbClr val="1C255F"/>
      </a:hlink>
      <a:folHlink>
        <a:srgbClr val="3378B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4D4D4D"/>
        </a:solidFill>
        <a:ln w="9525">
          <a:solidFill>
            <a:srgbClr val="4D4D4D"/>
          </a:solidFill>
          <a:headEnd type="none"/>
          <a:tailEnd type="none"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</a:theme>
</file>

<file path=ppt/theme/theme25.xml><?xml version="1.0" encoding="utf-8"?>
<a:theme xmlns:a="http://schemas.openxmlformats.org/drawingml/2006/main" name="4_blank">
  <a:themeElements>
    <a:clrScheme name="Vion">
      <a:dk1>
        <a:srgbClr val="262626"/>
      </a:dk1>
      <a:lt1>
        <a:srgbClr val="FFFFFF"/>
      </a:lt1>
      <a:dk2>
        <a:srgbClr val="3378B3"/>
      </a:dk2>
      <a:lt2>
        <a:srgbClr val="84B617"/>
      </a:lt2>
      <a:accent1>
        <a:srgbClr val="A5C8E5"/>
      </a:accent1>
      <a:accent2>
        <a:srgbClr val="A5C8E5"/>
      </a:accent2>
      <a:accent3>
        <a:srgbClr val="FFFFFF"/>
      </a:accent3>
      <a:accent4>
        <a:srgbClr val="1F1F1F"/>
      </a:accent4>
      <a:accent5>
        <a:srgbClr val="CFE0F0"/>
      </a:accent5>
      <a:accent6>
        <a:srgbClr val="3378B3"/>
      </a:accent6>
      <a:hlink>
        <a:srgbClr val="1C255F"/>
      </a:hlink>
      <a:folHlink>
        <a:srgbClr val="3378B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4D4D4D"/>
        </a:solidFill>
        <a:ln w="9525">
          <a:solidFill>
            <a:srgbClr val="4D4D4D"/>
          </a:solidFill>
          <a:headEnd type="none"/>
          <a:tailEnd type="none"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</a:theme>
</file>

<file path=ppt/theme/theme26.xml><?xml version="1.0" encoding="utf-8"?>
<a:theme xmlns:a="http://schemas.openxmlformats.org/drawingml/2006/main" name="5_blank">
  <a:themeElements>
    <a:clrScheme name="Vion">
      <a:dk1>
        <a:srgbClr val="262626"/>
      </a:dk1>
      <a:lt1>
        <a:srgbClr val="FFFFFF"/>
      </a:lt1>
      <a:dk2>
        <a:srgbClr val="3378B3"/>
      </a:dk2>
      <a:lt2>
        <a:srgbClr val="84B617"/>
      </a:lt2>
      <a:accent1>
        <a:srgbClr val="A5C8E5"/>
      </a:accent1>
      <a:accent2>
        <a:srgbClr val="A5C8E5"/>
      </a:accent2>
      <a:accent3>
        <a:srgbClr val="FFFFFF"/>
      </a:accent3>
      <a:accent4>
        <a:srgbClr val="1F1F1F"/>
      </a:accent4>
      <a:accent5>
        <a:srgbClr val="CFE0F0"/>
      </a:accent5>
      <a:accent6>
        <a:srgbClr val="3378B3"/>
      </a:accent6>
      <a:hlink>
        <a:srgbClr val="1C255F"/>
      </a:hlink>
      <a:folHlink>
        <a:srgbClr val="3378B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4D4D4D"/>
        </a:solidFill>
        <a:ln w="9525">
          <a:solidFill>
            <a:srgbClr val="4D4D4D"/>
          </a:solidFill>
          <a:headEnd type="none"/>
          <a:tailEnd type="none"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</a:theme>
</file>

<file path=ppt/theme/theme27.xml><?xml version="1.0" encoding="utf-8"?>
<a:theme xmlns:a="http://schemas.openxmlformats.org/drawingml/2006/main" name="6_blank">
  <a:themeElements>
    <a:clrScheme name="Vion">
      <a:dk1>
        <a:srgbClr val="262626"/>
      </a:dk1>
      <a:lt1>
        <a:srgbClr val="FFFFFF"/>
      </a:lt1>
      <a:dk2>
        <a:srgbClr val="3378B3"/>
      </a:dk2>
      <a:lt2>
        <a:srgbClr val="84B617"/>
      </a:lt2>
      <a:accent1>
        <a:srgbClr val="A5C8E5"/>
      </a:accent1>
      <a:accent2>
        <a:srgbClr val="A5C8E5"/>
      </a:accent2>
      <a:accent3>
        <a:srgbClr val="FFFFFF"/>
      </a:accent3>
      <a:accent4>
        <a:srgbClr val="1F1F1F"/>
      </a:accent4>
      <a:accent5>
        <a:srgbClr val="CFE0F0"/>
      </a:accent5>
      <a:accent6>
        <a:srgbClr val="3378B3"/>
      </a:accent6>
      <a:hlink>
        <a:srgbClr val="1C255F"/>
      </a:hlink>
      <a:folHlink>
        <a:srgbClr val="3378B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4D4D4D"/>
        </a:solidFill>
        <a:ln w="9525">
          <a:solidFill>
            <a:srgbClr val="4D4D4D"/>
          </a:solidFill>
          <a:headEnd type="none"/>
          <a:tailEnd type="none"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</a:theme>
</file>

<file path=ppt/theme/theme28.xml><?xml version="1.0" encoding="utf-8"?>
<a:theme xmlns:a="http://schemas.openxmlformats.org/drawingml/2006/main" name="7_blank">
  <a:themeElements>
    <a:clrScheme name="Vion">
      <a:dk1>
        <a:srgbClr val="262626"/>
      </a:dk1>
      <a:lt1>
        <a:srgbClr val="FFFFFF"/>
      </a:lt1>
      <a:dk2>
        <a:srgbClr val="3378B3"/>
      </a:dk2>
      <a:lt2>
        <a:srgbClr val="84B617"/>
      </a:lt2>
      <a:accent1>
        <a:srgbClr val="A5C8E5"/>
      </a:accent1>
      <a:accent2>
        <a:srgbClr val="A5C8E5"/>
      </a:accent2>
      <a:accent3>
        <a:srgbClr val="FFFFFF"/>
      </a:accent3>
      <a:accent4>
        <a:srgbClr val="1F1F1F"/>
      </a:accent4>
      <a:accent5>
        <a:srgbClr val="CFE0F0"/>
      </a:accent5>
      <a:accent6>
        <a:srgbClr val="3378B3"/>
      </a:accent6>
      <a:hlink>
        <a:srgbClr val="1C255F"/>
      </a:hlink>
      <a:folHlink>
        <a:srgbClr val="3378B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4D4D4D"/>
        </a:solidFill>
        <a:ln w="9525">
          <a:solidFill>
            <a:srgbClr val="4D4D4D"/>
          </a:solidFill>
          <a:headEnd type="none"/>
          <a:tailEnd type="none"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</a:theme>
</file>

<file path=ppt/theme/theme29.xml><?xml version="1.0" encoding="utf-8"?>
<a:theme xmlns:a="http://schemas.openxmlformats.org/drawingml/2006/main" name="8_blank">
  <a:themeElements>
    <a:clrScheme name="Vion">
      <a:dk1>
        <a:srgbClr val="262626"/>
      </a:dk1>
      <a:lt1>
        <a:srgbClr val="FFFFFF"/>
      </a:lt1>
      <a:dk2>
        <a:srgbClr val="3378B3"/>
      </a:dk2>
      <a:lt2>
        <a:srgbClr val="84B617"/>
      </a:lt2>
      <a:accent1>
        <a:srgbClr val="A5C8E5"/>
      </a:accent1>
      <a:accent2>
        <a:srgbClr val="A5C8E5"/>
      </a:accent2>
      <a:accent3>
        <a:srgbClr val="FFFFFF"/>
      </a:accent3>
      <a:accent4>
        <a:srgbClr val="1F1F1F"/>
      </a:accent4>
      <a:accent5>
        <a:srgbClr val="CFE0F0"/>
      </a:accent5>
      <a:accent6>
        <a:srgbClr val="3378B3"/>
      </a:accent6>
      <a:hlink>
        <a:srgbClr val="1C255F"/>
      </a:hlink>
      <a:folHlink>
        <a:srgbClr val="3378B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4D4D4D"/>
        </a:solidFill>
        <a:ln w="9525">
          <a:solidFill>
            <a:srgbClr val="4D4D4D"/>
          </a:solidFill>
          <a:headEnd type="none"/>
          <a:tailEnd type="none"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1_Europol template2">
  <a:themeElements>
    <a:clrScheme name="Europol template2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Europol template2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5875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5875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Europol template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uropol template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uropol template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uropol template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uropol template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uropol template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uropol template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uropol template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uropol template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uropol template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uropol template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uropol template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0.xml><?xml version="1.0" encoding="utf-8"?>
<a:theme xmlns:a="http://schemas.openxmlformats.org/drawingml/2006/main" name="9_blank">
  <a:themeElements>
    <a:clrScheme name="Vion">
      <a:dk1>
        <a:srgbClr val="262626"/>
      </a:dk1>
      <a:lt1>
        <a:srgbClr val="FFFFFF"/>
      </a:lt1>
      <a:dk2>
        <a:srgbClr val="3378B3"/>
      </a:dk2>
      <a:lt2>
        <a:srgbClr val="84B617"/>
      </a:lt2>
      <a:accent1>
        <a:srgbClr val="A5C8E5"/>
      </a:accent1>
      <a:accent2>
        <a:srgbClr val="A5C8E5"/>
      </a:accent2>
      <a:accent3>
        <a:srgbClr val="FFFFFF"/>
      </a:accent3>
      <a:accent4>
        <a:srgbClr val="1F1F1F"/>
      </a:accent4>
      <a:accent5>
        <a:srgbClr val="CFE0F0"/>
      </a:accent5>
      <a:accent6>
        <a:srgbClr val="3378B3"/>
      </a:accent6>
      <a:hlink>
        <a:srgbClr val="1C255F"/>
      </a:hlink>
      <a:folHlink>
        <a:srgbClr val="3378B3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4D4D4D"/>
        </a:solidFill>
        <a:ln w="9525">
          <a:solidFill>
            <a:srgbClr val="4D4D4D"/>
          </a:solidFill>
          <a:headEnd type="none"/>
          <a:tailEnd type="none"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</a:theme>
</file>

<file path=ppt/theme/theme3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Europol template2">
  <a:themeElements>
    <a:clrScheme name="Europol template2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Europol template2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5875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15875" algn="ctr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Europol template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uropol template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uropol template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uropol template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uropol template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uropol template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uropol template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uropol template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uropol template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uropol template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uropol template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uropol template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FSA Corporate">
  <a:themeElements>
    <a:clrScheme name="FSA">
      <a:dk1>
        <a:sysClr val="windowText" lastClr="000000"/>
      </a:dk1>
      <a:lt1>
        <a:sysClr val="window" lastClr="FFFFFF"/>
      </a:lt1>
      <a:dk2>
        <a:srgbClr val="0080B1"/>
      </a:dk2>
      <a:lt2>
        <a:srgbClr val="F3F7FB"/>
      </a:lt2>
      <a:accent1>
        <a:srgbClr val="F15D22"/>
      </a:accent1>
      <a:accent2>
        <a:srgbClr val="FF1C3B"/>
      </a:accent2>
      <a:accent3>
        <a:srgbClr val="0080B1"/>
      </a:accent3>
      <a:accent4>
        <a:srgbClr val="FDB913"/>
      </a:accent4>
      <a:accent5>
        <a:srgbClr val="9E218A"/>
      </a:accent5>
      <a:accent6>
        <a:srgbClr val="00B2A9"/>
      </a:accent6>
      <a:hlink>
        <a:srgbClr val="4F81BD"/>
      </a:hlink>
      <a:folHlink>
        <a:srgbClr val="F15D2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1_FSA Corporate">
  <a:themeElements>
    <a:clrScheme name="FSA">
      <a:dk1>
        <a:sysClr val="windowText" lastClr="000000"/>
      </a:dk1>
      <a:lt1>
        <a:sysClr val="window" lastClr="FFFFFF"/>
      </a:lt1>
      <a:dk2>
        <a:srgbClr val="0080B1"/>
      </a:dk2>
      <a:lt2>
        <a:srgbClr val="F3F7FB"/>
      </a:lt2>
      <a:accent1>
        <a:srgbClr val="F15D22"/>
      </a:accent1>
      <a:accent2>
        <a:srgbClr val="FF1C3B"/>
      </a:accent2>
      <a:accent3>
        <a:srgbClr val="0080B1"/>
      </a:accent3>
      <a:accent4>
        <a:srgbClr val="FDB913"/>
      </a:accent4>
      <a:accent5>
        <a:srgbClr val="9E218A"/>
      </a:accent5>
      <a:accent6>
        <a:srgbClr val="00B2A9"/>
      </a:accent6>
      <a:hlink>
        <a:srgbClr val="4F81BD"/>
      </a:hlink>
      <a:folHlink>
        <a:srgbClr val="F15D2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2_FSA Corporate">
  <a:themeElements>
    <a:clrScheme name="FSA">
      <a:dk1>
        <a:sysClr val="windowText" lastClr="000000"/>
      </a:dk1>
      <a:lt1>
        <a:sysClr val="window" lastClr="FFFFFF"/>
      </a:lt1>
      <a:dk2>
        <a:srgbClr val="0080B1"/>
      </a:dk2>
      <a:lt2>
        <a:srgbClr val="F3F7FB"/>
      </a:lt2>
      <a:accent1>
        <a:srgbClr val="F15D22"/>
      </a:accent1>
      <a:accent2>
        <a:srgbClr val="FF1C3B"/>
      </a:accent2>
      <a:accent3>
        <a:srgbClr val="0080B1"/>
      </a:accent3>
      <a:accent4>
        <a:srgbClr val="FDB913"/>
      </a:accent4>
      <a:accent5>
        <a:srgbClr val="9E218A"/>
      </a:accent5>
      <a:accent6>
        <a:srgbClr val="00B2A9"/>
      </a:accent6>
      <a:hlink>
        <a:srgbClr val="4F81BD"/>
      </a:hlink>
      <a:folHlink>
        <a:srgbClr val="F15D2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3_FSA Corporate">
  <a:themeElements>
    <a:clrScheme name="FSA">
      <a:dk1>
        <a:sysClr val="windowText" lastClr="000000"/>
      </a:dk1>
      <a:lt1>
        <a:sysClr val="window" lastClr="FFFFFF"/>
      </a:lt1>
      <a:dk2>
        <a:srgbClr val="0080B1"/>
      </a:dk2>
      <a:lt2>
        <a:srgbClr val="F3F7FB"/>
      </a:lt2>
      <a:accent1>
        <a:srgbClr val="F15D22"/>
      </a:accent1>
      <a:accent2>
        <a:srgbClr val="FF1C3B"/>
      </a:accent2>
      <a:accent3>
        <a:srgbClr val="0080B1"/>
      </a:accent3>
      <a:accent4>
        <a:srgbClr val="FDB913"/>
      </a:accent4>
      <a:accent5>
        <a:srgbClr val="9E218A"/>
      </a:accent5>
      <a:accent6>
        <a:srgbClr val="00B2A9"/>
      </a:accent6>
      <a:hlink>
        <a:srgbClr val="4F81BD"/>
      </a:hlink>
      <a:folHlink>
        <a:srgbClr val="F15D2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nanolyse 1">
    <a:dk1>
      <a:srgbClr val="003366"/>
    </a:dk1>
    <a:lt1>
      <a:srgbClr val="FFFFFF"/>
    </a:lt1>
    <a:dk2>
      <a:srgbClr val="006666"/>
    </a:dk2>
    <a:lt2>
      <a:srgbClr val="666699"/>
    </a:lt2>
    <a:accent1>
      <a:srgbClr val="33CCCC"/>
    </a:accent1>
    <a:accent2>
      <a:srgbClr val="99CC99"/>
    </a:accent2>
    <a:accent3>
      <a:srgbClr val="FFFFFF"/>
    </a:accent3>
    <a:accent4>
      <a:srgbClr val="002A56"/>
    </a:accent4>
    <a:accent5>
      <a:srgbClr val="ADE2E2"/>
    </a:accent5>
    <a:accent6>
      <a:srgbClr val="8AB98A"/>
    </a:accent6>
    <a:hlink>
      <a:srgbClr val="003366"/>
    </a:hlink>
    <a:folHlink>
      <a:srgbClr val="CC99FF"/>
    </a:folHlink>
  </a:clrScheme>
  <a:fontScheme name="nanolyse">
    <a:majorFont>
      <a:latin typeface="Arial"/>
      <a:ea typeface=""/>
      <a:cs typeface="Arial"/>
    </a:majorFont>
    <a:minorFont>
      <a:latin typeface="Arial"/>
      <a:ea typeface=""/>
      <a:cs typeface="Arial"/>
    </a:minorFont>
  </a:fontScheme>
  <a:fmtScheme name="Kancelář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10</TotalTime>
  <Words>3213</Words>
  <Application>Microsoft Macintosh PowerPoint</Application>
  <PresentationFormat>On-screen Show (4:3)</PresentationFormat>
  <Paragraphs>796</Paragraphs>
  <Slides>97</Slides>
  <Notes>15</Notes>
  <HiddenSlides>0</HiddenSlides>
  <MMClips>0</MMClips>
  <ScaleCrop>false</ScaleCrop>
  <HeadingPairs>
    <vt:vector size="6" baseType="variant">
      <vt:variant>
        <vt:lpstr>Fonts Used</vt:lpstr>
      </vt:variant>
      <vt:variant>
        <vt:i4>14</vt:i4>
      </vt:variant>
      <vt:variant>
        <vt:lpstr>Theme</vt:lpstr>
      </vt:variant>
      <vt:variant>
        <vt:i4>30</vt:i4>
      </vt:variant>
      <vt:variant>
        <vt:lpstr>Slide Titles</vt:lpstr>
      </vt:variant>
      <vt:variant>
        <vt:i4>97</vt:i4>
      </vt:variant>
    </vt:vector>
  </HeadingPairs>
  <TitlesOfParts>
    <vt:vector size="141" baseType="lpstr">
      <vt:lpstr>Arial</vt:lpstr>
      <vt:lpstr>Bradley Hand ITC</vt:lpstr>
      <vt:lpstr>Calibri</vt:lpstr>
      <vt:lpstr>Comic Sans MS</vt:lpstr>
      <vt:lpstr>DejaVu Sans</vt:lpstr>
      <vt:lpstr>Franklin Gothic Medium</vt:lpstr>
      <vt:lpstr>MS PGothic</vt:lpstr>
      <vt:lpstr>ＭＳ Ｐゴシック</vt:lpstr>
      <vt:lpstr>Times New Roman</vt:lpstr>
      <vt:lpstr>Verdana</vt:lpstr>
      <vt:lpstr>Wingdings</vt:lpstr>
      <vt:lpstr>Wingdings 3</vt:lpstr>
      <vt:lpstr>ヒラギノ角ゴ Pro W3</vt:lpstr>
      <vt:lpstr>宋体</vt:lpstr>
      <vt:lpstr>Office Theme</vt:lpstr>
      <vt:lpstr>Europol template2</vt:lpstr>
      <vt:lpstr>1_Europol template2</vt:lpstr>
      <vt:lpstr>2_Europol template2</vt:lpstr>
      <vt:lpstr>1_Office Theme</vt:lpstr>
      <vt:lpstr>FSA Corporate</vt:lpstr>
      <vt:lpstr>1_FSA Corporate</vt:lpstr>
      <vt:lpstr>2_FSA Corporate</vt:lpstr>
      <vt:lpstr>3_FSA Corporate</vt:lpstr>
      <vt:lpstr>4_FSA Corporate</vt:lpstr>
      <vt:lpstr>5_FSA Corporate</vt:lpstr>
      <vt:lpstr>6_FSA Corporate</vt:lpstr>
      <vt:lpstr>7_FSA Corporate</vt:lpstr>
      <vt:lpstr>8_FSA Corporate</vt:lpstr>
      <vt:lpstr>9_FSA Corporate</vt:lpstr>
      <vt:lpstr>10_FSA Corporate</vt:lpstr>
      <vt:lpstr>11_FSA Corporate</vt:lpstr>
      <vt:lpstr>2_Office Theme</vt:lpstr>
      <vt:lpstr>nanolyse</vt:lpstr>
      <vt:lpstr>Tema di Office</vt:lpstr>
      <vt:lpstr>blank</vt:lpstr>
      <vt:lpstr>1_blank</vt:lpstr>
      <vt:lpstr>2_blank</vt:lpstr>
      <vt:lpstr>3_blank</vt:lpstr>
      <vt:lpstr>4_blank</vt:lpstr>
      <vt:lpstr>5_blank</vt:lpstr>
      <vt:lpstr>6_blank</vt:lpstr>
      <vt:lpstr>7_blank</vt:lpstr>
      <vt:lpstr>8_blank</vt:lpstr>
      <vt:lpstr>9_blank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e results of Operation OPS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U Policy Cycle – 2014/2017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 FOOD CRIME The British Experience</vt:lpstr>
      <vt:lpstr>PowerPoint Presentation</vt:lpstr>
      <vt:lpstr>PowerPoint Presentation</vt:lpstr>
      <vt:lpstr>PowerPoint Presentation</vt:lpstr>
      <vt:lpstr>PowerPoint Presentation</vt:lpstr>
      <vt:lpstr>THE FOOD OFFENDING PYRAMID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1st Outputs</vt:lpstr>
      <vt:lpstr>Procurement of €3M of new research (WP9)</vt:lpstr>
      <vt:lpstr>       FI Network  (WP1)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Impact</vt:lpstr>
      <vt:lpstr>Lessons learnt</vt:lpstr>
      <vt:lpstr>PowerPoint Presentation</vt:lpstr>
      <vt:lpstr>Parma, Italy 10-11 May 2017</vt:lpstr>
      <vt:lpstr>Acknowledgements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.DAMARIO</dc:creator>
  <cp:lastModifiedBy>Elis Rosenberg</cp:lastModifiedBy>
  <cp:revision>23</cp:revision>
  <dcterms:created xsi:type="dcterms:W3CDTF">2016-06-23T12:51:26Z</dcterms:created>
  <dcterms:modified xsi:type="dcterms:W3CDTF">2016-06-24T12:25:12Z</dcterms:modified>
</cp:coreProperties>
</file>